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7.xml" ContentType="application/vnd.openxmlformats-officedocument.them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8.xml" ContentType="application/vnd.openxmlformats-officedocument.them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57.xml" ContentType="application/vnd.openxmlformats-officedocument.presentationml.tags+xml"/>
  <Override PartName="/ppt/notesSlides/notesSlide3.xml" ContentType="application/vnd.openxmlformats-officedocument.presentationml.notesSlide+xml"/>
  <Override PartName="/ppt/tags/tag258.xml" ContentType="application/vnd.openxmlformats-officedocument.presentationml.tags+xml"/>
  <Override PartName="/ppt/notesSlides/notesSlide4.xml" ContentType="application/vnd.openxmlformats-officedocument.presentationml.notesSlide+xml"/>
  <Override PartName="/ppt/tags/tag25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60.xml" ContentType="application/vnd.openxmlformats-officedocument.presentationml.tags+xml"/>
  <Override PartName="/ppt/notesSlides/notesSlide7.xml" ContentType="application/vnd.openxmlformats-officedocument.presentationml.notesSlide+xml"/>
  <Override PartName="/ppt/tags/tag261.xml" ContentType="application/vnd.openxmlformats-officedocument.presentationml.tags+xml"/>
  <Override PartName="/ppt/notesSlides/notesSlide8.xml" ContentType="application/vnd.openxmlformats-officedocument.presentationml.notesSlide+xml"/>
  <Override PartName="/ppt/tags/tag262.xml" ContentType="application/vnd.openxmlformats-officedocument.presentationml.tags+xml"/>
  <Override PartName="/ppt/notesSlides/notesSlide9.xml" ContentType="application/vnd.openxmlformats-officedocument.presentationml.notesSlide+xml"/>
  <Override PartName="/ppt/tags/tag263.xml" ContentType="application/vnd.openxmlformats-officedocument.presentationml.tags+xml"/>
  <Override PartName="/ppt/notesSlides/notesSlide10.xml" ContentType="application/vnd.openxmlformats-officedocument.presentationml.notesSlide+xml"/>
  <Override PartName="/ppt/tags/tag264.xml" ContentType="application/vnd.openxmlformats-officedocument.presentationml.tags+xml"/>
  <Override PartName="/ppt/notesSlides/notesSlide11.xml" ContentType="application/vnd.openxmlformats-officedocument.presentationml.notesSlide+xml"/>
  <Override PartName="/ppt/tags/tag265.xml" ContentType="application/vnd.openxmlformats-officedocument.presentationml.tags+xml"/>
  <Override PartName="/ppt/notesSlides/notesSlide12.xml" ContentType="application/vnd.openxmlformats-officedocument.presentationml.notesSlide+xml"/>
  <Override PartName="/ppt/tags/tag266.xml" ContentType="application/vnd.openxmlformats-officedocument.presentationml.tags+xml"/>
  <Override PartName="/ppt/notesSlides/notesSlide13.xml" ContentType="application/vnd.openxmlformats-officedocument.presentationml.notesSlide+xml"/>
  <Override PartName="/ppt/tags/tag267.xml" ContentType="application/vnd.openxmlformats-officedocument.presentationml.tags+xml"/>
  <Override PartName="/ppt/notesSlides/notesSlide14.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15.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16.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62" r:id="rId2"/>
    <p:sldMasterId id="2147483690" r:id="rId3"/>
    <p:sldMasterId id="2147483718" r:id="rId4"/>
    <p:sldMasterId id="2147483746" r:id="rId5"/>
    <p:sldMasterId id="2147483774" r:id="rId6"/>
    <p:sldMasterId id="2147483802" r:id="rId7"/>
    <p:sldMasterId id="2147483839" r:id="rId8"/>
  </p:sldMasterIdLst>
  <p:notesMasterIdLst>
    <p:notesMasterId r:id="rId36"/>
  </p:notesMasterIdLst>
  <p:sldIdLst>
    <p:sldId id="256" r:id="rId9"/>
    <p:sldId id="257" r:id="rId10"/>
    <p:sldId id="259" r:id="rId11"/>
    <p:sldId id="492" r:id="rId12"/>
    <p:sldId id="686" r:id="rId13"/>
    <p:sldId id="263" r:id="rId14"/>
    <p:sldId id="264" r:id="rId15"/>
    <p:sldId id="896" r:id="rId16"/>
    <p:sldId id="267" r:id="rId17"/>
    <p:sldId id="268" r:id="rId18"/>
    <p:sldId id="269" r:id="rId19"/>
    <p:sldId id="279" r:id="rId20"/>
    <p:sldId id="292" r:id="rId21"/>
    <p:sldId id="286" r:id="rId22"/>
    <p:sldId id="287" r:id="rId23"/>
    <p:sldId id="288" r:id="rId24"/>
    <p:sldId id="289" r:id="rId25"/>
    <p:sldId id="293" r:id="rId26"/>
    <p:sldId id="281" r:id="rId27"/>
    <p:sldId id="294" r:id="rId28"/>
    <p:sldId id="282" r:id="rId29"/>
    <p:sldId id="283" r:id="rId30"/>
    <p:sldId id="290" r:id="rId31"/>
    <p:sldId id="291" r:id="rId32"/>
    <p:sldId id="271" r:id="rId33"/>
    <p:sldId id="895" r:id="rId34"/>
    <p:sldId id="278" r:id="rId35"/>
  </p:sldIdLst>
  <p:sldSz cx="12192000" cy="6858000"/>
  <p:notesSz cx="6858000" cy="9144000"/>
  <p:embeddedFontLst>
    <p:embeddedFont>
      <p:font typeface="Calibri" panose="020F0502020204030204" pitchFamily="34" charset="0"/>
      <p:regular r:id="rId37"/>
      <p:bold r:id="rId38"/>
      <p:italic r:id="rId39"/>
      <p:boldItalic r:id="rId40"/>
    </p:embeddedFont>
    <p:embeddedFont>
      <p:font typeface="Calibri Light" panose="020F0302020204030204" pitchFamily="34" charset="0"/>
      <p:regular r:id="rId41"/>
      <p:italic r:id="rId42"/>
    </p:embeddedFont>
    <p:embeddedFont>
      <p:font typeface="Franklin Gothic" panose="020B0604020202020204" charset="0"/>
      <p:regular r:id="rId43"/>
      <p:bold r:id="rId44"/>
      <p:italic r:id="rId45"/>
      <p:boldItalic r:id="rId46"/>
    </p:embeddedFont>
    <p:embeddedFont>
      <p:font typeface="Franklin Gothic Book" panose="020B0503020102020204" pitchFamily="34" charset="0"/>
      <p:regular r:id="rId47"/>
      <p:italic r:id="rId48"/>
    </p:embeddedFont>
    <p:embeddedFont>
      <p:font typeface="Franklin Gothic Demi" panose="020B0703020102020204" pitchFamily="34" charset="0"/>
      <p:regular r:id="rId49"/>
      <p:italic r:id="rId50"/>
    </p:embeddedFont>
    <p:embeddedFont>
      <p:font typeface="Libre Franklin" pitchFamily="2" charset="0"/>
      <p:regular r:id="rId51"/>
      <p:bold r:id="rId52"/>
      <p:italic r:id="rId53"/>
      <p:boldItalic r:id="rId54"/>
    </p:embeddedFont>
    <p:embeddedFont>
      <p:font typeface="Wingdings 2" panose="05020102010507070707" pitchFamily="18" charset="2"/>
      <p:regular r:id="rId55"/>
    </p:embeddedFont>
  </p:embeddedFontLst>
  <p:custDataLst>
    <p:tags r:id="rId5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8" roundtripDataSignature="AMtx7mh/Wg1T4bwpAgQq64mLgzlgfd7kW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5E1D2"/>
    <a:srgbClr val="000000"/>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6" d="100"/>
          <a:sy n="56" d="100"/>
        </p:scale>
        <p:origin x="976"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3.fntdata"/><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font" Target="fonts/font14.fntdata"/><Relationship Id="rId55" Type="http://schemas.openxmlformats.org/officeDocument/2006/relationships/font" Target="fonts/font19.fntdata"/><Relationship Id="rId68" Type="http://customschemas.google.com/relationships/presentationmetadata" Target="metadata"/><Relationship Id="rId7" Type="http://schemas.openxmlformats.org/officeDocument/2006/relationships/slideMaster" Target="slideMasters/slideMaster7.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font" Target="fonts/font17.fntdata"/><Relationship Id="rId5" Type="http://schemas.openxmlformats.org/officeDocument/2006/relationships/slideMaster" Target="slideMasters/slideMaster5.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font" Target="fonts/font7.fntdata"/><Relationship Id="rId48" Type="http://schemas.openxmlformats.org/officeDocument/2006/relationships/font" Target="fonts/font12.fntdata"/><Relationship Id="rId56" Type="http://schemas.openxmlformats.org/officeDocument/2006/relationships/tags" Target="tags/tag1.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font" Target="fonts/font15.fntdata"/><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font" Target="fonts/font2.fntdata"/><Relationship Id="rId46" Type="http://schemas.openxmlformats.org/officeDocument/2006/relationships/font" Target="fonts/font10.fntdata"/><Relationship Id="rId20" Type="http://schemas.openxmlformats.org/officeDocument/2006/relationships/slide" Target="slides/slide12.xml"/><Relationship Id="rId41" Type="http://schemas.openxmlformats.org/officeDocument/2006/relationships/font" Target="fonts/font5.fntdata"/><Relationship Id="rId54" Type="http://schemas.openxmlformats.org/officeDocument/2006/relationships/font" Target="fonts/font18.fntdata"/><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49" Type="http://schemas.openxmlformats.org/officeDocument/2006/relationships/font" Target="fonts/font13.fntdata"/><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font" Target="fonts/font8.fntdata"/><Relationship Id="rId52" Type="http://schemas.openxmlformats.org/officeDocument/2006/relationships/font" Target="fonts/font16.fntdata"/><Relationship Id="rId4" Type="http://schemas.openxmlformats.org/officeDocument/2006/relationships/slideMaster" Target="slideMasters/slideMaster4.xml"/><Relationship Id="rId9"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Google Shape;211;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2" name="Google Shape;212;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213" name="Google Shape;213;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2"/>
        <p:cNvGrpSpPr/>
        <p:nvPr/>
      </p:nvGrpSpPr>
      <p:grpSpPr>
        <a:xfrm>
          <a:off x="0" y="0"/>
          <a:ext cx="0" cy="0"/>
          <a:chOff x="0" y="0"/>
          <a:chExt cx="0" cy="0"/>
        </a:xfrm>
      </p:grpSpPr>
      <p:sp>
        <p:nvSpPr>
          <p:cNvPr id="1243" name="Google Shape;1243;p14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1244" name="Google Shape;1244;p14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5"/>
        <p:cNvGrpSpPr/>
        <p:nvPr/>
      </p:nvGrpSpPr>
      <p:grpSpPr>
        <a:xfrm>
          <a:off x="0" y="0"/>
          <a:ext cx="0" cy="0"/>
          <a:chOff x="0" y="0"/>
          <a:chExt cx="0" cy="0"/>
        </a:xfrm>
      </p:grpSpPr>
      <p:sp>
        <p:nvSpPr>
          <p:cNvPr id="1306" name="Google Shape;1306;p14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endParaRPr>
              <a:latin typeface="Calibri"/>
              <a:ea typeface="Calibri"/>
              <a:cs typeface="Calibri"/>
              <a:sym typeface="Calibri"/>
            </a:endParaRPr>
          </a:p>
        </p:txBody>
      </p:sp>
      <p:sp>
        <p:nvSpPr>
          <p:cNvPr id="1307" name="Google Shape;1307;p14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9"/>
        <p:cNvGrpSpPr/>
        <p:nvPr/>
      </p:nvGrpSpPr>
      <p:grpSpPr>
        <a:xfrm>
          <a:off x="0" y="0"/>
          <a:ext cx="0" cy="0"/>
          <a:chOff x="0" y="0"/>
          <a:chExt cx="0" cy="0"/>
        </a:xfrm>
      </p:grpSpPr>
      <p:sp>
        <p:nvSpPr>
          <p:cNvPr id="1630" name="Google Shape;1630;p7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1631" name="Google Shape;1631;p7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635819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63" name="Google Shape;36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IN"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lang="en-IN"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1801346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8"/>
        <p:cNvGrpSpPr/>
        <p:nvPr/>
      </p:nvGrpSpPr>
      <p:grpSpPr>
        <a:xfrm>
          <a:off x="0" y="0"/>
          <a:ext cx="0" cy="0"/>
          <a:chOff x="0" y="0"/>
          <a:chExt cx="0" cy="0"/>
        </a:xfrm>
      </p:grpSpPr>
      <p:sp>
        <p:nvSpPr>
          <p:cNvPr id="729" name="Google Shape;729;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0" name="Google Shape;730;p3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p>
        </p:txBody>
      </p:sp>
      <p:sp>
        <p:nvSpPr>
          <p:cNvPr id="731" name="Google Shape;731;p3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IN"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8</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2869065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9"/>
        <p:cNvGrpSpPr/>
        <p:nvPr/>
      </p:nvGrpSpPr>
      <p:grpSpPr>
        <a:xfrm>
          <a:off x="0" y="0"/>
          <a:ext cx="0" cy="0"/>
          <a:chOff x="0" y="0"/>
          <a:chExt cx="0" cy="0"/>
        </a:xfrm>
      </p:grpSpPr>
      <p:sp>
        <p:nvSpPr>
          <p:cNvPr id="1630" name="Google Shape;1630;p7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1631" name="Google Shape;1631;p7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9"/>
        <p:cNvGrpSpPr/>
        <p:nvPr/>
      </p:nvGrpSpPr>
      <p:grpSpPr>
        <a:xfrm>
          <a:off x="0" y="0"/>
          <a:ext cx="0" cy="0"/>
          <a:chOff x="0" y="0"/>
          <a:chExt cx="0" cy="0"/>
        </a:xfrm>
      </p:grpSpPr>
      <p:sp>
        <p:nvSpPr>
          <p:cNvPr id="2120" name="Google Shape;2120;p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21" name="Google Shape;2121;p4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2122" name="Google Shape;2122;p4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7</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
        <p:cNvGrpSpPr/>
        <p:nvPr/>
      </p:nvGrpSpPr>
      <p:grpSpPr>
        <a:xfrm>
          <a:off x="0" y="0"/>
          <a:ext cx="0" cy="0"/>
          <a:chOff x="0" y="0"/>
          <a:chExt cx="0" cy="0"/>
        </a:xfrm>
      </p:grpSpPr>
      <p:sp>
        <p:nvSpPr>
          <p:cNvPr id="217" name="Google Shape;217;p7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218" name="Google Shape;218;p7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5"/>
        <p:cNvGrpSpPr/>
        <p:nvPr/>
      </p:nvGrpSpPr>
      <p:grpSpPr>
        <a:xfrm>
          <a:off x="0" y="0"/>
          <a:ext cx="0" cy="0"/>
          <a:chOff x="0" y="0"/>
          <a:chExt cx="0" cy="0"/>
        </a:xfrm>
      </p:grpSpPr>
      <p:sp>
        <p:nvSpPr>
          <p:cNvPr id="516" name="Google Shape;516;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517" name="Google Shape;517;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2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Pct val="25000"/>
                <a:buFontTx/>
                <a:buNone/>
                <a:tabLst/>
                <a:defRPr/>
              </a:pPr>
              <a:t>4</a:t>
            </a:fld>
            <a:endParaRPr kumimoji="0" lang="en-US" sz="12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23820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8"/>
        <p:cNvGrpSpPr/>
        <p:nvPr/>
      </p:nvGrpSpPr>
      <p:grpSpPr>
        <a:xfrm>
          <a:off x="0" y="0"/>
          <a:ext cx="0" cy="0"/>
          <a:chOff x="0" y="0"/>
          <a:chExt cx="0" cy="0"/>
        </a:xfrm>
      </p:grpSpPr>
      <p:sp>
        <p:nvSpPr>
          <p:cNvPr id="1279" name="Google Shape;1279;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80" name="Google Shape;1280;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9"/>
        <p:cNvGrpSpPr/>
        <p:nvPr/>
      </p:nvGrpSpPr>
      <p:grpSpPr>
        <a:xfrm>
          <a:off x="0" y="0"/>
          <a:ext cx="0" cy="0"/>
          <a:chOff x="0" y="0"/>
          <a:chExt cx="0" cy="0"/>
        </a:xfrm>
      </p:grpSpPr>
      <p:sp>
        <p:nvSpPr>
          <p:cNvPr id="880" name="Google Shape;880;p1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881" name="Google Shape;881;p1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5"/>
        <p:cNvGrpSpPr/>
        <p:nvPr/>
      </p:nvGrpSpPr>
      <p:grpSpPr>
        <a:xfrm>
          <a:off x="0" y="0"/>
          <a:ext cx="0" cy="0"/>
          <a:chOff x="0" y="0"/>
          <a:chExt cx="0" cy="0"/>
        </a:xfrm>
      </p:grpSpPr>
      <p:sp>
        <p:nvSpPr>
          <p:cNvPr id="886" name="Google Shape;886;p14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887" name="Google Shape;887;p1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4"/>
        <p:cNvGrpSpPr/>
        <p:nvPr/>
      </p:nvGrpSpPr>
      <p:grpSpPr>
        <a:xfrm>
          <a:off x="0" y="0"/>
          <a:ext cx="0" cy="0"/>
          <a:chOff x="0" y="0"/>
          <a:chExt cx="0" cy="0"/>
        </a:xfrm>
      </p:grpSpPr>
      <p:sp>
        <p:nvSpPr>
          <p:cNvPr id="905" name="Google Shape;905;p14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latin typeface="Calibri"/>
              <a:ea typeface="Calibri"/>
              <a:cs typeface="Calibri"/>
              <a:sym typeface="Calibri"/>
            </a:endParaRPr>
          </a:p>
        </p:txBody>
      </p:sp>
      <p:sp>
        <p:nvSpPr>
          <p:cNvPr id="906" name="Google Shape;906;p1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58342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0"/>
        <p:cNvGrpSpPr/>
        <p:nvPr/>
      </p:nvGrpSpPr>
      <p:grpSpPr>
        <a:xfrm>
          <a:off x="0" y="0"/>
          <a:ext cx="0" cy="0"/>
          <a:chOff x="0" y="0"/>
          <a:chExt cx="0" cy="0"/>
        </a:xfrm>
      </p:grpSpPr>
      <p:sp>
        <p:nvSpPr>
          <p:cNvPr id="1001" name="Google Shape;1001;p14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2" name="Google Shape;1002;p14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endParaRPr>
              <a:latin typeface="Calibri"/>
              <a:ea typeface="Calibri"/>
              <a:cs typeface="Calibri"/>
              <a:sym typeface="Calibri"/>
            </a:endParaRPr>
          </a:p>
        </p:txBody>
      </p:sp>
      <p:sp>
        <p:nvSpPr>
          <p:cNvPr id="1003" name="Google Shape;1003;p14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SzPts val="1200"/>
              <a:buNone/>
            </a:pPr>
            <a:fld id="{00000000-1234-1234-1234-123412341234}" type="slidenum">
              <a:rPr lang="en-US" sz="1200" b="0" i="0" u="none" strike="noStrike" cap="none">
                <a:solidFill>
                  <a:schemeClr val="dk1"/>
                </a:solidFill>
              </a:rPr>
              <a:t>9</a:t>
            </a:fld>
            <a:endParaRPr sz="1200" b="0" i="0" u="none" strike="noStrike" cap="none">
              <a:solidFill>
                <a:schemeClr val="dk1"/>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117.xml"/><Relationship Id="rId5" Type="http://schemas.openxmlformats.org/officeDocument/2006/relationships/image" Target="../media/image33.png"/><Relationship Id="rId4" Type="http://schemas.openxmlformats.org/officeDocument/2006/relationships/image" Target="../media/image18.emf"/></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11.emf"/><Relationship Id="rId4" Type="http://schemas.openxmlformats.org/officeDocument/2006/relationships/oleObject" Target="../embeddings/oleObject65.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120.xml"/><Relationship Id="rId4" Type="http://schemas.openxmlformats.org/officeDocument/2006/relationships/image" Target="../media/image34.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1.emf"/><Relationship Id="rId4" Type="http://schemas.openxmlformats.org/officeDocument/2006/relationships/oleObject" Target="../embeddings/oleObject67.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1.emf"/><Relationship Id="rId4" Type="http://schemas.openxmlformats.org/officeDocument/2006/relationships/oleObject" Target="../embeddings/oleObject68.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11.emf"/><Relationship Id="rId4" Type="http://schemas.openxmlformats.org/officeDocument/2006/relationships/oleObject" Target="../embeddings/oleObject6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1.emf"/><Relationship Id="rId4" Type="http://schemas.openxmlformats.org/officeDocument/2006/relationships/oleObject" Target="../embeddings/oleObject7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1.emf"/><Relationship Id="rId4" Type="http://schemas.openxmlformats.org/officeDocument/2006/relationships/oleObject" Target="../embeddings/oleObject71.bin"/></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6.xml"/><Relationship Id="rId7" Type="http://schemas.openxmlformats.org/officeDocument/2006/relationships/image" Target="../media/image15.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6.xml"/><Relationship Id="rId7" Type="http://schemas.openxmlformats.org/officeDocument/2006/relationships/image" Target="../media/image15.pn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7.jpeg"/><Relationship Id="rId5" Type="http://schemas.openxmlformats.org/officeDocument/2006/relationships/image" Target="../media/image11.emf"/><Relationship Id="rId4" Type="http://schemas.openxmlformats.org/officeDocument/2006/relationships/oleObject" Target="../embeddings/oleObject74.bin"/></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6.xml"/><Relationship Id="rId7" Type="http://schemas.openxmlformats.org/officeDocument/2006/relationships/image" Target="../media/image15.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75.bin"/></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6.xml"/><Relationship Id="rId7" Type="http://schemas.openxmlformats.org/officeDocument/2006/relationships/image" Target="../media/image15.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76.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6.xml"/><Relationship Id="rId7" Type="http://schemas.openxmlformats.org/officeDocument/2006/relationships/image" Target="../media/image15.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77.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7.jpeg"/><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6.xml"/><Relationship Id="rId1" Type="http://schemas.openxmlformats.org/officeDocument/2006/relationships/tags" Target="../tags/tag143.xml"/><Relationship Id="rId5" Type="http://schemas.openxmlformats.org/officeDocument/2006/relationships/image" Target="../media/image19.jpg"/><Relationship Id="rId4" Type="http://schemas.openxmlformats.org/officeDocument/2006/relationships/image" Target="../media/image18.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6.xml"/><Relationship Id="rId1" Type="http://schemas.openxmlformats.org/officeDocument/2006/relationships/tags" Target="../tags/tag144.xml"/><Relationship Id="rId4" Type="http://schemas.openxmlformats.org/officeDocument/2006/relationships/image" Target="../media/image11.emf"/></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11.emf"/><Relationship Id="rId4" Type="http://schemas.openxmlformats.org/officeDocument/2006/relationships/oleObject" Target="../embeddings/oleObject80.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11.emf"/><Relationship Id="rId4" Type="http://schemas.openxmlformats.org/officeDocument/2006/relationships/oleObject" Target="../embeddings/oleObject81.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3.sv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82.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1.emf"/><Relationship Id="rId4" Type="http://schemas.openxmlformats.org/officeDocument/2006/relationships/oleObject" Target="../embeddings/oleObject83.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11.emf"/><Relationship Id="rId4" Type="http://schemas.openxmlformats.org/officeDocument/2006/relationships/oleObject" Target="../embeddings/oleObject84.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11.emf"/><Relationship Id="rId4" Type="http://schemas.openxmlformats.org/officeDocument/2006/relationships/oleObject" Target="../embeddings/oleObject85.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11.emf"/><Relationship Id="rId4" Type="http://schemas.openxmlformats.org/officeDocument/2006/relationships/oleObject" Target="../embeddings/oleObject86.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20.emf"/><Relationship Id="rId4" Type="http://schemas.openxmlformats.org/officeDocument/2006/relationships/oleObject" Target="../embeddings/oleObject87.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image" Target="../media/image20.emf"/><Relationship Id="rId4" Type="http://schemas.openxmlformats.org/officeDocument/2006/relationships/oleObject" Target="../embeddings/oleObject88.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tags" Target="../tags/tag163.xml"/><Relationship Id="rId5" Type="http://schemas.openxmlformats.org/officeDocument/2006/relationships/image" Target="../media/image20.emf"/><Relationship Id="rId4" Type="http://schemas.openxmlformats.org/officeDocument/2006/relationships/oleObject" Target="../embeddings/oleObject89.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tags" Target="../tags/tag165.xml"/><Relationship Id="rId5" Type="http://schemas.openxmlformats.org/officeDocument/2006/relationships/image" Target="../media/image20.emf"/><Relationship Id="rId4" Type="http://schemas.openxmlformats.org/officeDocument/2006/relationships/oleObject" Target="../embeddings/oleObject90.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8.xml"/><Relationship Id="rId1" Type="http://schemas.openxmlformats.org/officeDocument/2006/relationships/tags" Target="../tags/tag167.xml"/><Relationship Id="rId5" Type="http://schemas.openxmlformats.org/officeDocument/2006/relationships/image" Target="../media/image21.emf"/><Relationship Id="rId4" Type="http://schemas.openxmlformats.org/officeDocument/2006/relationships/oleObject" Target="../embeddings/oleObject91.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0.xml"/><Relationship Id="rId1" Type="http://schemas.openxmlformats.org/officeDocument/2006/relationships/tags" Target="../tags/tag169.xml"/><Relationship Id="rId5" Type="http://schemas.openxmlformats.org/officeDocument/2006/relationships/image" Target="../media/image21.emf"/><Relationship Id="rId4" Type="http://schemas.openxmlformats.org/officeDocument/2006/relationships/oleObject" Target="../embeddings/oleObject92.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image" Target="../media/image20.emf"/><Relationship Id="rId4" Type="http://schemas.openxmlformats.org/officeDocument/2006/relationships/oleObject" Target="../embeddings/oleObject9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20.emf"/><Relationship Id="rId4" Type="http://schemas.openxmlformats.org/officeDocument/2006/relationships/oleObject" Target="../embeddings/oleObject94.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microsoft.com/office/2007/relationships/hdphoto" Target="../media/hdphoto1.wdp"/><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24.wmf"/><Relationship Id="rId3" Type="http://schemas.openxmlformats.org/officeDocument/2006/relationships/oleObject" Target="../embeddings/oleObject97.bin"/><Relationship Id="rId7" Type="http://schemas.openxmlformats.org/officeDocument/2006/relationships/hyperlink" Target="https://infomineo.com/insights/blog/" TargetMode="External"/><Relationship Id="rId12" Type="http://schemas.openxmlformats.org/officeDocument/2006/relationships/image" Target="../media/image26.emf"/><Relationship Id="rId2" Type="http://schemas.openxmlformats.org/officeDocument/2006/relationships/slideMaster" Target="../slideMasters/slideMaster6.xml"/><Relationship Id="rId1" Type="http://schemas.openxmlformats.org/officeDocument/2006/relationships/tags" Target="../tags/tag179.xml"/><Relationship Id="rId6" Type="http://schemas.openxmlformats.org/officeDocument/2006/relationships/image" Target="../media/image16.svg"/><Relationship Id="rId11" Type="http://schemas.openxmlformats.org/officeDocument/2006/relationships/hyperlink" Target="https://www.facebook.com/Infomineo/" TargetMode="External"/><Relationship Id="rId5" Type="http://schemas.openxmlformats.org/officeDocument/2006/relationships/image" Target="../media/image15.png"/><Relationship Id="rId10" Type="http://schemas.openxmlformats.org/officeDocument/2006/relationships/image" Target="../media/image25.emf"/><Relationship Id="rId4" Type="http://schemas.openxmlformats.org/officeDocument/2006/relationships/image" Target="../media/image21.emf"/><Relationship Id="rId9" Type="http://schemas.openxmlformats.org/officeDocument/2006/relationships/hyperlink" Target="https://www.linkedin.com/company-beta/2416143/admin/updates/" TargetMode="Externa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3.sv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98.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slideMaster" Target="../slideMasters/slideMaster7.xml"/><Relationship Id="rId7" Type="http://schemas.openxmlformats.org/officeDocument/2006/relationships/image" Target="../media/image36.png"/><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35.jpg"/><Relationship Id="rId5" Type="http://schemas.openxmlformats.org/officeDocument/2006/relationships/image" Target="../media/image11.emf"/><Relationship Id="rId4" Type="http://schemas.openxmlformats.org/officeDocument/2006/relationships/oleObject" Target="../embeddings/oleObject100.bin"/></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slideMaster" Target="../slideMasters/slideMaster7.xml"/><Relationship Id="rId7" Type="http://schemas.openxmlformats.org/officeDocument/2006/relationships/image" Target="../media/image36.png"/><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38.jpeg"/><Relationship Id="rId5" Type="http://schemas.openxmlformats.org/officeDocument/2006/relationships/image" Target="../media/image11.emf"/><Relationship Id="rId4" Type="http://schemas.openxmlformats.org/officeDocument/2006/relationships/oleObject" Target="../embeddings/oleObject101.bin"/></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slideMaster" Target="../slideMasters/slideMaster7.xml"/><Relationship Id="rId7" Type="http://schemas.openxmlformats.org/officeDocument/2006/relationships/image" Target="../media/image36.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35.jpg"/><Relationship Id="rId5" Type="http://schemas.openxmlformats.org/officeDocument/2006/relationships/image" Target="../media/image11.emf"/><Relationship Id="rId4" Type="http://schemas.openxmlformats.org/officeDocument/2006/relationships/oleObject" Target="../embeddings/oleObject102.bin"/></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Master" Target="../slideMasters/slideMaster7.xml"/><Relationship Id="rId7" Type="http://schemas.openxmlformats.org/officeDocument/2006/relationships/image" Target="../media/image40.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39.jpeg"/><Relationship Id="rId5" Type="http://schemas.openxmlformats.org/officeDocument/2006/relationships/image" Target="../media/image11.emf"/><Relationship Id="rId4" Type="http://schemas.openxmlformats.org/officeDocument/2006/relationships/oleObject" Target="../embeddings/oleObject103.bin"/></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slideMaster" Target="../slideMasters/slideMaster7.xml"/><Relationship Id="rId7" Type="http://schemas.openxmlformats.org/officeDocument/2006/relationships/image" Target="../media/image36.png"/><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35.jpg"/><Relationship Id="rId5" Type="http://schemas.openxmlformats.org/officeDocument/2006/relationships/image" Target="../media/image11.emf"/><Relationship Id="rId4" Type="http://schemas.openxmlformats.org/officeDocument/2006/relationships/oleObject" Target="../embeddings/oleObject104.bin"/></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11.emf"/></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image" Target="../media/image11.emf"/><Relationship Id="rId4" Type="http://schemas.openxmlformats.org/officeDocument/2006/relationships/oleObject" Target="../embeddings/oleObject106.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3.svg"/><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07.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microsoft.com/office/2007/relationships/hdphoto" Target="../media/hdphoto2.wdp"/><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42.png"/><Relationship Id="rId5" Type="http://schemas.openxmlformats.org/officeDocument/2006/relationships/image" Target="../media/image11.emf"/><Relationship Id="rId4" Type="http://schemas.openxmlformats.org/officeDocument/2006/relationships/oleObject" Target="../embeddings/oleObject108.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2.xml"/><Relationship Id="rId1" Type="http://schemas.openxmlformats.org/officeDocument/2006/relationships/tags" Target="../tags/tag201.xml"/><Relationship Id="rId5" Type="http://schemas.openxmlformats.org/officeDocument/2006/relationships/image" Target="../media/image11.emf"/><Relationship Id="rId4" Type="http://schemas.openxmlformats.org/officeDocument/2006/relationships/oleObject" Target="../embeddings/oleObject109.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4.xml"/><Relationship Id="rId1" Type="http://schemas.openxmlformats.org/officeDocument/2006/relationships/tags" Target="../tags/tag203.xml"/><Relationship Id="rId5" Type="http://schemas.openxmlformats.org/officeDocument/2006/relationships/image" Target="../media/image11.emf"/><Relationship Id="rId4" Type="http://schemas.openxmlformats.org/officeDocument/2006/relationships/oleObject" Target="../embeddings/oleObject110.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6.xml"/><Relationship Id="rId1" Type="http://schemas.openxmlformats.org/officeDocument/2006/relationships/tags" Target="../tags/tag205.xml"/><Relationship Id="rId5" Type="http://schemas.openxmlformats.org/officeDocument/2006/relationships/image" Target="../media/image11.emf"/><Relationship Id="rId4" Type="http://schemas.openxmlformats.org/officeDocument/2006/relationships/oleObject" Target="../embeddings/oleObject111.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image" Target="../media/image11.emf"/><Relationship Id="rId4" Type="http://schemas.openxmlformats.org/officeDocument/2006/relationships/oleObject" Target="../embeddings/oleObject112.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0.xml"/><Relationship Id="rId1" Type="http://schemas.openxmlformats.org/officeDocument/2006/relationships/tags" Target="../tags/tag209.xml"/><Relationship Id="rId5" Type="http://schemas.openxmlformats.org/officeDocument/2006/relationships/image" Target="../media/image11.emf"/><Relationship Id="rId4" Type="http://schemas.openxmlformats.org/officeDocument/2006/relationships/oleObject" Target="../embeddings/oleObject113.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image" Target="../media/image20.emf"/><Relationship Id="rId4" Type="http://schemas.openxmlformats.org/officeDocument/2006/relationships/oleObject" Target="../embeddings/oleObject114.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4.xml"/><Relationship Id="rId1" Type="http://schemas.openxmlformats.org/officeDocument/2006/relationships/tags" Target="../tags/tag213.xml"/><Relationship Id="rId5" Type="http://schemas.openxmlformats.org/officeDocument/2006/relationships/image" Target="../media/image11.emf"/><Relationship Id="rId4" Type="http://schemas.openxmlformats.org/officeDocument/2006/relationships/oleObject" Target="../embeddings/oleObject115.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6.xml"/><Relationship Id="rId1" Type="http://schemas.openxmlformats.org/officeDocument/2006/relationships/tags" Target="../tags/tag215.xml"/><Relationship Id="rId5" Type="http://schemas.openxmlformats.org/officeDocument/2006/relationships/image" Target="../media/image20.emf"/><Relationship Id="rId4" Type="http://schemas.openxmlformats.org/officeDocument/2006/relationships/oleObject" Target="../embeddings/oleObject116.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8.xml"/><Relationship Id="rId1" Type="http://schemas.openxmlformats.org/officeDocument/2006/relationships/tags" Target="../tags/tag217.xml"/><Relationship Id="rId5" Type="http://schemas.openxmlformats.org/officeDocument/2006/relationships/image" Target="../media/image20.emf"/><Relationship Id="rId4" Type="http://schemas.openxmlformats.org/officeDocument/2006/relationships/oleObject" Target="../embeddings/oleObject117.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19.jpg"/><Relationship Id="rId4" Type="http://schemas.openxmlformats.org/officeDocument/2006/relationships/image" Target="../media/image18.emf"/></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image" Target="../media/image20.emf"/><Relationship Id="rId4" Type="http://schemas.openxmlformats.org/officeDocument/2006/relationships/oleObject" Target="../embeddings/oleObject118.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2.xml"/><Relationship Id="rId1" Type="http://schemas.openxmlformats.org/officeDocument/2006/relationships/tags" Target="../tags/tag221.xml"/><Relationship Id="rId5" Type="http://schemas.openxmlformats.org/officeDocument/2006/relationships/image" Target="../media/image21.emf"/><Relationship Id="rId4" Type="http://schemas.openxmlformats.org/officeDocument/2006/relationships/oleObject" Target="../embeddings/oleObject119.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4.xml"/><Relationship Id="rId1" Type="http://schemas.openxmlformats.org/officeDocument/2006/relationships/tags" Target="../tags/tag223.xml"/><Relationship Id="rId5" Type="http://schemas.openxmlformats.org/officeDocument/2006/relationships/image" Target="../media/image21.emf"/><Relationship Id="rId4" Type="http://schemas.openxmlformats.org/officeDocument/2006/relationships/oleObject" Target="../embeddings/oleObject120.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6.xml"/><Relationship Id="rId1" Type="http://schemas.openxmlformats.org/officeDocument/2006/relationships/tags" Target="../tags/tag225.xml"/><Relationship Id="rId5" Type="http://schemas.openxmlformats.org/officeDocument/2006/relationships/image" Target="../media/image20.emf"/><Relationship Id="rId4" Type="http://schemas.openxmlformats.org/officeDocument/2006/relationships/oleObject" Target="../embeddings/oleObject121.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8.xml"/><Relationship Id="rId1" Type="http://schemas.openxmlformats.org/officeDocument/2006/relationships/tags" Target="../tags/tag227.xml"/><Relationship Id="rId5" Type="http://schemas.openxmlformats.org/officeDocument/2006/relationships/image" Target="../media/image20.emf"/><Relationship Id="rId4" Type="http://schemas.openxmlformats.org/officeDocument/2006/relationships/oleObject" Target="../embeddings/oleObject122.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microsoft.com/office/2007/relationships/hdphoto" Target="../media/hdphoto3.wdp"/><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microsoft.com/office/2007/relationships/hdphoto" Target="../media/hdphoto4.wdp"/><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microsoft.com/office/2007/relationships/hdphoto" Target="../media/hdphoto5.wdp"/><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microsoft.com/office/2007/relationships/hdphoto" Target="../media/hdphoto6.wdp"/><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1.emf"/></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microsoft.com/office/2007/relationships/hdphoto" Target="../media/hdphoto7.wdp"/><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71.xml.rels><?xml version="1.0" encoding="UTF-8" standalone="yes"?>
<Relationships xmlns="http://schemas.openxmlformats.org/package/2006/relationships"><Relationship Id="rId8" Type="http://schemas.openxmlformats.org/officeDocument/2006/relationships/hyperlink" Target="https://infomineo.com/insights/blog/" TargetMode="External"/><Relationship Id="rId13" Type="http://schemas.openxmlformats.org/officeDocument/2006/relationships/image" Target="../media/image26.emf"/><Relationship Id="rId3" Type="http://schemas.openxmlformats.org/officeDocument/2006/relationships/oleObject" Target="../embeddings/oleObject129.bin"/><Relationship Id="rId7" Type="http://schemas.openxmlformats.org/officeDocument/2006/relationships/image" Target="../media/image37.svg"/><Relationship Id="rId12" Type="http://schemas.openxmlformats.org/officeDocument/2006/relationships/hyperlink" Target="https://www.facebook.com/Infomineo/" TargetMode="External"/><Relationship Id="rId2" Type="http://schemas.openxmlformats.org/officeDocument/2006/relationships/slideMaster" Target="../slideMasters/slideMaster7.xml"/><Relationship Id="rId1" Type="http://schemas.openxmlformats.org/officeDocument/2006/relationships/tags" Target="../tags/tag241.xml"/><Relationship Id="rId6" Type="http://schemas.openxmlformats.org/officeDocument/2006/relationships/image" Target="../media/image36.png"/><Relationship Id="rId11" Type="http://schemas.openxmlformats.org/officeDocument/2006/relationships/image" Target="../media/image25.emf"/><Relationship Id="rId5" Type="http://schemas.openxmlformats.org/officeDocument/2006/relationships/hyperlink" Target="https://infomineo.com/" TargetMode="External"/><Relationship Id="rId10" Type="http://schemas.openxmlformats.org/officeDocument/2006/relationships/hyperlink" Target="https://www.linkedin.com/company-beta/2416143/admin/updates/" TargetMode="External"/><Relationship Id="rId4" Type="http://schemas.openxmlformats.org/officeDocument/2006/relationships/image" Target="../media/image21.emf"/><Relationship Id="rId9" Type="http://schemas.openxmlformats.org/officeDocument/2006/relationships/image" Target="../media/image24.wmf"/></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3.xml"/><Relationship Id="rId1" Type="http://schemas.openxmlformats.org/officeDocument/2006/relationships/tags" Target="../tags/tag242.xml"/><Relationship Id="rId5" Type="http://schemas.openxmlformats.org/officeDocument/2006/relationships/image" Target="../media/image11.emf"/><Relationship Id="rId4" Type="http://schemas.openxmlformats.org/officeDocument/2006/relationships/oleObject" Target="../embeddings/oleObject130.bin"/></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7.xml"/><Relationship Id="rId1" Type="http://schemas.openxmlformats.org/officeDocument/2006/relationships/tags" Target="../tags/tag244.xml"/><Relationship Id="rId4" Type="http://schemas.openxmlformats.org/officeDocument/2006/relationships/image" Target="../media/image1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7.xml"/><Relationship Id="rId1" Type="http://schemas.openxmlformats.org/officeDocument/2006/relationships/tags" Target="../tags/tag245.xml"/><Relationship Id="rId4" Type="http://schemas.openxmlformats.org/officeDocument/2006/relationships/image" Target="../media/image11.emf"/></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7.xml"/><Relationship Id="rId1" Type="http://schemas.openxmlformats.org/officeDocument/2006/relationships/tags" Target="../tags/tag246.xml"/><Relationship Id="rId5" Type="http://schemas.openxmlformats.org/officeDocument/2006/relationships/image" Target="../media/image11.emf"/><Relationship Id="rId4" Type="http://schemas.openxmlformats.org/officeDocument/2006/relationships/oleObject" Target="../embeddings/oleObject133.bin"/></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8" Type="http://schemas.openxmlformats.org/officeDocument/2006/relationships/hyperlink" Target="https://www.facebook.com/Infomineo/" TargetMode="External"/><Relationship Id="rId3" Type="http://schemas.openxmlformats.org/officeDocument/2006/relationships/image" Target="../media/image29.png"/><Relationship Id="rId7" Type="http://schemas.openxmlformats.org/officeDocument/2006/relationships/image" Target="../media/image31.png"/><Relationship Id="rId2" Type="http://schemas.openxmlformats.org/officeDocument/2006/relationships/hyperlink" Target="https://infomineo.com/" TargetMode="External"/><Relationship Id="rId1" Type="http://schemas.openxmlformats.org/officeDocument/2006/relationships/slideMaster" Target="../slideMasters/slideMaster8.xml"/><Relationship Id="rId6" Type="http://schemas.openxmlformats.org/officeDocument/2006/relationships/hyperlink" Target="https://www.linkedin.com/company-beta/2416143/admin/updates/" TargetMode="External"/><Relationship Id="rId5" Type="http://schemas.openxmlformats.org/officeDocument/2006/relationships/image" Target="../media/image30.png"/><Relationship Id="rId4" Type="http://schemas.openxmlformats.org/officeDocument/2006/relationships/hyperlink" Target="https://infomineo.com/insights/blog/" TargetMode="External"/><Relationship Id="rId9" Type="http://schemas.openxmlformats.org/officeDocument/2006/relationships/image" Target="../media/image32.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8.xml"/><Relationship Id="rId1" Type="http://schemas.openxmlformats.org/officeDocument/2006/relationships/tags" Target="../tags/tag249.xml"/><Relationship Id="rId5" Type="http://schemas.openxmlformats.org/officeDocument/2006/relationships/image" Target="../media/image33.png"/><Relationship Id="rId4" Type="http://schemas.openxmlformats.org/officeDocument/2006/relationships/image" Target="../media/image18.emf"/></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image" Target="../media/image11.emf"/><Relationship Id="rId4" Type="http://schemas.openxmlformats.org/officeDocument/2006/relationships/oleObject" Target="../embeddings/oleObject136.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8.xml"/><Relationship Id="rId1" Type="http://schemas.openxmlformats.org/officeDocument/2006/relationships/tags" Target="../tags/tag252.xml"/><Relationship Id="rId4" Type="http://schemas.openxmlformats.org/officeDocument/2006/relationships/image" Target="../media/image34.emf"/></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4.xml"/><Relationship Id="rId1" Type="http://schemas.openxmlformats.org/officeDocument/2006/relationships/tags" Target="../tags/tag253.xml"/><Relationship Id="rId5" Type="http://schemas.openxmlformats.org/officeDocument/2006/relationships/image" Target="../media/image11.emf"/><Relationship Id="rId4" Type="http://schemas.openxmlformats.org/officeDocument/2006/relationships/oleObject" Target="../embeddings/oleObject138.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6.xml"/><Relationship Id="rId1" Type="http://schemas.openxmlformats.org/officeDocument/2006/relationships/tags" Target="../tags/tag255.xml"/><Relationship Id="rId5" Type="http://schemas.openxmlformats.org/officeDocument/2006/relationships/image" Target="../media/image11.emf"/><Relationship Id="rId4" Type="http://schemas.openxmlformats.org/officeDocument/2006/relationships/oleObject" Target="../embeddings/oleObject13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20.emf"/><Relationship Id="rId4" Type="http://schemas.openxmlformats.org/officeDocument/2006/relationships/oleObject" Target="../embeddings/oleObject1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0.emf"/><Relationship Id="rId4" Type="http://schemas.openxmlformats.org/officeDocument/2006/relationships/oleObject" Target="../embeddings/oleObject1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0.emf"/><Relationship Id="rId4" Type="http://schemas.openxmlformats.org/officeDocument/2006/relationships/oleObject" Target="../embeddings/oleObject1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20.emf"/><Relationship Id="rId4" Type="http://schemas.openxmlformats.org/officeDocument/2006/relationships/oleObject" Target="../embeddings/oleObject2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1.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1.emf"/><Relationship Id="rId4" Type="http://schemas.openxmlformats.org/officeDocument/2006/relationships/oleObject" Target="../embeddings/oleObject2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0.emf"/><Relationship Id="rId4" Type="http://schemas.openxmlformats.org/officeDocument/2006/relationships/oleObject" Target="../embeddings/oleObject2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20.emf"/><Relationship Id="rId4" Type="http://schemas.openxmlformats.org/officeDocument/2006/relationships/oleObject" Target="../embeddings/oleObject2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4.wmf"/><Relationship Id="rId3" Type="http://schemas.openxmlformats.org/officeDocument/2006/relationships/oleObject" Target="../embeddings/oleObject27.bin"/><Relationship Id="rId7" Type="http://schemas.openxmlformats.org/officeDocument/2006/relationships/hyperlink" Target="https://infomineo.com/insights/blog/" TargetMode="External"/><Relationship Id="rId12" Type="http://schemas.openxmlformats.org/officeDocument/2006/relationships/image" Target="../media/image26.emf"/><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16.svg"/><Relationship Id="rId11" Type="http://schemas.openxmlformats.org/officeDocument/2006/relationships/hyperlink" Target="https://www.facebook.com/Infomineo/" TargetMode="External"/><Relationship Id="rId5" Type="http://schemas.openxmlformats.org/officeDocument/2006/relationships/image" Target="../media/image15.png"/><Relationship Id="rId10" Type="http://schemas.openxmlformats.org/officeDocument/2006/relationships/image" Target="../media/image25.emf"/><Relationship Id="rId4" Type="http://schemas.openxmlformats.org/officeDocument/2006/relationships/image" Target="../media/image21.emf"/><Relationship Id="rId9" Type="http://schemas.openxmlformats.org/officeDocument/2006/relationships/hyperlink" Target="https://www.linkedin.com/company-beta/2416143/admin/update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sv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8.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facebook.com/Infomineo/" TargetMode="External"/><Relationship Id="rId3" Type="http://schemas.openxmlformats.org/officeDocument/2006/relationships/image" Target="../media/image29.png"/><Relationship Id="rId7" Type="http://schemas.openxmlformats.org/officeDocument/2006/relationships/image" Target="../media/image31.png"/><Relationship Id="rId2" Type="http://schemas.openxmlformats.org/officeDocument/2006/relationships/hyperlink" Target="https://infomineo.com/" TargetMode="External"/><Relationship Id="rId1" Type="http://schemas.openxmlformats.org/officeDocument/2006/relationships/slideMaster" Target="../slideMasters/slideMaster3.xml"/><Relationship Id="rId6" Type="http://schemas.openxmlformats.org/officeDocument/2006/relationships/hyperlink" Target="https://www.linkedin.com/company-beta/2416143/admin/updates/" TargetMode="External"/><Relationship Id="rId5" Type="http://schemas.openxmlformats.org/officeDocument/2006/relationships/image" Target="../media/image30.png"/><Relationship Id="rId4" Type="http://schemas.openxmlformats.org/officeDocument/2006/relationships/hyperlink" Target="https://infomineo.com/insights/blog/" TargetMode="External"/><Relationship Id="rId9" Type="http://schemas.openxmlformats.org/officeDocument/2006/relationships/image" Target="../media/image3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55.xml"/><Relationship Id="rId5" Type="http://schemas.openxmlformats.org/officeDocument/2006/relationships/image" Target="../media/image33.png"/><Relationship Id="rId4" Type="http://schemas.openxmlformats.org/officeDocument/2006/relationships/image" Target="../media/image18.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1.emf"/><Relationship Id="rId4" Type="http://schemas.openxmlformats.org/officeDocument/2006/relationships/oleObject" Target="../embeddings/oleObject31.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34.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1.emf"/><Relationship Id="rId4" Type="http://schemas.openxmlformats.org/officeDocument/2006/relationships/oleObject" Target="../embeddings/oleObject3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1.emf"/><Relationship Id="rId4" Type="http://schemas.openxmlformats.org/officeDocument/2006/relationships/oleObject" Target="../embeddings/oleObject34.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1.emf"/><Relationship Id="rId4" Type="http://schemas.openxmlformats.org/officeDocument/2006/relationships/oleObject" Target="../embeddings/oleObject35.bin"/></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37.bin"/></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7.jpeg"/><Relationship Id="rId5" Type="http://schemas.openxmlformats.org/officeDocument/2006/relationships/image" Target="../media/image11.emf"/><Relationship Id="rId4" Type="http://schemas.openxmlformats.org/officeDocument/2006/relationships/oleObject" Target="../embeddings/oleObject38.bin"/></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39.bin"/></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40.bin"/></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41.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19.jpg"/><Relationship Id="rId4" Type="http://schemas.openxmlformats.org/officeDocument/2006/relationships/image" Target="../media/image1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78.xml"/><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11.emf"/><Relationship Id="rId4" Type="http://schemas.openxmlformats.org/officeDocument/2006/relationships/oleObject" Target="../embeddings/oleObject44.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infomineo.com/" TargetMode="Externa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1.emf"/><Relationship Id="rId4" Type="http://schemas.openxmlformats.org/officeDocument/2006/relationships/oleObject" Target="../embeddings/oleObject45.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3.sv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46.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11.emf"/><Relationship Id="rId4" Type="http://schemas.openxmlformats.org/officeDocument/2006/relationships/oleObject" Target="../embeddings/oleObject47.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1.emf"/><Relationship Id="rId4" Type="http://schemas.openxmlformats.org/officeDocument/2006/relationships/oleObject" Target="../embeddings/oleObject48.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1.emf"/><Relationship Id="rId4" Type="http://schemas.openxmlformats.org/officeDocument/2006/relationships/oleObject" Target="../embeddings/oleObject4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1.emf"/><Relationship Id="rId4" Type="http://schemas.openxmlformats.org/officeDocument/2006/relationships/oleObject" Target="../embeddings/oleObject50.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20.emf"/><Relationship Id="rId4" Type="http://schemas.openxmlformats.org/officeDocument/2006/relationships/oleObject" Target="../embeddings/oleObject51.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20.emf"/><Relationship Id="rId4" Type="http://schemas.openxmlformats.org/officeDocument/2006/relationships/oleObject" Target="../embeddings/oleObject52.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20.emf"/><Relationship Id="rId4" Type="http://schemas.openxmlformats.org/officeDocument/2006/relationships/oleObject" Target="../embeddings/oleObject53.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20.emf"/><Relationship Id="rId4" Type="http://schemas.openxmlformats.org/officeDocument/2006/relationships/oleObject" Target="../embeddings/oleObject54.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21.emf"/><Relationship Id="rId4" Type="http://schemas.openxmlformats.org/officeDocument/2006/relationships/oleObject" Target="../embeddings/oleObject5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21.emf"/><Relationship Id="rId4" Type="http://schemas.openxmlformats.org/officeDocument/2006/relationships/oleObject" Target="../embeddings/oleObject56.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20.emf"/><Relationship Id="rId4" Type="http://schemas.openxmlformats.org/officeDocument/2006/relationships/oleObject" Target="../embeddings/oleObject57.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20.emf"/><Relationship Id="rId4" Type="http://schemas.openxmlformats.org/officeDocument/2006/relationships/oleObject" Target="../embeddings/oleObject5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microsoft.com/office/2007/relationships/hdphoto" Target="../media/hdphoto1.wdp"/><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4.wmf"/><Relationship Id="rId3" Type="http://schemas.openxmlformats.org/officeDocument/2006/relationships/oleObject" Target="../embeddings/oleObject61.bin"/><Relationship Id="rId7" Type="http://schemas.openxmlformats.org/officeDocument/2006/relationships/hyperlink" Target="https://infomineo.com/insights/blog/" TargetMode="External"/><Relationship Id="rId12" Type="http://schemas.openxmlformats.org/officeDocument/2006/relationships/image" Target="../media/image26.emf"/><Relationship Id="rId2" Type="http://schemas.openxmlformats.org/officeDocument/2006/relationships/slideMaster" Target="../slideMasters/slideMaster4.xml"/><Relationship Id="rId1" Type="http://schemas.openxmlformats.org/officeDocument/2006/relationships/tags" Target="../tags/tag113.xml"/><Relationship Id="rId6" Type="http://schemas.openxmlformats.org/officeDocument/2006/relationships/image" Target="../media/image16.svg"/><Relationship Id="rId11" Type="http://schemas.openxmlformats.org/officeDocument/2006/relationships/hyperlink" Target="https://www.facebook.com/Infomineo/" TargetMode="External"/><Relationship Id="rId5" Type="http://schemas.openxmlformats.org/officeDocument/2006/relationships/image" Target="../media/image15.png"/><Relationship Id="rId10" Type="http://schemas.openxmlformats.org/officeDocument/2006/relationships/image" Target="../media/image25.emf"/><Relationship Id="rId4" Type="http://schemas.openxmlformats.org/officeDocument/2006/relationships/image" Target="../media/image21.emf"/><Relationship Id="rId9" Type="http://schemas.openxmlformats.org/officeDocument/2006/relationships/hyperlink" Target="https://www.linkedin.com/company-beta/2416143/admin/updates/" TargetMode="Externa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3.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62.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s://www.facebook.com/Infomineo/" TargetMode="External"/><Relationship Id="rId3" Type="http://schemas.openxmlformats.org/officeDocument/2006/relationships/image" Target="../media/image29.png"/><Relationship Id="rId7" Type="http://schemas.openxmlformats.org/officeDocument/2006/relationships/image" Target="../media/image31.png"/><Relationship Id="rId2" Type="http://schemas.openxmlformats.org/officeDocument/2006/relationships/hyperlink" Target="https://infomineo.com/" TargetMode="External"/><Relationship Id="rId1" Type="http://schemas.openxmlformats.org/officeDocument/2006/relationships/slideMaster" Target="../slideMasters/slideMaster5.xml"/><Relationship Id="rId6" Type="http://schemas.openxmlformats.org/officeDocument/2006/relationships/hyperlink" Target="https://www.linkedin.com/company-beta/2416143/admin/updates/" TargetMode="External"/><Relationship Id="rId5" Type="http://schemas.openxmlformats.org/officeDocument/2006/relationships/image" Target="../media/image30.png"/><Relationship Id="rId4" Type="http://schemas.openxmlformats.org/officeDocument/2006/relationships/hyperlink" Target="https://infomineo.com/insights/blog/" TargetMode="External"/><Relationship Id="rId9" Type="http://schemas.openxmlformats.org/officeDocument/2006/relationships/image" Target="../media/image3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Option 2)" type="title">
  <p:cSld name="TITLE">
    <p:spTree>
      <p:nvGrpSpPr>
        <p:cNvPr id="1" name="Shape 18"/>
        <p:cNvGrpSpPr/>
        <p:nvPr/>
      </p:nvGrpSpPr>
      <p:grpSpPr>
        <a:xfrm>
          <a:off x="0" y="0"/>
          <a:ext cx="0" cy="0"/>
          <a:chOff x="0" y="0"/>
          <a:chExt cx="0" cy="0"/>
        </a:xfrm>
      </p:grpSpPr>
      <p:pic>
        <p:nvPicPr>
          <p:cNvPr id="19" name="Google Shape;19;p46" descr="A large body of water with a city in the background&#10;&#10;Description automatically generated"/>
          <p:cNvPicPr preferRelativeResize="0"/>
          <p:nvPr/>
        </p:nvPicPr>
        <p:blipFill rotWithShape="1">
          <a:blip r:embed="rId2">
            <a:alphaModFix/>
          </a:blip>
          <a:srcRect/>
          <a:stretch/>
        </p:blipFill>
        <p:spPr>
          <a:xfrm>
            <a:off x="269998" y="270000"/>
            <a:ext cx="11652001" cy="6318000"/>
          </a:xfrm>
          <a:prstGeom prst="rect">
            <a:avLst/>
          </a:prstGeom>
          <a:noFill/>
          <a:ln>
            <a:noFill/>
          </a:ln>
        </p:spPr>
      </p:pic>
      <p:sp>
        <p:nvSpPr>
          <p:cNvPr id="20" name="Google Shape;20;p46"/>
          <p:cNvSpPr/>
          <p:nvPr/>
        </p:nvSpPr>
        <p:spPr>
          <a:xfrm>
            <a:off x="536448" y="540000"/>
            <a:ext cx="6363891" cy="6318000"/>
          </a:xfrm>
          <a:prstGeom prst="rect">
            <a:avLst/>
          </a:prstGeom>
          <a:gradFill>
            <a:gsLst>
              <a:gs pos="0">
                <a:srgbClr val="062379"/>
              </a:gs>
              <a:gs pos="26000">
                <a:srgbClr val="0934B6">
                  <a:alpha val="87058"/>
                </a:srgbClr>
              </a:gs>
              <a:gs pos="64000">
                <a:srgbClr val="036DFF">
                  <a:alpha val="80000"/>
                </a:srgbClr>
              </a:gs>
              <a:gs pos="100000">
                <a:srgbClr val="43E1D3">
                  <a:alpha val="87058"/>
                </a:srgbClr>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46"/>
          <p:cNvSpPr txBox="1">
            <a:spLocks noGrp="1"/>
          </p:cNvSpPr>
          <p:nvPr>
            <p:ph type="ctrTitle"/>
          </p:nvPr>
        </p:nvSpPr>
        <p:spPr>
          <a:xfrm>
            <a:off x="902896" y="3549895"/>
            <a:ext cx="5337943" cy="747897"/>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400" b="1" cap="none">
                <a:solidFill>
                  <a:schemeClr val="lt1"/>
                </a:solidFill>
                <a:latin typeface="Libre Franklin"/>
                <a:ea typeface="Libre Franklin"/>
                <a:cs typeface="Libre Franklin"/>
                <a:sym typeface="Libre Frankl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6"/>
          <p:cNvSpPr txBox="1">
            <a:spLocks noGrp="1"/>
          </p:cNvSpPr>
          <p:nvPr>
            <p:ph type="subTitle" idx="1"/>
          </p:nvPr>
        </p:nvSpPr>
        <p:spPr>
          <a:xfrm>
            <a:off x="902896" y="4348579"/>
            <a:ext cx="5337943" cy="42062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3" name="Google Shape;23;p46"/>
          <p:cNvSpPr txBox="1">
            <a:spLocks noGrp="1"/>
          </p:cNvSpPr>
          <p:nvPr>
            <p:ph type="dt" idx="10"/>
          </p:nvPr>
        </p:nvSpPr>
        <p:spPr>
          <a:xfrm>
            <a:off x="902896" y="5923689"/>
            <a:ext cx="1599925" cy="215444"/>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24" name="Google Shape;24;p46"/>
          <p:cNvPicPr preferRelativeResize="0"/>
          <p:nvPr/>
        </p:nvPicPr>
        <p:blipFill rotWithShape="1">
          <a:blip r:embed="rId3">
            <a:alphaModFix/>
          </a:blip>
          <a:srcRect/>
          <a:stretch/>
        </p:blipFill>
        <p:spPr>
          <a:xfrm>
            <a:off x="903782" y="919750"/>
            <a:ext cx="2698687" cy="611825"/>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Breaker Slide_2">
  <p:cSld name="1_Breaker Slide_2 4">
    <p:bg>
      <p:bgPr>
        <a:solidFill>
          <a:schemeClr val="lt2"/>
        </a:solidFill>
        <a:effectLst/>
      </p:bgPr>
    </p:bg>
    <p:spTree>
      <p:nvGrpSpPr>
        <p:cNvPr id="1" name="Shape 189"/>
        <p:cNvGrpSpPr/>
        <p:nvPr/>
      </p:nvGrpSpPr>
      <p:grpSpPr>
        <a:xfrm>
          <a:off x="0" y="0"/>
          <a:ext cx="0" cy="0"/>
          <a:chOff x="0" y="0"/>
          <a:chExt cx="0" cy="0"/>
        </a:xfrm>
      </p:grpSpPr>
      <p:pic>
        <p:nvPicPr>
          <p:cNvPr id="190" name="Google Shape;190;p160"/>
          <p:cNvPicPr preferRelativeResize="0"/>
          <p:nvPr/>
        </p:nvPicPr>
        <p:blipFill rotWithShape="1">
          <a:blip r:embed="rId2">
            <a:alphaModFix/>
          </a:blip>
          <a:srcRect/>
          <a:stretch/>
        </p:blipFill>
        <p:spPr>
          <a:xfrm>
            <a:off x="1" y="0"/>
            <a:ext cx="12192000" cy="6827520"/>
          </a:xfrm>
          <a:prstGeom prst="rect">
            <a:avLst/>
          </a:prstGeom>
          <a:noFill/>
          <a:ln>
            <a:noFill/>
          </a:ln>
        </p:spPr>
      </p:pic>
      <p:sp>
        <p:nvSpPr>
          <p:cNvPr id="191" name="Google Shape;191;p160"/>
          <p:cNvSpPr/>
          <p:nvPr/>
        </p:nvSpPr>
        <p:spPr>
          <a:xfrm>
            <a:off x="0" y="0"/>
            <a:ext cx="12192000" cy="6858000"/>
          </a:xfrm>
          <a:prstGeom prst="rect">
            <a:avLst/>
          </a:prstGeom>
          <a:gradFill>
            <a:gsLst>
              <a:gs pos="0">
                <a:srgbClr val="062379"/>
              </a:gs>
              <a:gs pos="16000">
                <a:srgbClr val="062379"/>
              </a:gs>
              <a:gs pos="55000">
                <a:srgbClr val="0934B6">
                  <a:alpha val="87058"/>
                </a:srgbClr>
              </a:gs>
              <a:gs pos="85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2" name="Google Shape;192;p160"/>
          <p:cNvSpPr txBox="1">
            <a:spLocks noGrp="1"/>
          </p:cNvSpPr>
          <p:nvPr>
            <p:ph type="title"/>
          </p:nvPr>
        </p:nvSpPr>
        <p:spPr>
          <a:xfrm>
            <a:off x="992390" y="4396228"/>
            <a:ext cx="6785798" cy="830997"/>
          </a:xfrm>
          <a:prstGeom prst="rect">
            <a:avLst/>
          </a:prstGeom>
          <a:noFill/>
          <a:ln>
            <a:noFill/>
          </a:ln>
          <a:effectLst>
            <a:outerShdw blurRad="190500" algn="tl" rotWithShape="0">
              <a:srgbClr val="000000">
                <a:alpha val="27058"/>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b="1">
                <a:solidFill>
                  <a:schemeClr val="lt1"/>
                </a:solidFill>
                <a:latin typeface="Libre Franklin"/>
                <a:ea typeface="Libre Franklin"/>
                <a:cs typeface="Libre Franklin"/>
                <a:sym typeface="Libre Frankl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 name="Google Shape;193;p160"/>
          <p:cNvGrpSpPr/>
          <p:nvPr/>
        </p:nvGrpSpPr>
        <p:grpSpPr>
          <a:xfrm>
            <a:off x="11998459" y="6162188"/>
            <a:ext cx="68500" cy="441925"/>
            <a:chOff x="11998459" y="6162188"/>
            <a:chExt cx="68500" cy="441925"/>
          </a:xfrm>
        </p:grpSpPr>
        <p:sp>
          <p:nvSpPr>
            <p:cNvPr id="194" name="Google Shape;194;p160"/>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 name="Google Shape;195;p160"/>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6" name="Google Shape;196;p160"/>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7" name="Google Shape;197;p160"/>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8" name="Google Shape;198;p160"/>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9" name="Google Shape;199;p160"/>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0" name="Google Shape;200;p160"/>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1" name="Google Shape;201;p160"/>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2" name="Google Shape;202;p160"/>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3" name="Google Shape;203;p160"/>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4" name="Google Shape;204;p160"/>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5" name="Google Shape;205;p160"/>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6" name="Google Shape;206;p160"/>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07" name="Google Shape;207;p160"/>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3. All rights reserved.</a:t>
            </a:r>
            <a:endParaRPr sz="1400" b="0" i="0" u="none" strike="noStrike" cap="none">
              <a:solidFill>
                <a:srgbClr val="000000"/>
              </a:solidFill>
              <a:latin typeface="Calibri"/>
              <a:ea typeface="Calibri"/>
              <a:cs typeface="Calibri"/>
              <a:sym typeface="Calibri"/>
            </a:endParaRPr>
          </a:p>
        </p:txBody>
      </p:sp>
      <p:sp>
        <p:nvSpPr>
          <p:cNvPr id="208" name="Google Shape;208;p16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 name="Google Shape;209;p160"/>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matchingName="Gradient BG (with Title)">
  <p:cSld name="Gradient BG (with Title)">
    <p:spTree>
      <p:nvGrpSpPr>
        <p:cNvPr id="1" name="Shape 207"/>
        <p:cNvGrpSpPr/>
        <p:nvPr/>
      </p:nvGrpSpPr>
      <p:grpSpPr>
        <a:xfrm>
          <a:off x="0" y="0"/>
          <a:ext cx="0" cy="0"/>
          <a:chOff x="0" y="0"/>
          <a:chExt cx="0" cy="0"/>
        </a:xfrm>
      </p:grpSpPr>
      <p:sp>
        <p:nvSpPr>
          <p:cNvPr id="208" name="Google Shape;208;p65"/>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 name="Google Shape;209;p65"/>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10" name="Google Shape;210;p6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11" name="Google Shape;211;p65"/>
          <p:cNvGrpSpPr/>
          <p:nvPr/>
        </p:nvGrpSpPr>
        <p:grpSpPr>
          <a:xfrm>
            <a:off x="11998459" y="6162189"/>
            <a:ext cx="68500" cy="441925"/>
            <a:chOff x="11998459" y="6162188"/>
            <a:chExt cx="68500" cy="441925"/>
          </a:xfrm>
        </p:grpSpPr>
        <p:sp>
          <p:nvSpPr>
            <p:cNvPr id="212" name="Google Shape;212;p6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3" name="Google Shape;213;p6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4" name="Google Shape;214;p6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 name="Google Shape;215;p6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 name="Google Shape;216;p6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7" name="Google Shape;217;p6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8" name="Google Shape;218;p6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9" name="Google Shape;219;p6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0" name="Google Shape;220;p6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1" name="Google Shape;221;p6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2" name="Google Shape;222;p6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 name="Google Shape;223;p6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4" name="Google Shape;224;p6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25" name="Google Shape;225;p65"/>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26" name="Google Shape;226;p65"/>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
        <p:nvSpPr>
          <p:cNvPr id="227" name="Google Shape;227;p65"/>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653237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1_Gradient BG (with Title)">
  <p:cSld name="1_Gradient BG (with Title)">
    <p:spTree>
      <p:nvGrpSpPr>
        <p:cNvPr id="1" name="Shape 228"/>
        <p:cNvGrpSpPr/>
        <p:nvPr/>
      </p:nvGrpSpPr>
      <p:grpSpPr>
        <a:xfrm>
          <a:off x="0" y="0"/>
          <a:ext cx="0" cy="0"/>
          <a:chOff x="0" y="0"/>
          <a:chExt cx="0" cy="0"/>
        </a:xfrm>
      </p:grpSpPr>
      <p:sp>
        <p:nvSpPr>
          <p:cNvPr id="229" name="Google Shape;229;p66"/>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230" name="Google Shape;230;p66"/>
          <p:cNvGrpSpPr/>
          <p:nvPr/>
        </p:nvGrpSpPr>
        <p:grpSpPr>
          <a:xfrm>
            <a:off x="11998459" y="6162189"/>
            <a:ext cx="68500" cy="441925"/>
            <a:chOff x="11998459" y="6162188"/>
            <a:chExt cx="68500" cy="441925"/>
          </a:xfrm>
        </p:grpSpPr>
        <p:sp>
          <p:nvSpPr>
            <p:cNvPr id="231" name="Google Shape;231;p6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2" name="Google Shape;232;p6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3" name="Google Shape;233;p6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4" name="Google Shape;234;p6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5" name="Google Shape;235;p6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6" name="Google Shape;236;p6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7" name="Google Shape;237;p6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8" name="Google Shape;238;p6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9" name="Google Shape;239;p6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0" name="Google Shape;240;p6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2" name="Google Shape;242;p6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 name="Google Shape;243;p6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4" name="Google Shape;244;p66"/>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45" name="Google Shape;245;p66"/>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
        <p:nvSpPr>
          <p:cNvPr id="246" name="Google Shape;246;p66"/>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5744430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1/3 Blue on Right">
  <p:cSld name="1/3 Blue on Right">
    <p:spTree>
      <p:nvGrpSpPr>
        <p:cNvPr id="1" name="Shape 247"/>
        <p:cNvGrpSpPr/>
        <p:nvPr/>
      </p:nvGrpSpPr>
      <p:grpSpPr>
        <a:xfrm>
          <a:off x="0" y="0"/>
          <a:ext cx="0" cy="0"/>
          <a:chOff x="0" y="0"/>
          <a:chExt cx="0" cy="0"/>
        </a:xfrm>
      </p:grpSpPr>
      <p:sp>
        <p:nvSpPr>
          <p:cNvPr id="248" name="Google Shape;248;p67"/>
          <p:cNvSpPr/>
          <p:nvPr/>
        </p:nvSpPr>
        <p:spPr>
          <a:xfrm>
            <a:off x="8134763" y="-1"/>
            <a:ext cx="4059776" cy="6858001"/>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p67"/>
          <p:cNvSpPr txBox="1">
            <a:spLocks noGrp="1"/>
          </p:cNvSpPr>
          <p:nvPr>
            <p:ph type="title"/>
          </p:nvPr>
        </p:nvSpPr>
        <p:spPr>
          <a:xfrm>
            <a:off x="539400" y="562841"/>
            <a:ext cx="726112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 name="Google Shape;250;p67"/>
          <p:cNvSpPr txBox="1">
            <a:spLocks noGrp="1"/>
          </p:cNvSpPr>
          <p:nvPr>
            <p:ph type="sldNum" idx="12"/>
          </p:nvPr>
        </p:nvSpPr>
        <p:spPr>
          <a:xfrm>
            <a:off x="11490454" y="6445294"/>
            <a:ext cx="150683"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51" name="Google Shape;251;p67"/>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252" name="Google Shape;252;p67"/>
          <p:cNvGrpSpPr/>
          <p:nvPr/>
        </p:nvGrpSpPr>
        <p:grpSpPr>
          <a:xfrm>
            <a:off x="11998459" y="6162189"/>
            <a:ext cx="68500" cy="441925"/>
            <a:chOff x="11998459" y="6162188"/>
            <a:chExt cx="68500" cy="441925"/>
          </a:xfrm>
        </p:grpSpPr>
        <p:sp>
          <p:nvSpPr>
            <p:cNvPr id="253" name="Google Shape;253;p67"/>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 name="Google Shape;254;p67"/>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 name="Google Shape;255;p67"/>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6" name="Google Shape;256;p67"/>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 name="Google Shape;257;p67"/>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7"/>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9" name="Google Shape;259;p67"/>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0" name="Google Shape;260;p67"/>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1" name="Google Shape;261;p67"/>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2" name="Google Shape;262;p67"/>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3" name="Google Shape;263;p67"/>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4" name="Google Shape;264;p67"/>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5" name="Google Shape;265;p67"/>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66" name="Google Shape;266;p67"/>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67" name="Google Shape;267;p67"/>
          <p:cNvSpPr txBox="1">
            <a:spLocks noGrp="1"/>
          </p:cNvSpPr>
          <p:nvPr>
            <p:ph type="ftr" idx="11"/>
          </p:nvPr>
        </p:nvSpPr>
        <p:spPr>
          <a:xfrm>
            <a:off x="550863" y="6450257"/>
            <a:ext cx="7276401"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930779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matchingName="Breaker Slide_2">
  <p:cSld name="Breaker Slide_2">
    <p:bg>
      <p:bgPr>
        <a:solidFill>
          <a:schemeClr val="lt2"/>
        </a:solidFill>
        <a:effectLst/>
      </p:bgPr>
    </p:bg>
    <p:spTree>
      <p:nvGrpSpPr>
        <p:cNvPr id="1" name="Shape 268"/>
        <p:cNvGrpSpPr/>
        <p:nvPr/>
      </p:nvGrpSpPr>
      <p:grpSpPr>
        <a:xfrm>
          <a:off x="0" y="0"/>
          <a:ext cx="0" cy="0"/>
          <a:chOff x="0" y="0"/>
          <a:chExt cx="0" cy="0"/>
        </a:xfrm>
      </p:grpSpPr>
      <p:pic>
        <p:nvPicPr>
          <p:cNvPr id="269" name="Google Shape;269;p6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70" name="Google Shape;270;p69"/>
          <p:cNvSpPr/>
          <p:nvPr/>
        </p:nvSpPr>
        <p:spPr>
          <a:xfrm>
            <a:off x="0" y="0"/>
            <a:ext cx="12192000" cy="6858000"/>
          </a:xfrm>
          <a:prstGeom prst="rect">
            <a:avLst/>
          </a:prstGeom>
          <a:gradFill>
            <a:gsLst>
              <a:gs pos="0">
                <a:srgbClr val="062379"/>
              </a:gs>
              <a:gs pos="16000">
                <a:srgbClr val="062379"/>
              </a:gs>
              <a:gs pos="55000">
                <a:srgbClr val="0934B6">
                  <a:alpha val="89411"/>
                </a:srgbClr>
              </a:gs>
              <a:gs pos="85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1" name="Google Shape;271;p69"/>
          <p:cNvSpPr txBox="1">
            <a:spLocks noGrp="1"/>
          </p:cNvSpPr>
          <p:nvPr>
            <p:ph type="title"/>
          </p:nvPr>
        </p:nvSpPr>
        <p:spPr>
          <a:xfrm>
            <a:off x="992390" y="4396199"/>
            <a:ext cx="6785798" cy="831056"/>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2" name="Google Shape;272;p69"/>
          <p:cNvGrpSpPr/>
          <p:nvPr/>
        </p:nvGrpSpPr>
        <p:grpSpPr>
          <a:xfrm>
            <a:off x="11998459" y="6162189"/>
            <a:ext cx="68500" cy="441925"/>
            <a:chOff x="11998459" y="6162188"/>
            <a:chExt cx="68500" cy="441925"/>
          </a:xfrm>
        </p:grpSpPr>
        <p:sp>
          <p:nvSpPr>
            <p:cNvPr id="273" name="Google Shape;273;p69"/>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4" name="Google Shape;274;p69"/>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5" name="Google Shape;275;p69"/>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6" name="Google Shape;276;p69"/>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7" name="Google Shape;277;p69"/>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8" name="Google Shape;278;p69"/>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 name="Google Shape;279;p69"/>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0" name="Google Shape;280;p69"/>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1" name="Google Shape;281;p69"/>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2" name="Google Shape;282;p69"/>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3" name="Google Shape;283;p69"/>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4" name="Google Shape;284;p69"/>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5" name="Google Shape;285;p69"/>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86" name="Google Shape;286;p69"/>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87" name="Google Shape;287;p69"/>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88" name="Google Shape;288;p69"/>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1073349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89"/>
        <p:cNvGrpSpPr/>
        <p:nvPr/>
      </p:nvGrpSpPr>
      <p:grpSpPr>
        <a:xfrm>
          <a:off x="0" y="0"/>
          <a:ext cx="0" cy="0"/>
          <a:chOff x="0" y="0"/>
          <a:chExt cx="0" cy="0"/>
        </a:xfrm>
      </p:grpSpPr>
      <p:sp>
        <p:nvSpPr>
          <p:cNvPr id="290" name="Google Shape;290;p70"/>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4313"/>
            </a:srgbClr>
          </a:solidFill>
          <a:ln>
            <a:noFill/>
          </a:ln>
        </p:spPr>
        <p:txBody>
          <a:bodyPr spcFirstLastPara="1" wrap="square" lIns="91422" tIns="45699" rIns="91422" bIns="45699"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291" name="Google Shape;291;p70"/>
          <p:cNvGrpSpPr/>
          <p:nvPr/>
        </p:nvGrpSpPr>
        <p:grpSpPr>
          <a:xfrm>
            <a:off x="-599" y="549275"/>
            <a:ext cx="12193201" cy="5759450"/>
            <a:chOff x="-600" y="549275"/>
            <a:chExt cx="12193201" cy="5759450"/>
          </a:xfrm>
        </p:grpSpPr>
        <p:cxnSp>
          <p:nvCxnSpPr>
            <p:cNvPr id="292" name="Google Shape;292;p70"/>
            <p:cNvCxnSpPr/>
            <p:nvPr/>
          </p:nvCxnSpPr>
          <p:spPr>
            <a:xfrm>
              <a:off x="-600" y="54927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3" name="Google Shape;293;p70"/>
            <p:cNvCxnSpPr/>
            <p:nvPr/>
          </p:nvCxnSpPr>
          <p:spPr>
            <a:xfrm>
              <a:off x="-600" y="107286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4" name="Google Shape;294;p70"/>
            <p:cNvCxnSpPr/>
            <p:nvPr/>
          </p:nvCxnSpPr>
          <p:spPr>
            <a:xfrm>
              <a:off x="-600" y="133465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5" name="Google Shape;295;p70"/>
            <p:cNvCxnSpPr/>
            <p:nvPr/>
          </p:nvCxnSpPr>
          <p:spPr>
            <a:xfrm>
              <a:off x="-600" y="159644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70"/>
            <p:cNvCxnSpPr/>
            <p:nvPr/>
          </p:nvCxnSpPr>
          <p:spPr>
            <a:xfrm>
              <a:off x="-600" y="185824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70"/>
            <p:cNvCxnSpPr/>
            <p:nvPr/>
          </p:nvCxnSpPr>
          <p:spPr>
            <a:xfrm>
              <a:off x="-600" y="212003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70"/>
            <p:cNvCxnSpPr/>
            <p:nvPr/>
          </p:nvCxnSpPr>
          <p:spPr>
            <a:xfrm>
              <a:off x="-600" y="238182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70"/>
            <p:cNvCxnSpPr/>
            <p:nvPr/>
          </p:nvCxnSpPr>
          <p:spPr>
            <a:xfrm>
              <a:off x="-600" y="264361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70"/>
            <p:cNvCxnSpPr/>
            <p:nvPr/>
          </p:nvCxnSpPr>
          <p:spPr>
            <a:xfrm>
              <a:off x="-600" y="290541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70"/>
            <p:cNvCxnSpPr/>
            <p:nvPr/>
          </p:nvCxnSpPr>
          <p:spPr>
            <a:xfrm>
              <a:off x="-600" y="316720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70"/>
            <p:cNvCxnSpPr/>
            <p:nvPr/>
          </p:nvCxnSpPr>
          <p:spPr>
            <a:xfrm>
              <a:off x="-600" y="342899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70"/>
            <p:cNvCxnSpPr/>
            <p:nvPr/>
          </p:nvCxnSpPr>
          <p:spPr>
            <a:xfrm>
              <a:off x="-600" y="369079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70"/>
            <p:cNvCxnSpPr/>
            <p:nvPr/>
          </p:nvCxnSpPr>
          <p:spPr>
            <a:xfrm>
              <a:off x="-600" y="395258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70"/>
            <p:cNvCxnSpPr/>
            <p:nvPr/>
          </p:nvCxnSpPr>
          <p:spPr>
            <a:xfrm>
              <a:off x="-600" y="421437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70"/>
            <p:cNvCxnSpPr/>
            <p:nvPr/>
          </p:nvCxnSpPr>
          <p:spPr>
            <a:xfrm>
              <a:off x="-600" y="447617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70"/>
            <p:cNvCxnSpPr/>
            <p:nvPr/>
          </p:nvCxnSpPr>
          <p:spPr>
            <a:xfrm>
              <a:off x="-600" y="473796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70"/>
            <p:cNvCxnSpPr/>
            <p:nvPr/>
          </p:nvCxnSpPr>
          <p:spPr>
            <a:xfrm>
              <a:off x="-600" y="499975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70"/>
            <p:cNvCxnSpPr/>
            <p:nvPr/>
          </p:nvCxnSpPr>
          <p:spPr>
            <a:xfrm>
              <a:off x="-600" y="526154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70"/>
            <p:cNvCxnSpPr/>
            <p:nvPr/>
          </p:nvCxnSpPr>
          <p:spPr>
            <a:xfrm>
              <a:off x="-600" y="552334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70"/>
            <p:cNvCxnSpPr/>
            <p:nvPr/>
          </p:nvCxnSpPr>
          <p:spPr>
            <a:xfrm>
              <a:off x="-600" y="578513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70"/>
            <p:cNvCxnSpPr/>
            <p:nvPr/>
          </p:nvCxnSpPr>
          <p:spPr>
            <a:xfrm>
              <a:off x="-600" y="81106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70"/>
            <p:cNvCxnSpPr/>
            <p:nvPr/>
          </p:nvCxnSpPr>
          <p:spPr>
            <a:xfrm>
              <a:off x="-600" y="630872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4" name="Google Shape;314;p70"/>
            <p:cNvCxnSpPr/>
            <p:nvPr/>
          </p:nvCxnSpPr>
          <p:spPr>
            <a:xfrm>
              <a:off x="-600" y="604692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5" name="Google Shape;315;p70"/>
          <p:cNvSpPr/>
          <p:nvPr/>
        </p:nvSpPr>
        <p:spPr>
          <a:xfrm>
            <a:off x="550264" y="6308722"/>
            <a:ext cx="11090873" cy="261799"/>
          </a:xfrm>
          <a:prstGeom prst="rect">
            <a:avLst/>
          </a:prstGeom>
          <a:solidFill>
            <a:srgbClr val="FF0000">
              <a:alpha val="9411"/>
            </a:srgbClr>
          </a:solidFill>
          <a:ln>
            <a:noFill/>
          </a:ln>
        </p:spPr>
        <p:txBody>
          <a:bodyPr spcFirstLastPara="1" wrap="square" lIns="91422" tIns="45699" rIns="91422" bIns="45699"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6" name="Google Shape;316;p70"/>
          <p:cNvSpPr/>
          <p:nvPr/>
        </p:nvSpPr>
        <p:spPr>
          <a:xfrm>
            <a:off x="550864" y="1348222"/>
            <a:ext cx="11105556" cy="509202"/>
          </a:xfrm>
          <a:prstGeom prst="rect">
            <a:avLst/>
          </a:prstGeom>
          <a:solidFill>
            <a:srgbClr val="FF0000">
              <a:alpha val="4313"/>
            </a:srgbClr>
          </a:solidFill>
          <a:ln>
            <a:noFill/>
          </a:ln>
        </p:spPr>
        <p:txBody>
          <a:bodyPr spcFirstLastPara="1" wrap="square" lIns="91422" tIns="45699" rIns="91422" bIns="45699"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70"/>
          <p:cNvSpPr/>
          <p:nvPr/>
        </p:nvSpPr>
        <p:spPr>
          <a:xfrm>
            <a:off x="550864" y="2120034"/>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4509"/>
              </a:schemeClr>
            </a:solidFill>
            <a:prstDash val="solid"/>
            <a:miter lim="800000"/>
            <a:headEnd type="none" w="sm" len="sm"/>
            <a:tailEnd type="none" w="sm" len="sm"/>
          </a:ln>
        </p:spPr>
        <p:txBody>
          <a:bodyPr spcFirstLastPara="1" wrap="square" lIns="91422" tIns="45699" rIns="91422" bIns="45699"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Calibri"/>
              <a:ea typeface="Calibri"/>
              <a:cs typeface="Calibri"/>
              <a:sym typeface="Calibri"/>
            </a:endParaRPr>
          </a:p>
        </p:txBody>
      </p:sp>
      <p:grpSp>
        <p:nvGrpSpPr>
          <p:cNvPr id="318" name="Google Shape;318;p70"/>
          <p:cNvGrpSpPr/>
          <p:nvPr/>
        </p:nvGrpSpPr>
        <p:grpSpPr>
          <a:xfrm>
            <a:off x="1215339" y="1857423"/>
            <a:ext cx="9763000" cy="4458091"/>
            <a:chOff x="1215339" y="549274"/>
            <a:chExt cx="9763000" cy="5759450"/>
          </a:xfrm>
        </p:grpSpPr>
        <p:sp>
          <p:nvSpPr>
            <p:cNvPr id="319" name="Google Shape;319;p70"/>
            <p:cNvSpPr/>
            <p:nvPr/>
          </p:nvSpPr>
          <p:spPr>
            <a:xfrm>
              <a:off x="690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0" name="Google Shape;320;p70"/>
            <p:cNvSpPr/>
            <p:nvPr/>
          </p:nvSpPr>
          <p:spPr>
            <a:xfrm>
              <a:off x="879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1" name="Google Shape;321;p70"/>
            <p:cNvSpPr/>
            <p:nvPr/>
          </p:nvSpPr>
          <p:spPr>
            <a:xfrm>
              <a:off x="784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2" name="Google Shape;322;p70"/>
            <p:cNvSpPr/>
            <p:nvPr/>
          </p:nvSpPr>
          <p:spPr>
            <a:xfrm>
              <a:off x="974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3" name="Google Shape;323;p70"/>
            <p:cNvSpPr/>
            <p:nvPr/>
          </p:nvSpPr>
          <p:spPr>
            <a:xfrm>
              <a:off x="1069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4" name="Google Shape;324;p70"/>
            <p:cNvSpPr/>
            <p:nvPr/>
          </p:nvSpPr>
          <p:spPr>
            <a:xfrm>
              <a:off x="5952839" y="549274"/>
              <a:ext cx="288000" cy="5759450"/>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 name="Google Shape;325;p70"/>
            <p:cNvSpPr/>
            <p:nvPr/>
          </p:nvSpPr>
          <p:spPr>
            <a:xfrm>
              <a:off x="121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6" name="Google Shape;326;p70"/>
            <p:cNvSpPr/>
            <p:nvPr/>
          </p:nvSpPr>
          <p:spPr>
            <a:xfrm>
              <a:off x="216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7" name="Google Shape;327;p70"/>
            <p:cNvSpPr/>
            <p:nvPr/>
          </p:nvSpPr>
          <p:spPr>
            <a:xfrm>
              <a:off x="311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8" name="Google Shape;328;p70"/>
            <p:cNvSpPr/>
            <p:nvPr/>
          </p:nvSpPr>
          <p:spPr>
            <a:xfrm>
              <a:off x="405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9" name="Google Shape;329;p70"/>
            <p:cNvSpPr/>
            <p:nvPr/>
          </p:nvSpPr>
          <p:spPr>
            <a:xfrm>
              <a:off x="500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30" name="Google Shape;330;p70"/>
          <p:cNvSpPr txBox="1"/>
          <p:nvPr/>
        </p:nvSpPr>
        <p:spPr>
          <a:xfrm>
            <a:off x="550863" y="6310249"/>
            <a:ext cx="9030915" cy="276999"/>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Footnotes/Note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Source: Include a source here</a:t>
            </a:r>
            <a:endParaRPr sz="1400" b="0" i="0" u="none" strike="noStrike" cap="none">
              <a:solidFill>
                <a:srgbClr val="000000"/>
              </a:solidFill>
              <a:latin typeface="Arial"/>
              <a:ea typeface="Arial"/>
              <a:cs typeface="Arial"/>
              <a:sym typeface="Arial"/>
            </a:endParaRPr>
          </a:p>
        </p:txBody>
      </p:sp>
      <p:sp>
        <p:nvSpPr>
          <p:cNvPr id="331" name="Google Shape;331;p7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332" name="Google Shape;332;p70"/>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3" name="Google Shape;333;p70"/>
          <p:cNvGrpSpPr/>
          <p:nvPr/>
        </p:nvGrpSpPr>
        <p:grpSpPr>
          <a:xfrm>
            <a:off x="550864" y="6156604"/>
            <a:ext cx="11089971" cy="55199"/>
            <a:chOff x="550864" y="6156603"/>
            <a:chExt cx="11089971" cy="55199"/>
          </a:xfrm>
        </p:grpSpPr>
        <p:sp>
          <p:nvSpPr>
            <p:cNvPr id="334" name="Google Shape;334;p70"/>
            <p:cNvSpPr/>
            <p:nvPr/>
          </p:nvSpPr>
          <p:spPr>
            <a:xfrm>
              <a:off x="550864"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5" name="Google Shape;335;p70"/>
            <p:cNvSpPr/>
            <p:nvPr/>
          </p:nvSpPr>
          <p:spPr>
            <a:xfrm>
              <a:off x="5104050"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6" name="Google Shape;336;p70"/>
            <p:cNvSpPr/>
            <p:nvPr/>
          </p:nvSpPr>
          <p:spPr>
            <a:xfrm>
              <a:off x="7380643"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0"/>
            <p:cNvSpPr/>
            <p:nvPr/>
          </p:nvSpPr>
          <p:spPr>
            <a:xfrm>
              <a:off x="9657235"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8" name="Google Shape;338;p70"/>
            <p:cNvSpPr/>
            <p:nvPr/>
          </p:nvSpPr>
          <p:spPr>
            <a:xfrm>
              <a:off x="2827457"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41701367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5_Full-width Page">
  <p:cSld name="5_Full-width Page">
    <p:spTree>
      <p:nvGrpSpPr>
        <p:cNvPr id="1" name="Shape 33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B3274E-F45F-3FF5-DFA6-4C4852FA3CA3}"/>
              </a:ext>
            </a:extLst>
          </p:cNvPr>
          <p:cNvGraphicFramePr>
            <a:graphicFrameLocks noChangeAspect="1"/>
          </p:cNvGraphicFramePr>
          <p:nvPr userDrawn="1">
            <p:custDataLst>
              <p:tags r:id="rId1"/>
            </p:custDataLst>
            <p:extLst>
              <p:ext uri="{D42A27DB-BD31-4B8C-83A1-F6EECF244321}">
                <p14:modId xmlns:p14="http://schemas.microsoft.com/office/powerpoint/2010/main" val="272567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80B3274E-F45F-3FF5-DFA6-4C4852FA3C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0" name="Google Shape;340;p71"/>
          <p:cNvPicPr preferRelativeResize="0"/>
          <p:nvPr/>
        </p:nvPicPr>
        <p:blipFill rotWithShape="1">
          <a:blip r:embed="rId5">
            <a:alphaModFix/>
          </a:blip>
          <a:srcRect/>
          <a:stretch/>
        </p:blipFill>
        <p:spPr>
          <a:xfrm>
            <a:off x="2" y="0"/>
            <a:ext cx="3492498" cy="6858000"/>
          </a:xfrm>
          <a:prstGeom prst="rect">
            <a:avLst/>
          </a:prstGeom>
          <a:noFill/>
          <a:ln>
            <a:noFill/>
          </a:ln>
        </p:spPr>
      </p:pic>
      <p:sp>
        <p:nvSpPr>
          <p:cNvPr id="341" name="Google Shape;341;p71"/>
          <p:cNvSpPr/>
          <p:nvPr/>
        </p:nvSpPr>
        <p:spPr>
          <a:xfrm>
            <a:off x="1" y="-1"/>
            <a:ext cx="3492497" cy="6857999"/>
          </a:xfrm>
          <a:prstGeom prst="rect">
            <a:avLst/>
          </a:prstGeom>
          <a:gradFill>
            <a:gsLst>
              <a:gs pos="0">
                <a:schemeClr val="dk2"/>
              </a:gs>
              <a:gs pos="76000">
                <a:srgbClr val="4873F5">
                  <a:alpha val="84313"/>
                </a:srgbClr>
              </a:gs>
              <a:gs pos="100000">
                <a:srgbClr val="00B9FF">
                  <a:alpha val="80000"/>
                </a:srgbClr>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2" name="Google Shape;342;p71"/>
          <p:cNvSpPr txBox="1">
            <a:spLocks noGrp="1"/>
          </p:cNvSpPr>
          <p:nvPr>
            <p:ph type="title"/>
          </p:nvPr>
        </p:nvSpPr>
        <p:spPr>
          <a:xfrm>
            <a:off x="376385" y="3013500"/>
            <a:ext cx="3023598"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cxnSp>
        <p:nvCxnSpPr>
          <p:cNvPr id="343" name="Google Shape;343;p71"/>
          <p:cNvCxnSpPr>
            <a:cxnSpLocks/>
          </p:cNvCxnSpPr>
          <p:nvPr/>
        </p:nvCxnSpPr>
        <p:spPr>
          <a:xfrm>
            <a:off x="362847" y="2738541"/>
            <a:ext cx="540000"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38313822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2650357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9665489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ub-Section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B52237-4F8A-4F28-B2AF-5014C898F7F8}"/>
              </a:ext>
            </a:extLst>
          </p:cNvPr>
          <p:cNvSpPr/>
          <p:nvPr userDrawn="1"/>
        </p:nvSpPr>
        <p:spPr>
          <a:xfrm>
            <a:off x="0" y="2"/>
            <a:ext cx="12192000" cy="69246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3" name="Rectangle 2">
            <a:extLst>
              <a:ext uri="{FF2B5EF4-FFF2-40B4-BE49-F238E27FC236}">
                <a16:creationId xmlns:a16="http://schemas.microsoft.com/office/drawing/2014/main" id="{06C46470-6B85-42AC-858F-07BE622DF338}"/>
              </a:ext>
            </a:extLst>
          </p:cNvPr>
          <p:cNvSpPr/>
          <p:nvPr userDrawn="1"/>
        </p:nvSpPr>
        <p:spPr>
          <a:xfrm>
            <a:off x="0" y="2600326"/>
            <a:ext cx="12192000" cy="34861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13" name="Text Placeholder 1">
            <a:extLst>
              <a:ext uri="{FF2B5EF4-FFF2-40B4-BE49-F238E27FC236}">
                <a16:creationId xmlns:a16="http://schemas.microsoft.com/office/drawing/2014/main" id="{9EE6E236-101E-42EB-81FB-302691A30ACD}"/>
              </a:ext>
            </a:extLst>
          </p:cNvPr>
          <p:cNvSpPr>
            <a:spLocks noGrp="1"/>
          </p:cNvSpPr>
          <p:nvPr>
            <p:ph type="body" sz="quarter" idx="10" hasCustomPrompt="1"/>
          </p:nvPr>
        </p:nvSpPr>
        <p:spPr>
          <a:xfrm>
            <a:off x="568802" y="4090491"/>
            <a:ext cx="6467475" cy="435247"/>
          </a:xfrm>
          <a:prstGeom prst="rect">
            <a:avLst/>
          </a:prstGeom>
        </p:spPr>
        <p:txBody>
          <a:bodyPr/>
          <a:lstStyle>
            <a:lvl1pPr>
              <a:defRPr sz="2100">
                <a:solidFill>
                  <a:schemeClr val="bg1"/>
                </a:solidFill>
                <a:latin typeface="+mj-lt"/>
              </a:defRPr>
            </a:lvl1pPr>
          </a:lstStyle>
          <a:p>
            <a:r>
              <a:rPr lang="en-US" dirty="0"/>
              <a:t>Sub-Section in Report Title</a:t>
            </a:r>
          </a:p>
        </p:txBody>
      </p:sp>
      <p:sp>
        <p:nvSpPr>
          <p:cNvPr id="14" name="Text Placeholder 2">
            <a:extLst>
              <a:ext uri="{FF2B5EF4-FFF2-40B4-BE49-F238E27FC236}">
                <a16:creationId xmlns:a16="http://schemas.microsoft.com/office/drawing/2014/main" id="{F8AB815C-183A-4AED-B7E8-6684B137AD19}"/>
              </a:ext>
            </a:extLst>
          </p:cNvPr>
          <p:cNvSpPr>
            <a:spLocks noGrp="1"/>
          </p:cNvSpPr>
          <p:nvPr>
            <p:ph type="body" sz="quarter" idx="11" hasCustomPrompt="1"/>
          </p:nvPr>
        </p:nvSpPr>
        <p:spPr>
          <a:xfrm>
            <a:off x="568802" y="4841549"/>
            <a:ext cx="6467475" cy="362150"/>
          </a:xfrm>
          <a:prstGeom prst="rect">
            <a:avLst/>
          </a:prstGeom>
        </p:spPr>
        <p:txBody>
          <a:bodyPr/>
          <a:lstStyle>
            <a:lvl1pPr>
              <a:defRPr>
                <a:solidFill>
                  <a:schemeClr val="bg1"/>
                </a:solidFill>
                <a:latin typeface="+mj-lt"/>
              </a:defRPr>
            </a:lvl1pPr>
          </a:lstStyle>
          <a:p>
            <a:r>
              <a:rPr lang="en-US" dirty="0"/>
              <a:t>Add Text Here</a:t>
            </a:r>
          </a:p>
        </p:txBody>
      </p:sp>
    </p:spTree>
    <p:extLst>
      <p:ext uri="{BB962C8B-B14F-4D97-AF65-F5344CB8AC3E}">
        <p14:creationId xmlns:p14="http://schemas.microsoft.com/office/powerpoint/2010/main" val="82151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Shape 29"/>
        <p:cNvGrpSpPr/>
        <p:nvPr/>
      </p:nvGrpSpPr>
      <p:grpSpPr>
        <a:xfrm>
          <a:off x="0" y="0"/>
          <a:ext cx="0" cy="0"/>
          <a:chOff x="0" y="0"/>
          <a:chExt cx="0" cy="0"/>
        </a:xfrm>
      </p:grpSpPr>
      <p:sp>
        <p:nvSpPr>
          <p:cNvPr id="30" name="Shape 30"/>
          <p:cNvSpPr txBox="1">
            <a:spLocks noGrp="1"/>
          </p:cNvSpPr>
          <p:nvPr>
            <p:ph type="title"/>
          </p:nvPr>
        </p:nvSpPr>
        <p:spPr>
          <a:xfrm>
            <a:off x="562708" y="130584"/>
            <a:ext cx="11066584" cy="627834"/>
          </a:xfrm>
          <a:prstGeom prst="rect">
            <a:avLst/>
          </a:prstGeom>
          <a:noFill/>
          <a:ln>
            <a:noFill/>
          </a:ln>
        </p:spPr>
        <p:txBody>
          <a:bodyPr lIns="91425" tIns="91425" rIns="91425" bIns="91425" anchor="ctr" anchorCtr="0"/>
          <a:lstStyle>
            <a:lvl1pPr algn="l" rtl="0">
              <a:lnSpc>
                <a:spcPct val="90000"/>
              </a:lnSpc>
              <a:spcBef>
                <a:spcPts val="0"/>
              </a:spcBef>
              <a:buClr>
                <a:schemeClr val="accent3"/>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1" name="Shape 31"/>
          <p:cNvSpPr txBox="1">
            <a:spLocks noGrp="1"/>
          </p:cNvSpPr>
          <p:nvPr>
            <p:ph type="body" idx="1"/>
          </p:nvPr>
        </p:nvSpPr>
        <p:spPr>
          <a:xfrm>
            <a:off x="562708" y="1556955"/>
            <a:ext cx="11066584" cy="455479"/>
          </a:xfrm>
          <a:prstGeom prst="rect">
            <a:avLst/>
          </a:prstGeom>
          <a:noFill/>
          <a:ln>
            <a:noFill/>
          </a:ln>
        </p:spPr>
        <p:txBody>
          <a:bodyPr lIns="91425" tIns="91425" rIns="91425" bIns="91425" anchor="t" anchorCtr="0"/>
          <a:lstStyle>
            <a:lvl1pPr marL="0" indent="0" algn="l" rtl="0">
              <a:lnSpc>
                <a:spcPct val="110000"/>
              </a:lnSpc>
              <a:spcBef>
                <a:spcPts val="0"/>
              </a:spcBef>
              <a:buClr>
                <a:schemeClr val="dk1"/>
              </a:buClr>
              <a:buFont typeface="Arial"/>
              <a:buNone/>
              <a:defRPr/>
            </a:lvl1pPr>
            <a:lvl2pPr marL="334118" indent="-134820" algn="l" rtl="0">
              <a:lnSpc>
                <a:spcPct val="110000"/>
              </a:lnSpc>
              <a:spcBef>
                <a:spcPts val="0"/>
              </a:spcBef>
              <a:buClr>
                <a:schemeClr val="accent3"/>
              </a:buClr>
              <a:buFont typeface="Arial"/>
              <a:buChar char="•"/>
              <a:defRPr/>
            </a:lvl2pPr>
            <a:lvl3pPr marL="577380" indent="-178782" algn="l" rtl="0">
              <a:lnSpc>
                <a:spcPct val="110000"/>
              </a:lnSpc>
              <a:spcBef>
                <a:spcPts val="0"/>
              </a:spcBef>
              <a:buClr>
                <a:srgbClr val="A9A9A9"/>
              </a:buClr>
              <a:buFont typeface="Arial"/>
              <a:buChar char="–"/>
              <a:defRPr/>
            </a:lvl3pPr>
            <a:lvl4pPr marL="820641" indent="-152405" algn="l" rtl="0">
              <a:lnSpc>
                <a:spcPct val="110000"/>
              </a:lnSpc>
              <a:spcBef>
                <a:spcPts val="0"/>
              </a:spcBef>
              <a:buClr>
                <a:srgbClr val="A9A9A9"/>
              </a:buClr>
              <a:buFont typeface="Arial"/>
              <a:buChar char="–"/>
              <a:defRPr/>
            </a:lvl4pPr>
            <a:lvl5pPr marL="1080023" indent="-177317" algn="l" rtl="0">
              <a:lnSpc>
                <a:spcPct val="110000"/>
              </a:lnSpc>
              <a:spcBef>
                <a:spcPts val="0"/>
              </a:spcBef>
              <a:buClr>
                <a:srgbClr val="A9A9A9"/>
              </a:buClr>
              <a:buFont typeface="Arial"/>
              <a:buChar char="–"/>
              <a:defRPr/>
            </a:lvl5pPr>
            <a:lvl6pPr marL="2321243" indent="-93787" algn="l" rtl="0">
              <a:spcBef>
                <a:spcPts val="369"/>
              </a:spcBef>
              <a:buClr>
                <a:schemeClr val="dk1"/>
              </a:buClr>
              <a:buFont typeface="Arial"/>
              <a:buChar char="•"/>
              <a:defRPr/>
            </a:lvl6pPr>
            <a:lvl7pPr marL="2743287" indent="-93787" algn="l" rtl="0">
              <a:spcBef>
                <a:spcPts val="369"/>
              </a:spcBef>
              <a:buClr>
                <a:schemeClr val="dk1"/>
              </a:buClr>
              <a:buFont typeface="Arial"/>
              <a:buChar char="•"/>
              <a:defRPr/>
            </a:lvl7pPr>
            <a:lvl8pPr marL="3165331" indent="-93787" algn="l" rtl="0">
              <a:spcBef>
                <a:spcPts val="369"/>
              </a:spcBef>
              <a:buClr>
                <a:schemeClr val="dk1"/>
              </a:buClr>
              <a:buFont typeface="Arial"/>
              <a:buChar char="•"/>
              <a:defRPr/>
            </a:lvl8pPr>
            <a:lvl9pPr marL="3587375" indent="-93787" algn="l" rtl="0">
              <a:spcBef>
                <a:spcPts val="369"/>
              </a:spcBef>
              <a:buClr>
                <a:schemeClr val="dk1"/>
              </a:buClr>
              <a:buFont typeface="Arial"/>
              <a:buChar char="•"/>
              <a:defRPr/>
            </a:lvl9pPr>
          </a:lstStyle>
          <a:p>
            <a:endParaRPr/>
          </a:p>
        </p:txBody>
      </p:sp>
    </p:spTree>
    <p:extLst>
      <p:ext uri="{BB962C8B-B14F-4D97-AF65-F5344CB8AC3E}">
        <p14:creationId xmlns:p14="http://schemas.microsoft.com/office/powerpoint/2010/main" val="24963826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75045070"/>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a:xfrm>
            <a:off x="529007" y="448574"/>
            <a:ext cx="11133991" cy="276999"/>
          </a:xfrm>
          <a:prstGeom prst="rect">
            <a:avLst/>
          </a:prstGeom>
        </p:spPr>
        <p:txBody>
          <a:bodyPr lIns="0" rIns="0"/>
          <a:lstStyle>
            <a:lvl1pPr>
              <a:defRPr sz="2000">
                <a:solidFill>
                  <a:schemeClr val="accent1"/>
                </a:solidFill>
              </a:defRPr>
            </a:lvl1pPr>
          </a:lstStyle>
          <a:p>
            <a:r>
              <a:rPr lang="en-US" dirty="0"/>
              <a:t>Click to edit Master title style</a:t>
            </a:r>
          </a:p>
        </p:txBody>
      </p:sp>
      <p:sp>
        <p:nvSpPr>
          <p:cNvPr id="3" name="Content Placeholder 2"/>
          <p:cNvSpPr>
            <a:spLocks noGrp="1"/>
          </p:cNvSpPr>
          <p:nvPr>
            <p:ph idx="1" hasCustomPrompt="1"/>
          </p:nvPr>
        </p:nvSpPr>
        <p:spPr>
          <a:xfrm>
            <a:off x="529007" y="1628782"/>
            <a:ext cx="11133991" cy="932563"/>
          </a:xfrm>
          <a:prstGeom prst="rect">
            <a:avLst/>
          </a:prstGeom>
        </p:spPr>
        <p:txBody>
          <a:bodyPr lIns="0" rIns="0"/>
          <a:lstStyle>
            <a:lvl1pPr>
              <a:defRPr sz="1600">
                <a:solidFill>
                  <a:schemeClr val="tx1"/>
                </a:solidFill>
              </a:defRPr>
            </a:lvl1pPr>
            <a:lvl2pPr marL="304802" indent="-209551">
              <a:buClr>
                <a:schemeClr val="accent3"/>
              </a:buClr>
              <a:buFont typeface="Wingdings 2" panose="05020102010507070707" pitchFamily="18" charset="2"/>
              <a:buChar char=""/>
              <a:defRPr sz="1600">
                <a:solidFill>
                  <a:schemeClr val="tx1"/>
                </a:solidFill>
              </a:defRPr>
            </a:lvl2pPr>
            <a:lvl3pPr marL="647705" indent="-203201">
              <a:buClr>
                <a:schemeClr val="bg1">
                  <a:lumMod val="50000"/>
                </a:schemeClr>
              </a:buClr>
              <a:buFont typeface="Arial" panose="020B0604020202020204" pitchFamily="34" charset="0"/>
              <a:buChar cha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07483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62723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 t="-4" r="-1" b="-4"/>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80270E3B-760C-41F0-B9D6-A2E014047679}"/>
              </a:ext>
            </a:extLst>
          </p:cNvPr>
          <p:cNvSpPr/>
          <p:nvPr userDrawn="1"/>
        </p:nvSpPr>
        <p:spPr>
          <a:xfrm>
            <a:off x="536449"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9" y="1844677"/>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7" y="3066686"/>
            <a:ext cx="5478239" cy="1231106"/>
          </a:xfrm>
        </p:spPr>
        <p:txBody>
          <a:bodyPr vert="horz" wrap="square" lIns="0" tIns="0" rIns="0" bIns="0" rtlCol="0" anchor="b">
            <a:spAutoFit/>
          </a:bodyPr>
          <a:lstStyle>
            <a:lvl1pPr>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7" y="4348579"/>
            <a:ext cx="5478239" cy="292388"/>
          </a:xfrm>
        </p:spPr>
        <p:txBody>
          <a:bodyPr vert="horz" wrap="square" lIns="0" tIns="0" rIns="0" bIns="0" rtlCol="0" anchor="t">
            <a:spAutoFit/>
          </a:bodyPr>
          <a:lstStyle>
            <a:lvl1pPr>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90"/>
            <a:ext cx="357470" cy="193899"/>
          </a:xfrm>
          <a:prstGeom prst="rect">
            <a:avLst/>
          </a:prstGeom>
        </p:spPr>
        <p:txBody>
          <a:bodyPr vert="horz" wrap="none" lIns="0" tIns="0" rIns="0" bIns="0" rtlCol="0" anchor="t">
            <a:spAutoFit/>
          </a:bodyPr>
          <a:lstStyle>
            <a:lvl1pPr>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indent="-228602">
              <a:lnSpc>
                <a:spcPct val="90000"/>
              </a:lnSpc>
              <a:spcBef>
                <a:spcPts val="1000"/>
              </a:spcBef>
            </a:pPr>
            <a:r>
              <a:rPr lang="en-US"/>
              <a:t>Date</a:t>
            </a:r>
            <a:endParaRPr lang="en-US" dirty="0"/>
          </a:p>
        </p:txBody>
      </p:sp>
      <p:pic>
        <p:nvPicPr>
          <p:cNvPr id="6" name="Graphic 5">
            <a:extLst>
              <a:ext uri="{FF2B5EF4-FFF2-40B4-BE49-F238E27FC236}">
                <a16:creationId xmlns:a16="http://schemas.microsoft.com/office/drawing/2014/main" id="{373CF3BF-BC79-895D-2080-23B54D7D49E7}"/>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5582" y="172909"/>
            <a:ext cx="2992347" cy="1118907"/>
          </a:xfrm>
          <a:prstGeom prst="rect">
            <a:avLst/>
          </a:prstGeom>
        </p:spPr>
      </p:pic>
    </p:spTree>
    <p:extLst>
      <p:ext uri="{BB962C8B-B14F-4D97-AF65-F5344CB8AC3E}">
        <p14:creationId xmlns:p14="http://schemas.microsoft.com/office/powerpoint/2010/main" val="227163741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55922365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12730466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4882250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83468818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2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8262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4"/>
            <a:ext cx="5400675" cy="1279838"/>
          </a:xfrm>
        </p:spPr>
        <p:txBody>
          <a:bodyPr vert="horz" lIns="0" tIns="0" rIns="0" bIns="0" rtlCol="0">
            <a:spAutoFit/>
          </a:bodyPr>
          <a:lstStyle>
            <a:lvl1pPr>
              <a:defRPr lang="en-US" sz="1400" dirty="0"/>
            </a:lvl1pPr>
            <a:lvl2pPr>
              <a:defRPr lang="en-US" sz="1400" dirty="0"/>
            </a:lvl2pPr>
            <a:lvl3pPr marL="179389"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80" lvl="2" indent="-179390" algn="l" defTabSz="914412"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7"/>
            <a:ext cx="5400675" cy="39138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5"/>
            <a:ext cx="5400675" cy="1279838"/>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7"/>
            <a:ext cx="5400675" cy="39138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1" name="Footer Placeholder 4">
            <a:extLst>
              <a:ext uri="{FF2B5EF4-FFF2-40B4-BE49-F238E27FC236}">
                <a16:creationId xmlns:a16="http://schemas.microsoft.com/office/drawing/2014/main" id="{456E97DD-069F-4133-A109-0593CB969E3F}"/>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9699349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62723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 t="-4" r="-1" b="-4"/>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80270E3B-760C-41F0-B9D6-A2E014047679}"/>
              </a:ext>
            </a:extLst>
          </p:cNvPr>
          <p:cNvSpPr/>
          <p:nvPr userDrawn="1"/>
        </p:nvSpPr>
        <p:spPr>
          <a:xfrm>
            <a:off x="536449"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9" y="1844677"/>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7" y="3066686"/>
            <a:ext cx="5478239" cy="1231106"/>
          </a:xfrm>
        </p:spPr>
        <p:txBody>
          <a:bodyPr vert="horz" wrap="square" lIns="0" tIns="0" rIns="0" bIns="0" rtlCol="0" anchor="b">
            <a:spAutoFit/>
          </a:bodyPr>
          <a:lstStyle>
            <a:lvl1pPr>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7" y="4348579"/>
            <a:ext cx="5478239" cy="292388"/>
          </a:xfrm>
        </p:spPr>
        <p:txBody>
          <a:bodyPr vert="horz" wrap="square" lIns="0" tIns="0" rIns="0" bIns="0" rtlCol="0" anchor="t">
            <a:spAutoFit/>
          </a:bodyPr>
          <a:lstStyle>
            <a:lvl1pPr>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90"/>
            <a:ext cx="357470" cy="193899"/>
          </a:xfrm>
          <a:prstGeom prst="rect">
            <a:avLst/>
          </a:prstGeom>
        </p:spPr>
        <p:txBody>
          <a:bodyPr vert="horz" wrap="none" lIns="0" tIns="0" rIns="0" bIns="0" rtlCol="0" anchor="t">
            <a:spAutoFit/>
          </a:bodyPr>
          <a:lstStyle>
            <a:lvl1pPr>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indent="-228602">
              <a:lnSpc>
                <a:spcPct val="90000"/>
              </a:lnSpc>
              <a:spcBef>
                <a:spcPts val="1000"/>
              </a:spcBef>
            </a:pPr>
            <a:r>
              <a:rPr lang="en-US"/>
              <a:t>Date</a:t>
            </a:r>
            <a:endParaRPr lang="en-US" dirty="0"/>
          </a:p>
        </p:txBody>
      </p:sp>
      <p:pic>
        <p:nvPicPr>
          <p:cNvPr id="6" name="Graphic 5">
            <a:extLst>
              <a:ext uri="{FF2B5EF4-FFF2-40B4-BE49-F238E27FC236}">
                <a16:creationId xmlns:a16="http://schemas.microsoft.com/office/drawing/2014/main" id="{373CF3BF-BC79-895D-2080-23B54D7D49E7}"/>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5582" y="172909"/>
            <a:ext cx="2992347" cy="1118907"/>
          </a:xfrm>
          <a:prstGeom prst="rect">
            <a:avLst/>
          </a:prstGeom>
        </p:spPr>
      </p:pic>
    </p:spTree>
    <p:extLst>
      <p:ext uri="{BB962C8B-B14F-4D97-AF65-F5344CB8AC3E}">
        <p14:creationId xmlns:p14="http://schemas.microsoft.com/office/powerpoint/2010/main" val="428632595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1_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1182521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1" name="Picture 30" descr="A person holding a phone&#10;&#10;Description automatically generated with low confidence">
            <a:extLst>
              <a:ext uri="{FF2B5EF4-FFF2-40B4-BE49-F238E27FC236}">
                <a16:creationId xmlns:a16="http://schemas.microsoft.com/office/drawing/2014/main" id="{E6014E73-E918-7E3B-1116-0A79F39C8C77}"/>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0322" t="-1" r="21590" b="-1"/>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80270E3B-760C-41F0-B9D6-A2E014047679}"/>
              </a:ext>
            </a:extLst>
          </p:cNvPr>
          <p:cNvSpPr/>
          <p:nvPr userDrawn="1"/>
        </p:nvSpPr>
        <p:spPr>
          <a:xfrm>
            <a:off x="536449"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33" name="Graphic 32">
            <a:extLst>
              <a:ext uri="{FF2B5EF4-FFF2-40B4-BE49-F238E27FC236}">
                <a16:creationId xmlns:a16="http://schemas.microsoft.com/office/drawing/2014/main" id="{0CEEA00B-DE05-BC01-6E87-AC9F343D5469}"/>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5582" y="172909"/>
            <a:ext cx="2992347" cy="1118907"/>
          </a:xfrm>
          <a:prstGeom prst="rect">
            <a:avLst/>
          </a:prstGeom>
        </p:spPr>
      </p:pic>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9" y="1844677"/>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7" y="3066686"/>
            <a:ext cx="5478239" cy="1231106"/>
          </a:xfrm>
        </p:spPr>
        <p:txBody>
          <a:bodyPr vert="horz" wrap="square" lIns="0" tIns="0" rIns="0" bIns="0" rtlCol="0" anchor="b">
            <a:spAutoFit/>
          </a:bodyPr>
          <a:lstStyle>
            <a:lvl1pPr>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7" y="4348579"/>
            <a:ext cx="5478239" cy="292388"/>
          </a:xfrm>
        </p:spPr>
        <p:txBody>
          <a:bodyPr vert="horz" wrap="square" lIns="0" tIns="0" rIns="0" bIns="0" rtlCol="0" anchor="t">
            <a:spAutoFit/>
          </a:bodyPr>
          <a:lstStyle>
            <a:lvl1pPr>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90"/>
            <a:ext cx="357470" cy="193899"/>
          </a:xfrm>
          <a:prstGeom prst="rect">
            <a:avLst/>
          </a:prstGeom>
        </p:spPr>
        <p:txBody>
          <a:bodyPr vert="horz" wrap="none" lIns="0" tIns="0" rIns="0" bIns="0" rtlCol="0" anchor="t">
            <a:spAutoFit/>
          </a:bodyPr>
          <a:lstStyle>
            <a:lvl1pPr>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indent="-228602">
              <a:lnSpc>
                <a:spcPct val="90000"/>
              </a:lnSpc>
              <a:spcBef>
                <a:spcPts val="1000"/>
              </a:spcBef>
            </a:pPr>
            <a:r>
              <a:rPr lang="en-US"/>
              <a:t>Date</a:t>
            </a:r>
            <a:endParaRPr lang="en-US" dirty="0"/>
          </a:p>
        </p:txBody>
      </p:sp>
      <p:grpSp>
        <p:nvGrpSpPr>
          <p:cNvPr id="7" name="Google Shape;36;p40">
            <a:extLst>
              <a:ext uri="{FF2B5EF4-FFF2-40B4-BE49-F238E27FC236}">
                <a16:creationId xmlns:a16="http://schemas.microsoft.com/office/drawing/2014/main" id="{71CB15B7-864A-9DC1-657D-C5E29829C0C4}"/>
              </a:ext>
            </a:extLst>
          </p:cNvPr>
          <p:cNvGrpSpPr/>
          <p:nvPr userDrawn="1"/>
        </p:nvGrpSpPr>
        <p:grpSpPr>
          <a:xfrm>
            <a:off x="11998460" y="6162190"/>
            <a:ext cx="68500" cy="441924"/>
            <a:chOff x="11998459" y="6162188"/>
            <a:chExt cx="68500" cy="441925"/>
          </a:xfrm>
        </p:grpSpPr>
        <p:sp>
          <p:nvSpPr>
            <p:cNvPr id="8" name="Google Shape;37;p40">
              <a:extLst>
                <a:ext uri="{FF2B5EF4-FFF2-40B4-BE49-F238E27FC236}">
                  <a16:creationId xmlns:a16="http://schemas.microsoft.com/office/drawing/2014/main" id="{EA80B92E-3B36-97BC-4D57-7347B591B62F}"/>
                </a:ext>
              </a:extLst>
            </p:cNvPr>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9" name="Google Shape;38;p40">
              <a:extLst>
                <a:ext uri="{FF2B5EF4-FFF2-40B4-BE49-F238E27FC236}">
                  <a16:creationId xmlns:a16="http://schemas.microsoft.com/office/drawing/2014/main" id="{4995F9A6-17AD-A39B-8EA7-0DE7FBFF28FE}"/>
                </a:ext>
              </a:extLst>
            </p:cNvPr>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2" name="Google Shape;39;p40">
              <a:extLst>
                <a:ext uri="{FF2B5EF4-FFF2-40B4-BE49-F238E27FC236}">
                  <a16:creationId xmlns:a16="http://schemas.microsoft.com/office/drawing/2014/main" id="{34E53C25-2166-CAC6-9E8F-A0BE178603EB}"/>
                </a:ext>
              </a:extLst>
            </p:cNvPr>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6" name="Google Shape;40;p40">
              <a:extLst>
                <a:ext uri="{FF2B5EF4-FFF2-40B4-BE49-F238E27FC236}">
                  <a16:creationId xmlns:a16="http://schemas.microsoft.com/office/drawing/2014/main" id="{5B114610-DBFE-CDA2-3B7A-F0C2EE7DB0A5}"/>
                </a:ext>
              </a:extLst>
            </p:cNvPr>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7" name="Google Shape;41;p40">
              <a:extLst>
                <a:ext uri="{FF2B5EF4-FFF2-40B4-BE49-F238E27FC236}">
                  <a16:creationId xmlns:a16="http://schemas.microsoft.com/office/drawing/2014/main" id="{7D0C0229-5440-8189-5503-5D9E544B57CA}"/>
                </a:ext>
              </a:extLst>
            </p:cNvPr>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8" name="Google Shape;42;p40">
              <a:extLst>
                <a:ext uri="{FF2B5EF4-FFF2-40B4-BE49-F238E27FC236}">
                  <a16:creationId xmlns:a16="http://schemas.microsoft.com/office/drawing/2014/main" id="{FC619FBD-843D-EBA5-67AB-147D3A892EE3}"/>
                </a:ext>
              </a:extLst>
            </p:cNvPr>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9" name="Google Shape;43;p40">
              <a:extLst>
                <a:ext uri="{FF2B5EF4-FFF2-40B4-BE49-F238E27FC236}">
                  <a16:creationId xmlns:a16="http://schemas.microsoft.com/office/drawing/2014/main" id="{CCC34957-9A7C-0763-8B57-5A07BF04DFF2}"/>
                </a:ext>
              </a:extLst>
            </p:cNvPr>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0" name="Google Shape;44;p40">
              <a:extLst>
                <a:ext uri="{FF2B5EF4-FFF2-40B4-BE49-F238E27FC236}">
                  <a16:creationId xmlns:a16="http://schemas.microsoft.com/office/drawing/2014/main" id="{AFA1F52E-53BE-E294-409A-0652228C6A15}"/>
                </a:ext>
              </a:extLst>
            </p:cNvPr>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1" name="Google Shape;45;p40">
              <a:extLst>
                <a:ext uri="{FF2B5EF4-FFF2-40B4-BE49-F238E27FC236}">
                  <a16:creationId xmlns:a16="http://schemas.microsoft.com/office/drawing/2014/main" id="{E3E692E2-49D9-5C5D-0473-3946E393C3DF}"/>
                </a:ext>
              </a:extLst>
            </p:cNvPr>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2" name="Google Shape;46;p40">
              <a:extLst>
                <a:ext uri="{FF2B5EF4-FFF2-40B4-BE49-F238E27FC236}">
                  <a16:creationId xmlns:a16="http://schemas.microsoft.com/office/drawing/2014/main" id="{3184E9C6-3ECC-49EC-2BCB-E2FD9A3F5F76}"/>
                </a:ext>
              </a:extLst>
            </p:cNvPr>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3" name="Google Shape;47;p40">
              <a:extLst>
                <a:ext uri="{FF2B5EF4-FFF2-40B4-BE49-F238E27FC236}">
                  <a16:creationId xmlns:a16="http://schemas.microsoft.com/office/drawing/2014/main" id="{44E2B659-1506-7949-0B17-5E4459601EB9}"/>
                </a:ext>
              </a:extLst>
            </p:cNvPr>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4" name="Google Shape;48;p40">
              <a:extLst>
                <a:ext uri="{FF2B5EF4-FFF2-40B4-BE49-F238E27FC236}">
                  <a16:creationId xmlns:a16="http://schemas.microsoft.com/office/drawing/2014/main" id="{CC6ED06C-97E6-48AB-E9A5-1D80DD743E7B}"/>
                </a:ext>
              </a:extLst>
            </p:cNvPr>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5" name="Google Shape;49;p40">
              <a:extLst>
                <a:ext uri="{FF2B5EF4-FFF2-40B4-BE49-F238E27FC236}">
                  <a16:creationId xmlns:a16="http://schemas.microsoft.com/office/drawing/2014/main" id="{2820FE41-EED0-281E-DD24-13E298BB539A}"/>
                </a:ext>
              </a:extLst>
            </p:cNvPr>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grpSp>
      <p:sp>
        <p:nvSpPr>
          <p:cNvPr id="26" name="Google Shape;50;p40">
            <a:extLst>
              <a:ext uri="{FF2B5EF4-FFF2-40B4-BE49-F238E27FC236}">
                <a16:creationId xmlns:a16="http://schemas.microsoft.com/office/drawing/2014/main" id="{0CE85B7A-8B69-DC97-F849-280347C23F9A}"/>
              </a:ext>
            </a:extLst>
          </p:cNvPr>
          <p:cNvSpPr txBox="1"/>
          <p:nvPr userDrawn="1"/>
        </p:nvSpPr>
        <p:spPr>
          <a:xfrm rot="-5400000">
            <a:off x="11250972" y="5290634"/>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IN" sz="800" b="0" i="0" u="none" strike="noStrike" cap="none" dirty="0">
                <a:solidFill>
                  <a:schemeClr val="lt1"/>
                </a:solidFill>
                <a:latin typeface="Calibri"/>
                <a:ea typeface="Calibri"/>
                <a:cs typeface="Calibri"/>
                <a:sym typeface="Calibri"/>
              </a:rPr>
              <a:t>Copyright © 2023. All rights reserved.</a:t>
            </a:r>
            <a:endParaRPr sz="1401"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92837275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Title Slide (Option 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167642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large body of water with a city in the background&#10;&#10;Description automatically generated">
            <a:extLst>
              <a:ext uri="{FF2B5EF4-FFF2-40B4-BE49-F238E27FC236}">
                <a16:creationId xmlns:a16="http://schemas.microsoft.com/office/drawing/2014/main" id="{A415120D-3668-49C1-AE11-A5139E17FB7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214" t="3933" r="2214" b="3933"/>
          <a:stretch/>
        </p:blipFill>
        <p:spPr>
          <a:xfrm>
            <a:off x="269998" y="270000"/>
            <a:ext cx="11652001" cy="6318000"/>
          </a:xfrm>
          <a:prstGeom prst="rect">
            <a:avLst/>
          </a:prstGeom>
        </p:spPr>
      </p:pic>
      <p:sp>
        <p:nvSpPr>
          <p:cNvPr id="13" name="Rectangle 12">
            <a:extLst>
              <a:ext uri="{FF2B5EF4-FFF2-40B4-BE49-F238E27FC236}">
                <a16:creationId xmlns:a16="http://schemas.microsoft.com/office/drawing/2014/main" id="{7BE857BB-5DDF-4AEA-8F22-D5F9820E5C07}"/>
              </a:ext>
            </a:extLst>
          </p:cNvPr>
          <p:cNvSpPr/>
          <p:nvPr userDrawn="1"/>
        </p:nvSpPr>
        <p:spPr>
          <a:xfrm>
            <a:off x="536449" y="540000"/>
            <a:ext cx="6363891" cy="631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7" name="Graphic 6">
            <a:extLst>
              <a:ext uri="{FF2B5EF4-FFF2-40B4-BE49-F238E27FC236}">
                <a16:creationId xmlns:a16="http://schemas.microsoft.com/office/drawing/2014/main" id="{86B2B309-DF2B-9D8F-69F9-E990D37D8E99}"/>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1261" y="622237"/>
            <a:ext cx="2992347" cy="1118907"/>
          </a:xfrm>
          <a:prstGeom prst="rect">
            <a:avLst/>
          </a:prstGeom>
        </p:spPr>
      </p:pic>
      <p:sp>
        <p:nvSpPr>
          <p:cNvPr id="5" name="Rectangle 4" hidden="1">
            <a:extLst>
              <a:ext uri="{FF2B5EF4-FFF2-40B4-BE49-F238E27FC236}">
                <a16:creationId xmlns:a16="http://schemas.microsoft.com/office/drawing/2014/main" id="{A4A727BF-EF41-4850-A868-11C0325A6C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66686"/>
            <a:ext cx="5337943"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337943"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90"/>
            <a:ext cx="357470" cy="193899"/>
          </a:xfrm>
          <a:prstGeom prst="rect">
            <a:avLst/>
          </a:prstGeom>
        </p:spPr>
        <p:txBody>
          <a:bodyPr vert="horz" wrap="non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2" indent="-228602">
              <a:lnSpc>
                <a:spcPct val="90000"/>
              </a:lnSpc>
              <a:spcBef>
                <a:spcPts val="1000"/>
              </a:spcBef>
            </a:pPr>
            <a:r>
              <a:rPr lang="en-US"/>
              <a:t>Date</a:t>
            </a:r>
          </a:p>
        </p:txBody>
      </p:sp>
    </p:spTree>
    <p:extLst>
      <p:ext uri="{BB962C8B-B14F-4D97-AF65-F5344CB8AC3E}">
        <p14:creationId xmlns:p14="http://schemas.microsoft.com/office/powerpoint/2010/main" val="36116917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reserve="1">
  <p:cSld name="Title Slide (Option 3)">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22285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517" t="8006" r="4517" b="8006"/>
          <a:stretch/>
        </p:blipFill>
        <p:spPr>
          <a:xfrm>
            <a:off x="550861" y="549275"/>
            <a:ext cx="11090276" cy="5759451"/>
          </a:xfrm>
          <a:prstGeom prst="rect">
            <a:avLst/>
          </a:prstGeom>
        </p:spPr>
      </p:pic>
      <p:sp>
        <p:nvSpPr>
          <p:cNvPr id="12" name="Rectangle 11">
            <a:extLst>
              <a:ext uri="{FF2B5EF4-FFF2-40B4-BE49-F238E27FC236}">
                <a16:creationId xmlns:a16="http://schemas.microsoft.com/office/drawing/2014/main" id="{EA92DE9B-D3C3-4D9E-909D-59D0ACABEB18}"/>
              </a:ext>
            </a:extLst>
          </p:cNvPr>
          <p:cNvSpPr/>
          <p:nvPr userDrawn="1"/>
        </p:nvSpPr>
        <p:spPr>
          <a:xfrm>
            <a:off x="1083553" y="1080000"/>
            <a:ext cx="5816186" cy="577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6" name="Graphic 5">
            <a:extLst>
              <a:ext uri="{FF2B5EF4-FFF2-40B4-BE49-F238E27FC236}">
                <a16:creationId xmlns:a16="http://schemas.microsoft.com/office/drawing/2014/main" id="{750F7501-6EC7-1AC7-42E0-4E0B8DEC2620}"/>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47078" y="1317829"/>
            <a:ext cx="2992347" cy="1118907"/>
          </a:xfrm>
          <a:prstGeom prst="rect">
            <a:avLst/>
          </a:prstGeom>
        </p:spPr>
      </p:pic>
      <p:sp>
        <p:nvSpPr>
          <p:cNvPr id="5" name="Rectangle 4" hidden="1">
            <a:extLst>
              <a:ext uri="{FF2B5EF4-FFF2-40B4-BE49-F238E27FC236}">
                <a16:creationId xmlns:a16="http://schemas.microsoft.com/office/drawing/2014/main" id="{2C3BFC25-365A-4293-AFC3-06979C33ED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1631950" y="5778001"/>
            <a:ext cx="357470" cy="193899"/>
          </a:xfrm>
          <a:prstGeom prst="rect">
            <a:avLst/>
          </a:prstGeom>
        </p:spPr>
        <p:txBody>
          <a:bodyPr vert="horz" wrap="non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2" indent="-228602">
              <a:lnSpc>
                <a:spcPct val="90000"/>
              </a:lnSpc>
              <a:spcBef>
                <a:spcPts val="1000"/>
              </a:spcBef>
            </a:pPr>
            <a:r>
              <a:rPr lang="en-US"/>
              <a:t>Date</a:t>
            </a: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1631951" y="3610939"/>
            <a:ext cx="4799330"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1631951" y="4892832"/>
            <a:ext cx="4799330"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2" lvl="0" indent="-228602"/>
            <a:r>
              <a:rPr lang="en-US"/>
              <a:t>Click to edit Master subtitle style</a:t>
            </a:r>
            <a:endParaRPr lang="en-IN" dirty="0"/>
          </a:p>
        </p:txBody>
      </p:sp>
    </p:spTree>
    <p:extLst>
      <p:ext uri="{BB962C8B-B14F-4D97-AF65-F5344CB8AC3E}">
        <p14:creationId xmlns:p14="http://schemas.microsoft.com/office/powerpoint/2010/main" val="25915145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Option 4)">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67392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 t="15627" r="-1" b="6561"/>
          <a:stretch/>
        </p:blipFill>
        <p:spPr>
          <a:xfrm>
            <a:off x="0" y="1522048"/>
            <a:ext cx="12192000" cy="5335952"/>
          </a:xfrm>
          <a:prstGeom prst="rect">
            <a:avLst/>
          </a:prstGeom>
        </p:spPr>
      </p:pic>
      <p:sp>
        <p:nvSpPr>
          <p:cNvPr id="14" name="Rectangle 13">
            <a:extLst>
              <a:ext uri="{FF2B5EF4-FFF2-40B4-BE49-F238E27FC236}">
                <a16:creationId xmlns:a16="http://schemas.microsoft.com/office/drawing/2014/main" id="{A3F336B7-5196-4F00-B83A-3DCD314992C8}"/>
              </a:ext>
            </a:extLst>
          </p:cNvPr>
          <p:cNvSpPr/>
          <p:nvPr userDrawn="1"/>
        </p:nvSpPr>
        <p:spPr>
          <a:xfrm>
            <a:off x="536449" y="0"/>
            <a:ext cx="6363291" cy="6308726"/>
          </a:xfrm>
          <a:prstGeom prst="rect">
            <a:avLst/>
          </a:prstGeom>
          <a:gradFill flip="none" rotWithShape="1">
            <a:gsLst>
              <a:gs pos="0">
                <a:schemeClr val="tx2">
                  <a:lumMod val="50000"/>
                </a:schemeClr>
              </a:gs>
              <a:gs pos="39000">
                <a:schemeClr val="tx2">
                  <a:lumMod val="75000"/>
                  <a:alpha val="95000"/>
                </a:schemeClr>
              </a:gs>
              <a:gs pos="7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6" name="Graphic 5">
            <a:extLst>
              <a:ext uri="{FF2B5EF4-FFF2-40B4-BE49-F238E27FC236}">
                <a16:creationId xmlns:a16="http://schemas.microsoft.com/office/drawing/2014/main" id="{3683BD48-CFDF-B684-1DAD-50E88FF5A58E}"/>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382" y="148436"/>
            <a:ext cx="3231114" cy="1208188"/>
          </a:xfrm>
          <a:prstGeom prst="rect">
            <a:avLst/>
          </a:prstGeom>
        </p:spPr>
      </p:pic>
      <p:sp>
        <p:nvSpPr>
          <p:cNvPr id="5" name="Rectangle 4" hidden="1">
            <a:extLst>
              <a:ext uri="{FF2B5EF4-FFF2-40B4-BE49-F238E27FC236}">
                <a16:creationId xmlns:a16="http://schemas.microsoft.com/office/drawing/2014/main" id="{8914727E-8174-4A53-8CD1-66A25E0EEAA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7" y="3066686"/>
            <a:ext cx="5478239"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7" y="4348579"/>
            <a:ext cx="5478239"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842431"/>
            <a:ext cx="357470" cy="193899"/>
          </a:xfrm>
          <a:prstGeom prst="rect">
            <a:avLst/>
          </a:prstGeom>
        </p:spPr>
        <p:txBody>
          <a:bodyPr vert="horz" wrap="non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2" indent="-228602">
              <a:lnSpc>
                <a:spcPct val="90000"/>
              </a:lnSpc>
              <a:spcBef>
                <a:spcPts val="1000"/>
              </a:spcBef>
            </a:pPr>
            <a:r>
              <a:rPr lang="en-US"/>
              <a:t>Date</a:t>
            </a:r>
          </a:p>
        </p:txBody>
      </p:sp>
    </p:spTree>
    <p:extLst>
      <p:ext uri="{BB962C8B-B14F-4D97-AF65-F5344CB8AC3E}">
        <p14:creationId xmlns:p14="http://schemas.microsoft.com/office/powerpoint/2010/main" val="24707009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1_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1182521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1" name="Picture 30" descr="A person holding a phone&#10;&#10;Description automatically generated with low confidence">
            <a:extLst>
              <a:ext uri="{FF2B5EF4-FFF2-40B4-BE49-F238E27FC236}">
                <a16:creationId xmlns:a16="http://schemas.microsoft.com/office/drawing/2014/main" id="{E6014E73-E918-7E3B-1116-0A79F39C8C77}"/>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0322" t="-1" r="21590" b="-1"/>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80270E3B-760C-41F0-B9D6-A2E014047679}"/>
              </a:ext>
            </a:extLst>
          </p:cNvPr>
          <p:cNvSpPr/>
          <p:nvPr userDrawn="1"/>
        </p:nvSpPr>
        <p:spPr>
          <a:xfrm>
            <a:off x="536449"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33" name="Graphic 32">
            <a:extLst>
              <a:ext uri="{FF2B5EF4-FFF2-40B4-BE49-F238E27FC236}">
                <a16:creationId xmlns:a16="http://schemas.microsoft.com/office/drawing/2014/main" id="{0CEEA00B-DE05-BC01-6E87-AC9F343D5469}"/>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5582" y="172909"/>
            <a:ext cx="2992347" cy="1118907"/>
          </a:xfrm>
          <a:prstGeom prst="rect">
            <a:avLst/>
          </a:prstGeom>
        </p:spPr>
      </p:pic>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9" y="1844677"/>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7" y="3066686"/>
            <a:ext cx="5478239" cy="1231106"/>
          </a:xfrm>
        </p:spPr>
        <p:txBody>
          <a:bodyPr vert="horz" wrap="square" lIns="0" tIns="0" rIns="0" bIns="0" rtlCol="0" anchor="b">
            <a:spAutoFit/>
          </a:bodyPr>
          <a:lstStyle>
            <a:lvl1pPr>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7" y="4348579"/>
            <a:ext cx="5478239" cy="292388"/>
          </a:xfrm>
        </p:spPr>
        <p:txBody>
          <a:bodyPr vert="horz" wrap="square" lIns="0" tIns="0" rIns="0" bIns="0" rtlCol="0" anchor="t">
            <a:spAutoFit/>
          </a:bodyPr>
          <a:lstStyle>
            <a:lvl1pPr>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90"/>
            <a:ext cx="357470" cy="193899"/>
          </a:xfrm>
          <a:prstGeom prst="rect">
            <a:avLst/>
          </a:prstGeom>
        </p:spPr>
        <p:txBody>
          <a:bodyPr vert="horz" wrap="none" lIns="0" tIns="0" rIns="0" bIns="0" rtlCol="0" anchor="t">
            <a:spAutoFit/>
          </a:bodyPr>
          <a:lstStyle>
            <a:lvl1pPr>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indent="-228602">
              <a:lnSpc>
                <a:spcPct val="90000"/>
              </a:lnSpc>
              <a:spcBef>
                <a:spcPts val="1000"/>
              </a:spcBef>
            </a:pPr>
            <a:r>
              <a:rPr lang="en-US"/>
              <a:t>Date</a:t>
            </a:r>
            <a:endParaRPr lang="en-US" dirty="0"/>
          </a:p>
        </p:txBody>
      </p:sp>
      <p:grpSp>
        <p:nvGrpSpPr>
          <p:cNvPr id="7" name="Google Shape;36;p40">
            <a:extLst>
              <a:ext uri="{FF2B5EF4-FFF2-40B4-BE49-F238E27FC236}">
                <a16:creationId xmlns:a16="http://schemas.microsoft.com/office/drawing/2014/main" id="{71CB15B7-864A-9DC1-657D-C5E29829C0C4}"/>
              </a:ext>
            </a:extLst>
          </p:cNvPr>
          <p:cNvGrpSpPr/>
          <p:nvPr userDrawn="1"/>
        </p:nvGrpSpPr>
        <p:grpSpPr>
          <a:xfrm>
            <a:off x="11998460" y="6162190"/>
            <a:ext cx="68500" cy="441924"/>
            <a:chOff x="11998459" y="6162188"/>
            <a:chExt cx="68500" cy="441925"/>
          </a:xfrm>
        </p:grpSpPr>
        <p:sp>
          <p:nvSpPr>
            <p:cNvPr id="8" name="Google Shape;37;p40">
              <a:extLst>
                <a:ext uri="{FF2B5EF4-FFF2-40B4-BE49-F238E27FC236}">
                  <a16:creationId xmlns:a16="http://schemas.microsoft.com/office/drawing/2014/main" id="{EA80B92E-3B36-97BC-4D57-7347B591B62F}"/>
                </a:ext>
              </a:extLst>
            </p:cNvPr>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9" name="Google Shape;38;p40">
              <a:extLst>
                <a:ext uri="{FF2B5EF4-FFF2-40B4-BE49-F238E27FC236}">
                  <a16:creationId xmlns:a16="http://schemas.microsoft.com/office/drawing/2014/main" id="{4995F9A6-17AD-A39B-8EA7-0DE7FBFF28FE}"/>
                </a:ext>
              </a:extLst>
            </p:cNvPr>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2" name="Google Shape;39;p40">
              <a:extLst>
                <a:ext uri="{FF2B5EF4-FFF2-40B4-BE49-F238E27FC236}">
                  <a16:creationId xmlns:a16="http://schemas.microsoft.com/office/drawing/2014/main" id="{34E53C25-2166-CAC6-9E8F-A0BE178603EB}"/>
                </a:ext>
              </a:extLst>
            </p:cNvPr>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6" name="Google Shape;40;p40">
              <a:extLst>
                <a:ext uri="{FF2B5EF4-FFF2-40B4-BE49-F238E27FC236}">
                  <a16:creationId xmlns:a16="http://schemas.microsoft.com/office/drawing/2014/main" id="{5B114610-DBFE-CDA2-3B7A-F0C2EE7DB0A5}"/>
                </a:ext>
              </a:extLst>
            </p:cNvPr>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7" name="Google Shape;41;p40">
              <a:extLst>
                <a:ext uri="{FF2B5EF4-FFF2-40B4-BE49-F238E27FC236}">
                  <a16:creationId xmlns:a16="http://schemas.microsoft.com/office/drawing/2014/main" id="{7D0C0229-5440-8189-5503-5D9E544B57CA}"/>
                </a:ext>
              </a:extLst>
            </p:cNvPr>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8" name="Google Shape;42;p40">
              <a:extLst>
                <a:ext uri="{FF2B5EF4-FFF2-40B4-BE49-F238E27FC236}">
                  <a16:creationId xmlns:a16="http://schemas.microsoft.com/office/drawing/2014/main" id="{FC619FBD-843D-EBA5-67AB-147D3A892EE3}"/>
                </a:ext>
              </a:extLst>
            </p:cNvPr>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9" name="Google Shape;43;p40">
              <a:extLst>
                <a:ext uri="{FF2B5EF4-FFF2-40B4-BE49-F238E27FC236}">
                  <a16:creationId xmlns:a16="http://schemas.microsoft.com/office/drawing/2014/main" id="{CCC34957-9A7C-0763-8B57-5A07BF04DFF2}"/>
                </a:ext>
              </a:extLst>
            </p:cNvPr>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0" name="Google Shape;44;p40">
              <a:extLst>
                <a:ext uri="{FF2B5EF4-FFF2-40B4-BE49-F238E27FC236}">
                  <a16:creationId xmlns:a16="http://schemas.microsoft.com/office/drawing/2014/main" id="{AFA1F52E-53BE-E294-409A-0652228C6A15}"/>
                </a:ext>
              </a:extLst>
            </p:cNvPr>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1" name="Google Shape;45;p40">
              <a:extLst>
                <a:ext uri="{FF2B5EF4-FFF2-40B4-BE49-F238E27FC236}">
                  <a16:creationId xmlns:a16="http://schemas.microsoft.com/office/drawing/2014/main" id="{E3E692E2-49D9-5C5D-0473-3946E393C3DF}"/>
                </a:ext>
              </a:extLst>
            </p:cNvPr>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2" name="Google Shape;46;p40">
              <a:extLst>
                <a:ext uri="{FF2B5EF4-FFF2-40B4-BE49-F238E27FC236}">
                  <a16:creationId xmlns:a16="http://schemas.microsoft.com/office/drawing/2014/main" id="{3184E9C6-3ECC-49EC-2BCB-E2FD9A3F5F76}"/>
                </a:ext>
              </a:extLst>
            </p:cNvPr>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3" name="Google Shape;47;p40">
              <a:extLst>
                <a:ext uri="{FF2B5EF4-FFF2-40B4-BE49-F238E27FC236}">
                  <a16:creationId xmlns:a16="http://schemas.microsoft.com/office/drawing/2014/main" id="{44E2B659-1506-7949-0B17-5E4459601EB9}"/>
                </a:ext>
              </a:extLst>
            </p:cNvPr>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4" name="Google Shape;48;p40">
              <a:extLst>
                <a:ext uri="{FF2B5EF4-FFF2-40B4-BE49-F238E27FC236}">
                  <a16:creationId xmlns:a16="http://schemas.microsoft.com/office/drawing/2014/main" id="{CC6ED06C-97E6-48AB-E9A5-1D80DD743E7B}"/>
                </a:ext>
              </a:extLst>
            </p:cNvPr>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5" name="Google Shape;49;p40">
              <a:extLst>
                <a:ext uri="{FF2B5EF4-FFF2-40B4-BE49-F238E27FC236}">
                  <a16:creationId xmlns:a16="http://schemas.microsoft.com/office/drawing/2014/main" id="{2820FE41-EED0-281E-DD24-13E298BB539A}"/>
                </a:ext>
              </a:extLst>
            </p:cNvPr>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grpSp>
      <p:sp>
        <p:nvSpPr>
          <p:cNvPr id="26" name="Google Shape;50;p40">
            <a:extLst>
              <a:ext uri="{FF2B5EF4-FFF2-40B4-BE49-F238E27FC236}">
                <a16:creationId xmlns:a16="http://schemas.microsoft.com/office/drawing/2014/main" id="{0CE85B7A-8B69-DC97-F849-280347C23F9A}"/>
              </a:ext>
            </a:extLst>
          </p:cNvPr>
          <p:cNvSpPr txBox="1"/>
          <p:nvPr userDrawn="1"/>
        </p:nvSpPr>
        <p:spPr>
          <a:xfrm rot="-5400000">
            <a:off x="11250972" y="5290634"/>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IN" sz="800" b="0" i="0" u="none" strike="noStrike" cap="none" dirty="0">
                <a:solidFill>
                  <a:schemeClr val="lt1"/>
                </a:solidFill>
                <a:latin typeface="Calibri"/>
                <a:ea typeface="Calibri"/>
                <a:cs typeface="Calibri"/>
                <a:sym typeface="Calibri"/>
              </a:rPr>
              <a:t>Copyright © 2023. All rights reserved.</a:t>
            </a:r>
            <a:endParaRPr sz="1401"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93039135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matchingName="Breaker Slide_1" preserve="1">
  <p:cSld name="Breaker Slide_1">
    <p:bg>
      <p:bgPr>
        <a:solidFill>
          <a:schemeClr val="lt2"/>
        </a:solidFill>
        <a:effectLst/>
      </p:bgPr>
    </p:bg>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FEEBE7-590A-7C8C-78C2-DFD25580D350}"/>
              </a:ext>
            </a:extLst>
          </p:cNvPr>
          <p:cNvGraphicFramePr>
            <a:graphicFrameLocks noChangeAspect="1"/>
          </p:cNvGraphicFramePr>
          <p:nvPr userDrawn="1">
            <p:custDataLst>
              <p:tags r:id="rId1"/>
            </p:custDataLst>
            <p:extLst>
              <p:ext uri="{D42A27DB-BD31-4B8C-83A1-F6EECF244321}">
                <p14:modId xmlns:p14="http://schemas.microsoft.com/office/powerpoint/2010/main" val="927778059"/>
              </p:ext>
            </p:extLst>
          </p:nvPr>
        </p:nvGraphicFramePr>
        <p:xfrm>
          <a:off x="1440" y="1440"/>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5FFEEBE7-590A-7C8C-78C2-DFD25580D350}"/>
                          </a:ext>
                        </a:extLst>
                      </p:cNvPr>
                      <p:cNvPicPr/>
                      <p:nvPr/>
                    </p:nvPicPr>
                    <p:blipFill>
                      <a:blip r:embed="rId4"/>
                      <a:stretch>
                        <a:fillRect/>
                      </a:stretch>
                    </p:blipFill>
                    <p:spPr>
                      <a:xfrm>
                        <a:off x="1440" y="1440"/>
                        <a:ext cx="1441" cy="1441"/>
                      </a:xfrm>
                      <a:prstGeom prst="rect">
                        <a:avLst/>
                      </a:prstGeom>
                    </p:spPr>
                  </p:pic>
                </p:oleObj>
              </mc:Fallback>
            </mc:AlternateContent>
          </a:graphicData>
        </a:graphic>
      </p:graphicFrame>
      <p:pic>
        <p:nvPicPr>
          <p:cNvPr id="33" name="Google Shape;33;p40" descr="A picture containing graphical user interface&#10;&#10;Description automatically generated"/>
          <p:cNvPicPr preferRelativeResize="0"/>
          <p:nvPr/>
        </p:nvPicPr>
        <p:blipFill rotWithShape="1">
          <a:blip r:embed="rId5">
            <a:alphaModFix/>
            <a:extLst>
              <a:ext uri="{28A0092B-C50C-407E-A947-70E740481C1C}">
                <a14:useLocalDpi xmlns:a14="http://schemas.microsoft.com/office/drawing/2010/main" val="0"/>
              </a:ext>
            </a:extLst>
          </a:blip>
          <a:srcRect l="39"/>
          <a:stretch/>
        </p:blipFill>
        <p:spPr>
          <a:xfrm>
            <a:off x="1" y="-6562"/>
            <a:ext cx="12192000" cy="6864562"/>
          </a:xfrm>
          <a:prstGeom prst="rect">
            <a:avLst/>
          </a:prstGeom>
          <a:noFill/>
          <a:ln>
            <a:noFill/>
          </a:ln>
        </p:spPr>
      </p:pic>
      <p:sp>
        <p:nvSpPr>
          <p:cNvPr id="34" name="Google Shape;34;p40"/>
          <p:cNvSpPr/>
          <p:nvPr/>
        </p:nvSpPr>
        <p:spPr>
          <a:xfrm>
            <a:off x="0" y="3853544"/>
            <a:ext cx="6240464" cy="2261507"/>
          </a:xfrm>
          <a:prstGeom prst="rect">
            <a:avLst/>
          </a:prstGeom>
          <a:gradFill>
            <a:gsLst>
              <a:gs pos="0">
                <a:srgbClr val="062379">
                  <a:alpha val="80000"/>
                </a:srgbClr>
              </a:gs>
              <a:gs pos="55000">
                <a:srgbClr val="385ED2">
                  <a:alpha val="80000"/>
                </a:srgbClr>
              </a:gs>
              <a:gs pos="76000">
                <a:srgbClr val="4873F5">
                  <a:alpha val="80000"/>
                </a:srgbClr>
              </a:gs>
              <a:gs pos="100000">
                <a:srgbClr val="43E1D3">
                  <a:alpha val="80000"/>
                </a:srgbClr>
              </a:gs>
            </a:gsLst>
            <a:lin ang="3000000" scaled="0"/>
          </a:gradFill>
          <a:ln>
            <a:noFill/>
          </a:ln>
        </p:spPr>
        <p:txBody>
          <a:bodyPr spcFirstLastPara="1" wrap="square" lIns="91424" tIns="45698" rIns="91424" bIns="45698"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35" name="Google Shape;35;p40"/>
          <p:cNvSpPr txBox="1">
            <a:spLocks noGrp="1"/>
          </p:cNvSpPr>
          <p:nvPr>
            <p:ph type="title"/>
          </p:nvPr>
        </p:nvSpPr>
        <p:spPr>
          <a:xfrm>
            <a:off x="589046" y="4638134"/>
            <a:ext cx="5400674" cy="692323"/>
          </a:xfrm>
          <a:prstGeom prst="rect">
            <a:avLst/>
          </a:prstGeom>
          <a:noFill/>
          <a:ln>
            <a:noFill/>
          </a:ln>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4999">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grpSp>
        <p:nvGrpSpPr>
          <p:cNvPr id="36" name="Google Shape;36;p40"/>
          <p:cNvGrpSpPr/>
          <p:nvPr/>
        </p:nvGrpSpPr>
        <p:grpSpPr>
          <a:xfrm>
            <a:off x="11998460" y="6162190"/>
            <a:ext cx="68500" cy="441924"/>
            <a:chOff x="11998459" y="6162188"/>
            <a:chExt cx="68500" cy="441925"/>
          </a:xfrm>
        </p:grpSpPr>
        <p:sp>
          <p:nvSpPr>
            <p:cNvPr id="37" name="Google Shape;37;p40"/>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38" name="Google Shape;38;p40"/>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39" name="Google Shape;39;p40"/>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0" name="Google Shape;40;p40"/>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1" name="Google Shape;41;p40"/>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2" name="Google Shape;42;p40"/>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3" name="Google Shape;43;p40"/>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4" name="Google Shape;44;p40"/>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5" name="Google Shape;45;p40"/>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6" name="Google Shape;46;p40"/>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7" name="Google Shape;47;p40"/>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8" name="Google Shape;48;p40"/>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9" name="Google Shape;49;p40"/>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grpSp>
      <p:sp>
        <p:nvSpPr>
          <p:cNvPr id="50" name="Google Shape;50;p40"/>
          <p:cNvSpPr txBox="1"/>
          <p:nvPr/>
        </p:nvSpPr>
        <p:spPr>
          <a:xfrm rot="-5400000">
            <a:off x="11250972" y="5290634"/>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IN" sz="800" b="0" i="0" u="none" strike="noStrike" cap="none" dirty="0">
                <a:solidFill>
                  <a:schemeClr val="lt1"/>
                </a:solidFill>
                <a:latin typeface="Calibri"/>
                <a:ea typeface="Calibri"/>
                <a:cs typeface="Calibri"/>
                <a:sym typeface="Calibri"/>
              </a:rPr>
              <a:t>Copyright © 2020. All rights reserved.</a:t>
            </a:r>
            <a:endParaRPr sz="1401" b="0" i="0" u="none" strike="noStrike" cap="none" dirty="0">
              <a:solidFill>
                <a:srgbClr val="000000"/>
              </a:solidFill>
              <a:latin typeface="Arial"/>
              <a:ea typeface="Arial"/>
              <a:cs typeface="Arial"/>
              <a:sym typeface="Arial"/>
            </a:endParaRPr>
          </a:p>
        </p:txBody>
      </p:sp>
      <p:sp>
        <p:nvSpPr>
          <p:cNvPr id="51" name="Google Shape;51;p4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IN" smtClean="0"/>
              <a:pPr/>
              <a:t>‹#›</a:t>
            </a:fld>
            <a:endParaRPr lang="en-IN"/>
          </a:p>
        </p:txBody>
      </p:sp>
    </p:spTree>
    <p:extLst>
      <p:ext uri="{BB962C8B-B14F-4D97-AF65-F5344CB8AC3E}">
        <p14:creationId xmlns:p14="http://schemas.microsoft.com/office/powerpoint/2010/main" val="707610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v="urn:schemas-microsoft-com:vml" xmlns:pvml="urn:schemas-microsoft-com:office:powerpoint" xmlns:p15="http://schemas.microsoft.com/office/powerpoint/2012/main" xmlns:o="urn:schemas-microsoft-com:office:office" xmlns:mv="urn:schemas-microsoft-com:mac:vml" xmlns:dgm="http://schemas.openxmlformats.org/drawingml/2006/diagram" xmlns:com="http://schemas.openxmlformats.org/drawingml/2006/compatibility" xmlns:c="http://schemas.openxmlformats.org/drawingml/2006/chart" xmlns:ahyp="http://schemas.microsoft.com/office/drawing/2018/hyperlinkcolor"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EE13-6A4D-48C2-A4B1-30DA07094AC2}"/>
              </a:ext>
            </a:extLst>
          </p:cNvPr>
          <p:cNvGraphicFramePr>
            <a:graphicFrameLocks noChangeAspect="1"/>
          </p:cNvGraphicFramePr>
          <p:nvPr userDrawn="1">
            <p:custDataLst>
              <p:tags r:id="rId1"/>
            </p:custDataLst>
            <p:extLst>
              <p:ext uri="{D42A27DB-BD31-4B8C-83A1-F6EECF244321}">
                <p14:modId xmlns:p14="http://schemas.microsoft.com/office/powerpoint/2010/main" val="286560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7215EE13-6A4D-48C2-A4B1-30DA07094A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63ADCA1-24FF-455B-8752-27019761817C}"/>
              </a:ext>
            </a:extLst>
          </p:cNvPr>
          <p:cNvSpPr>
            <a:spLocks noGrp="1"/>
          </p:cNvSpPr>
          <p:nvPr>
            <p:ph type="title"/>
          </p:nvPr>
        </p:nvSpPr>
        <p:spPr>
          <a:xfrm>
            <a:off x="531814" y="560588"/>
            <a:ext cx="11089972" cy="422295"/>
          </a:xfrm>
        </p:spPr>
        <p:txBody>
          <a:bodyPr vert="horz" wrap="square" lIns="0" tIns="0" rIns="0" bIns="0" rtlCol="0" anchor="t">
            <a:spAutoFit/>
          </a:bodyPr>
          <a:lstStyle>
            <a:lvl1pPr>
              <a:defRPr lang="en-IN" dirty="0">
                <a:latin typeface="Franklin Gothic Demi" panose="020B0703020102020204" pitchFamily="34" charset="0"/>
                <a:cs typeface="Calibri" panose="020F0502020204030204" pitchFamily="34" charset="0"/>
                <a:sym typeface="Calibri" panose="020F0502020204030204" pitchFamily="34" charset="0"/>
              </a:defRPr>
            </a:lvl1pPr>
          </a:lstStyle>
          <a:p>
            <a:pPr lvl="0">
              <a:lnSpc>
                <a:spcPct val="85000"/>
              </a:lnSpc>
            </a:pPr>
            <a:r>
              <a:rPr lang="en-US"/>
              <a:t>Click to edit Master title style</a:t>
            </a:r>
            <a:endParaRPr lang="en-IN" dirty="0"/>
          </a:p>
        </p:txBody>
      </p:sp>
      <p:sp>
        <p:nvSpPr>
          <p:cNvPr id="10" name="Text Placeholder 9">
            <a:extLst>
              <a:ext uri="{FF2B5EF4-FFF2-40B4-BE49-F238E27FC236}">
                <a16:creationId xmlns:a16="http://schemas.microsoft.com/office/drawing/2014/main" id="{B7DA5DEC-E51B-46CB-9299-877852868261}"/>
              </a:ext>
            </a:extLst>
          </p:cNvPr>
          <p:cNvSpPr>
            <a:spLocks noGrp="1"/>
          </p:cNvSpPr>
          <p:nvPr>
            <p:ph type="body" sz="quarter" idx="13"/>
          </p:nvPr>
        </p:nvSpPr>
        <p:spPr>
          <a:xfrm>
            <a:off x="531814" y="1028324"/>
            <a:ext cx="11089972" cy="292388"/>
          </a:xfrm>
        </p:spPr>
        <p:txBody>
          <a:bodyPr>
            <a:spAutoFit/>
          </a:bodyPr>
          <a:lstStyle>
            <a:lvl1pPr>
              <a:defRPr sz="2000">
                <a:solidFill>
                  <a:schemeClr val="tx2">
                    <a:lumMod val="60000"/>
                    <a:lumOff val="40000"/>
                  </a:schemeClr>
                </a:solidFill>
                <a:latin typeface="Franklin Gothic Book" panose="020B0503020102020204" pitchFamily="34" charset="0"/>
                <a:cs typeface="Calibri" panose="020F0502020204030204" pitchFamily="34" charset="0"/>
                <a:sym typeface="Calibri" panose="020F0502020204030204" pitchFamily="34" charset="0"/>
              </a:defRPr>
            </a:lvl1pPr>
          </a:lstStyle>
          <a:p>
            <a:pPr lvl="0"/>
            <a:r>
              <a:rPr lang="en-US"/>
              <a:t>Click to edit Master text styles</a:t>
            </a:r>
          </a:p>
        </p:txBody>
      </p:sp>
      <p:sp>
        <p:nvSpPr>
          <p:cNvPr id="8" name="Footer Placeholder 4">
            <a:extLst>
              <a:ext uri="{FF2B5EF4-FFF2-40B4-BE49-F238E27FC236}">
                <a16:creationId xmlns:a16="http://schemas.microsoft.com/office/drawing/2014/main" id="{F1CD3974-176A-43B6-8E60-33BCD19BBC8B}"/>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744707484"/>
      </p:ext>
    </p:extLst>
  </p:cSld>
  <p:clrMapOvr>
    <a:masterClrMapping/>
  </p:clrMapOvr>
  <p:hf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80790773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with backgroun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620261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A3ACF9-E695-4094-9A16-A4F48EC9FF1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a:t>Click to edit Master title style</a:t>
            </a:r>
            <a:endParaRPr lang="en-IN" dirty="0"/>
          </a:p>
        </p:txBody>
      </p:sp>
      <p:sp>
        <p:nvSpPr>
          <p:cNvPr id="7" name="Footer Placeholder 4">
            <a:extLst>
              <a:ext uri="{FF2B5EF4-FFF2-40B4-BE49-F238E27FC236}">
                <a16:creationId xmlns:a16="http://schemas.microsoft.com/office/drawing/2014/main" id="{077D7FE3-E237-42E3-89BE-6BCC588B6C8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03860869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Without 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117851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24" name="Footer Placeholder 4">
            <a:extLst>
              <a:ext uri="{FF2B5EF4-FFF2-40B4-BE49-F238E27FC236}">
                <a16:creationId xmlns:a16="http://schemas.microsoft.com/office/drawing/2014/main" id="{3EF22FF7-C1AC-4F2A-9E98-236284660846}"/>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 name="Group 1">
            <a:extLst>
              <a:ext uri="{FF2B5EF4-FFF2-40B4-BE49-F238E27FC236}">
                <a16:creationId xmlns:a16="http://schemas.microsoft.com/office/drawing/2014/main" id="{C4D4977A-6637-4106-96DA-BDAAC2518559}"/>
              </a:ext>
            </a:extLst>
          </p:cNvPr>
          <p:cNvGrpSpPr/>
          <p:nvPr userDrawn="1"/>
        </p:nvGrpSpPr>
        <p:grpSpPr>
          <a:xfrm>
            <a:off x="11979364" y="4535495"/>
            <a:ext cx="110800" cy="2041949"/>
            <a:chOff x="11979441" y="4535494"/>
            <a:chExt cx="110801" cy="2041949"/>
          </a:xfrm>
        </p:grpSpPr>
        <p:grpSp>
          <p:nvGrpSpPr>
            <p:cNvPr id="25" name="Group 24">
              <a:extLst>
                <a:ext uri="{FF2B5EF4-FFF2-40B4-BE49-F238E27FC236}">
                  <a16:creationId xmlns:a16="http://schemas.microsoft.com/office/drawing/2014/main" id="{674D7535-DD55-4BCD-A913-9F98A80E2AAD}"/>
                </a:ext>
              </a:extLst>
            </p:cNvPr>
            <p:cNvGrpSpPr/>
            <p:nvPr userDrawn="1"/>
          </p:nvGrpSpPr>
          <p:grpSpPr>
            <a:xfrm>
              <a:off x="11998460" y="6135518"/>
              <a:ext cx="68500" cy="441924"/>
              <a:chOff x="11998459" y="6162188"/>
              <a:chExt cx="68500" cy="441924"/>
            </a:xfrm>
          </p:grpSpPr>
          <p:sp>
            <p:nvSpPr>
              <p:cNvPr id="26" name="Freeform: Shape 25">
                <a:extLst>
                  <a:ext uri="{FF2B5EF4-FFF2-40B4-BE49-F238E27FC236}">
                    <a16:creationId xmlns:a16="http://schemas.microsoft.com/office/drawing/2014/main" id="{25BE1D1D-5C46-42D6-AA46-FD5902FDE024}"/>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7" name="Freeform: Shape 26">
                <a:extLst>
                  <a:ext uri="{FF2B5EF4-FFF2-40B4-BE49-F238E27FC236}">
                    <a16:creationId xmlns:a16="http://schemas.microsoft.com/office/drawing/2014/main" id="{A7F7D663-CB75-456D-911A-BD2A8F59B130}"/>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8" name="Freeform: Shape 27">
                <a:extLst>
                  <a:ext uri="{FF2B5EF4-FFF2-40B4-BE49-F238E27FC236}">
                    <a16:creationId xmlns:a16="http://schemas.microsoft.com/office/drawing/2014/main" id="{A97E6936-7A47-4E85-B003-37AE13A73F22}"/>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Freeform: Shape 28">
                <a:extLst>
                  <a:ext uri="{FF2B5EF4-FFF2-40B4-BE49-F238E27FC236}">
                    <a16:creationId xmlns:a16="http://schemas.microsoft.com/office/drawing/2014/main" id="{B6F6AB7C-E8B0-4611-A905-F86C05FEC940}"/>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504CE7F7-478B-4DFB-A021-80071B529493}"/>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9522A9F9-C26A-4B72-93CD-9528636133FE}"/>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7D674410-4755-485D-BEA6-A9EE31599080}"/>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C52F1A2D-9FF5-49A3-B11A-A842CB94EEE7}"/>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B7660309-3ECC-487F-9D6C-08DE732EEA92}"/>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29373EC6-22EE-4AE8-A986-A3662C2AF607}"/>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EF08C567-10B3-494B-8347-38E808F75B2A}"/>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107EA0CD-BF40-4B85-88B1-06D5221EA25F}"/>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1580E308-C62A-4BCD-993B-AFE1C3E57E94}"/>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39" name="Graphic 38">
              <a:extLst>
                <a:ext uri="{FF2B5EF4-FFF2-40B4-BE49-F238E27FC236}">
                  <a16:creationId xmlns:a16="http://schemas.microsoft.com/office/drawing/2014/main" id="{836F53DC-0C00-4681-ADA4-58AABB9FD02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11811888" y="6322371"/>
              <a:ext cx="441438" cy="68706"/>
            </a:xfrm>
            <a:prstGeom prst="rect">
              <a:avLst/>
            </a:prstGeom>
          </p:spPr>
        </p:pic>
        <p:sp>
          <p:nvSpPr>
            <p:cNvPr id="40" name="Copyright">
              <a:extLst>
                <a:ext uri="{FF2B5EF4-FFF2-40B4-BE49-F238E27FC236}">
                  <a16:creationId xmlns:a16="http://schemas.microsoft.com/office/drawing/2014/main" id="{36107045-99BA-4480-99BA-1F7D50690723}"/>
                </a:ext>
              </a:extLst>
            </p:cNvPr>
            <p:cNvSpPr txBox="1"/>
            <p:nvPr userDrawn="1"/>
          </p:nvSpPr>
          <p:spPr>
            <a:xfrm rot="16200000">
              <a:off x="11250973" y="5263962"/>
              <a:ext cx="1567737"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0. All rights reserved.</a:t>
              </a:r>
            </a:p>
          </p:txBody>
        </p:sp>
      </p:grpSp>
    </p:spTree>
    <p:extLst>
      <p:ext uri="{BB962C8B-B14F-4D97-AF65-F5344CB8AC3E}">
        <p14:creationId xmlns:p14="http://schemas.microsoft.com/office/powerpoint/2010/main" val="424461478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8262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4"/>
            <a:ext cx="5400675"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6"/>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4"/>
            <a:ext cx="54006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6"/>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1" name="Footer Placeholder 4">
            <a:extLst>
              <a:ext uri="{FF2B5EF4-FFF2-40B4-BE49-F238E27FC236}">
                <a16:creationId xmlns:a16="http://schemas.microsoft.com/office/drawing/2014/main" id="{456E97DD-069F-4133-A109-0593CB969E3F}"/>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2791232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99817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476173-BEA2-49BD-B5FE-C9602A2A7D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5" y="2175804"/>
            <a:ext cx="3506976" cy="1177245"/>
          </a:xfrm>
        </p:spPr>
        <p:txBody>
          <a:bodyPr vert="horz" lIns="0" tIns="0" rIns="0" bIns="0" rtlCol="0">
            <a:spAutoFit/>
          </a:bodyPr>
          <a:lstStyle>
            <a:lvl1pPr>
              <a:defRPr lang="en-US" sz="1400" dirty="0"/>
            </a:lvl1pPr>
            <a:lvl2pPr>
              <a:defRPr lang="en-US" sz="1400" dirty="0" smtClean="0"/>
            </a:lvl2pPr>
            <a:lvl3pPr marL="179388" indent="0">
              <a:buNone/>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5" y="1857376"/>
            <a:ext cx="35069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8135839" y="2175804"/>
            <a:ext cx="3505300"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8135839" y="1857376"/>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59121794-F5DD-4A31-9CFD-38DDBBCF1C7C}"/>
              </a:ext>
            </a:extLst>
          </p:cNvPr>
          <p:cNvSpPr>
            <a:spLocks noGrp="1"/>
          </p:cNvSpPr>
          <p:nvPr>
            <p:ph type="body" sz="quarter" idx="17" hasCustomPrompt="1"/>
          </p:nvPr>
        </p:nvSpPr>
        <p:spPr>
          <a:xfrm>
            <a:off x="4344162" y="2175804"/>
            <a:ext cx="3505300"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3143DD43-CBE6-4068-87AB-C994C1891565}"/>
              </a:ext>
            </a:extLst>
          </p:cNvPr>
          <p:cNvSpPr>
            <a:spLocks noGrp="1"/>
          </p:cNvSpPr>
          <p:nvPr>
            <p:ph type="body" sz="quarter" idx="18" hasCustomPrompt="1"/>
          </p:nvPr>
        </p:nvSpPr>
        <p:spPr>
          <a:xfrm>
            <a:off x="4344162" y="1857376"/>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3" name="Footer Placeholder 4">
            <a:extLst>
              <a:ext uri="{FF2B5EF4-FFF2-40B4-BE49-F238E27FC236}">
                <a16:creationId xmlns:a16="http://schemas.microsoft.com/office/drawing/2014/main" id="{F9CDC1BE-F1D3-4AAB-9527-98835405BADA}"/>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37120595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87911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314B796-0A71-42E1-B6EB-B6B2B794121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4"/>
            <a:ext cx="2559476"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6"/>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4"/>
            <a:ext cx="25548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6"/>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3395664" y="2175804"/>
            <a:ext cx="2559476"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3395664" y="1857376"/>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9086263" y="2175804"/>
            <a:ext cx="25548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9086263" y="1857376"/>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6" name="Footer Placeholder 4">
            <a:extLst>
              <a:ext uri="{FF2B5EF4-FFF2-40B4-BE49-F238E27FC236}">
                <a16:creationId xmlns:a16="http://schemas.microsoft.com/office/drawing/2014/main" id="{60B9447C-186B-4C6F-929F-503046B2C31C}"/>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38400335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643416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F80F200-6A77-426D-879D-7C93BD8B9FB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5" y="2175804"/>
            <a:ext cx="1983600"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5" y="1857376"/>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5104050" y="2175804"/>
            <a:ext cx="1980034"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5104050" y="1857376"/>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2827458" y="2175804"/>
            <a:ext cx="1983600"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2827458" y="1857376"/>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7380643" y="2175804"/>
            <a:ext cx="1980034"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7380643" y="1857376"/>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37" name="Text Placeholder 14">
            <a:extLst>
              <a:ext uri="{FF2B5EF4-FFF2-40B4-BE49-F238E27FC236}">
                <a16:creationId xmlns:a16="http://schemas.microsoft.com/office/drawing/2014/main" id="{ADA6637A-F017-4396-B239-B80ED2F97B37}"/>
              </a:ext>
            </a:extLst>
          </p:cNvPr>
          <p:cNvSpPr>
            <a:spLocks noGrp="1"/>
          </p:cNvSpPr>
          <p:nvPr>
            <p:ph type="body" sz="quarter" idx="21" hasCustomPrompt="1"/>
          </p:nvPr>
        </p:nvSpPr>
        <p:spPr>
          <a:xfrm>
            <a:off x="9660801" y="2175804"/>
            <a:ext cx="1980034"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8" name="Text Placeholder 14">
            <a:extLst>
              <a:ext uri="{FF2B5EF4-FFF2-40B4-BE49-F238E27FC236}">
                <a16:creationId xmlns:a16="http://schemas.microsoft.com/office/drawing/2014/main" id="{7B295F18-5030-4811-B6C7-29EE7444BC70}"/>
              </a:ext>
            </a:extLst>
          </p:cNvPr>
          <p:cNvSpPr>
            <a:spLocks noGrp="1"/>
          </p:cNvSpPr>
          <p:nvPr>
            <p:ph type="body" sz="quarter" idx="22" hasCustomPrompt="1"/>
          </p:nvPr>
        </p:nvSpPr>
        <p:spPr>
          <a:xfrm>
            <a:off x="9660801" y="1857376"/>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8" name="Footer Placeholder 4">
            <a:extLst>
              <a:ext uri="{FF2B5EF4-FFF2-40B4-BE49-F238E27FC236}">
                <a16:creationId xmlns:a16="http://schemas.microsoft.com/office/drawing/2014/main" id="{9E372659-0669-485A-8EB1-D45CE8B0FC43}"/>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34434430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3 Grey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88769024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1C34F18-9238-4944-9751-DBBFCD9E3CC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4059776"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E039D39E-8FE8-4C3F-AE18-8C3DCD3BA4D0}"/>
              </a:ext>
            </a:extLst>
          </p:cNvPr>
          <p:cNvSpPr>
            <a:spLocks noGrp="1"/>
          </p:cNvSpPr>
          <p:nvPr>
            <p:ph type="ftr" sz="quarter" idx="3"/>
          </p:nvPr>
        </p:nvSpPr>
        <p:spPr>
          <a:xfrm>
            <a:off x="436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4" name="Title 3">
            <a:extLst>
              <a:ext uri="{FF2B5EF4-FFF2-40B4-BE49-F238E27FC236}">
                <a16:creationId xmlns:a16="http://schemas.microsoft.com/office/drawing/2014/main" id="{0E004E42-DB15-49F0-9906-81D60B6E8171}"/>
              </a:ext>
            </a:extLst>
          </p:cNvPr>
          <p:cNvSpPr>
            <a:spLocks noGrp="1"/>
          </p:cNvSpPr>
          <p:nvPr>
            <p:ph type="title"/>
          </p:nvPr>
        </p:nvSpPr>
        <p:spPr>
          <a:xfrm>
            <a:off x="531814" y="560588"/>
            <a:ext cx="3235117" cy="837152"/>
          </a:xfrm>
        </p:spPr>
        <p:txBody>
          <a:bodyPr>
            <a:spAutoFit/>
          </a:bodyPr>
          <a:lstStyle>
            <a:lvl1pPr>
              <a:lnSpc>
                <a:spcPct val="85000"/>
              </a:lnSpc>
              <a:defRPr/>
            </a:lvl1pPr>
          </a:lstStyle>
          <a:p>
            <a:r>
              <a:rPr lang="en-US"/>
              <a:t>Click to edit Master title style</a:t>
            </a:r>
            <a:endParaRPr lang="en-IN" dirty="0"/>
          </a:p>
        </p:txBody>
      </p:sp>
    </p:spTree>
    <p:extLst>
      <p:ext uri="{BB962C8B-B14F-4D97-AF65-F5344CB8AC3E}">
        <p14:creationId xmlns:p14="http://schemas.microsoft.com/office/powerpoint/2010/main" val="3811385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Option 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167642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large body of water with a city in the background&#10;&#10;Description automatically generated">
            <a:extLst>
              <a:ext uri="{FF2B5EF4-FFF2-40B4-BE49-F238E27FC236}">
                <a16:creationId xmlns:a16="http://schemas.microsoft.com/office/drawing/2014/main" id="{A415120D-3668-49C1-AE11-A5139E17FB7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214" t="3933" r="2214" b="3933"/>
          <a:stretch/>
        </p:blipFill>
        <p:spPr>
          <a:xfrm>
            <a:off x="269998" y="270000"/>
            <a:ext cx="11652001" cy="6318000"/>
          </a:xfrm>
          <a:prstGeom prst="rect">
            <a:avLst/>
          </a:prstGeom>
        </p:spPr>
      </p:pic>
      <p:sp>
        <p:nvSpPr>
          <p:cNvPr id="13" name="Rectangle 12">
            <a:extLst>
              <a:ext uri="{FF2B5EF4-FFF2-40B4-BE49-F238E27FC236}">
                <a16:creationId xmlns:a16="http://schemas.microsoft.com/office/drawing/2014/main" id="{7BE857BB-5DDF-4AEA-8F22-D5F9820E5C07}"/>
              </a:ext>
            </a:extLst>
          </p:cNvPr>
          <p:cNvSpPr/>
          <p:nvPr userDrawn="1"/>
        </p:nvSpPr>
        <p:spPr>
          <a:xfrm>
            <a:off x="536449" y="540000"/>
            <a:ext cx="6363891" cy="631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7" name="Graphic 6">
            <a:extLst>
              <a:ext uri="{FF2B5EF4-FFF2-40B4-BE49-F238E27FC236}">
                <a16:creationId xmlns:a16="http://schemas.microsoft.com/office/drawing/2014/main" id="{86B2B309-DF2B-9D8F-69F9-E990D37D8E99}"/>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1261" y="622237"/>
            <a:ext cx="2992347" cy="1118907"/>
          </a:xfrm>
          <a:prstGeom prst="rect">
            <a:avLst/>
          </a:prstGeom>
        </p:spPr>
      </p:pic>
      <p:sp>
        <p:nvSpPr>
          <p:cNvPr id="5" name="Rectangle 4" hidden="1">
            <a:extLst>
              <a:ext uri="{FF2B5EF4-FFF2-40B4-BE49-F238E27FC236}">
                <a16:creationId xmlns:a16="http://schemas.microsoft.com/office/drawing/2014/main" id="{A4A727BF-EF41-4850-A868-11C0325A6C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66686"/>
            <a:ext cx="5337943"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337943"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90"/>
            <a:ext cx="357470" cy="193899"/>
          </a:xfrm>
          <a:prstGeom prst="rect">
            <a:avLst/>
          </a:prstGeom>
        </p:spPr>
        <p:txBody>
          <a:bodyPr vert="horz" wrap="non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2" indent="-228602">
              <a:lnSpc>
                <a:spcPct val="90000"/>
              </a:lnSpc>
              <a:spcBef>
                <a:spcPts val="1000"/>
              </a:spcBef>
            </a:pPr>
            <a:r>
              <a:rPr lang="en-US"/>
              <a:t>Date</a:t>
            </a:r>
          </a:p>
        </p:txBody>
      </p:sp>
    </p:spTree>
    <p:extLst>
      <p:ext uri="{BB962C8B-B14F-4D97-AF65-F5344CB8AC3E}">
        <p14:creationId xmlns:p14="http://schemas.microsoft.com/office/powerpoint/2010/main" val="216924337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3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06925261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727F30D-9242-4A88-9322-2EDE74F75B38}"/>
              </a:ext>
            </a:extLst>
          </p:cNvPr>
          <p:cNvSpPr>
            <a:spLocks noGrp="1"/>
          </p:cNvSpPr>
          <p:nvPr>
            <p:ph type="ftr" sz="quarter" idx="3"/>
          </p:nvPr>
        </p:nvSpPr>
        <p:spPr>
          <a:xfrm>
            <a:off x="436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4" name="Title 3">
            <a:extLst>
              <a:ext uri="{FF2B5EF4-FFF2-40B4-BE49-F238E27FC236}">
                <a16:creationId xmlns:a16="http://schemas.microsoft.com/office/drawing/2014/main" id="{CE1BEDEA-6CDE-421B-87A1-0632A5F947FD}"/>
              </a:ext>
            </a:extLst>
          </p:cNvPr>
          <p:cNvSpPr>
            <a:spLocks noGrp="1"/>
          </p:cNvSpPr>
          <p:nvPr>
            <p:ph type="title"/>
          </p:nvPr>
        </p:nvSpPr>
        <p:spPr>
          <a:xfrm>
            <a:off x="531813" y="560588"/>
            <a:ext cx="3135726" cy="837046"/>
          </a:xfrm>
        </p:spPr>
        <p:txBody>
          <a:bodyPr vert="horz" wrap="square" lIns="0" tIns="0" rIns="0" bIns="0" rtlCol="0" anchor="t">
            <a:spAutoFit/>
          </a:bodyPr>
          <a:lstStyle>
            <a:lvl1pPr>
              <a:defRPr lang="en-IN" dirty="0">
                <a:solidFill>
                  <a:schemeClr val="bg1"/>
                </a:solidFill>
              </a:defRPr>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2240219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 Blue on Left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55517025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8FBABF1-7718-43F6-B247-8269F95D220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5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2" y="2546064"/>
            <a:ext cx="3032465" cy="1765868"/>
          </a:xfrm>
        </p:spPr>
        <p:txBody>
          <a:bodyPr vert="horz" wrap="square" lIns="0" tIns="0" rIns="0" bIns="0" rtlCol="0" anchor="ctr">
            <a:spAutoFit/>
          </a:bodyPr>
          <a:lstStyle>
            <a:lvl1pPr>
              <a:defRPr lang="en-US" sz="4500" dirty="0">
                <a:solidFill>
                  <a:schemeClr val="bg1"/>
                </a:solidFill>
              </a:defRPr>
            </a:lvl1pPr>
          </a:lstStyle>
          <a:p>
            <a:pPr lvl="0">
              <a:lnSpc>
                <a:spcPct val="85000"/>
              </a:lnSpc>
            </a:pPr>
            <a:r>
              <a:rPr lang="en-US"/>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
        <p:nvSpPr>
          <p:cNvPr id="8" name="Footer Placeholder 4">
            <a:extLst>
              <a:ext uri="{FF2B5EF4-FFF2-40B4-BE49-F238E27FC236}">
                <a16:creationId xmlns:a16="http://schemas.microsoft.com/office/drawing/2014/main" id="{2FE6F1C9-C479-4E50-B466-BBB81EB0E192}"/>
              </a:ext>
            </a:extLst>
          </p:cNvPr>
          <p:cNvSpPr>
            <a:spLocks noGrp="1"/>
          </p:cNvSpPr>
          <p:nvPr>
            <p:ph type="ftr" sz="quarter" idx="3"/>
          </p:nvPr>
        </p:nvSpPr>
        <p:spPr>
          <a:xfrm>
            <a:off x="436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6439314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2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44157473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AAE3F72-88DF-4B4D-99C2-2DFE1EFB169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6098537"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6B7F38A5-E451-48CD-9B09-4D22AB98C63C}"/>
              </a:ext>
            </a:extLst>
          </p:cNvPr>
          <p:cNvSpPr>
            <a:spLocks noGrp="1"/>
          </p:cNvSpPr>
          <p:nvPr>
            <p:ph type="ftr" sz="quarter" idx="3"/>
          </p:nvPr>
        </p:nvSpPr>
        <p:spPr>
          <a:xfrm>
            <a:off x="54923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4" name="Title 3">
            <a:extLst>
              <a:ext uri="{FF2B5EF4-FFF2-40B4-BE49-F238E27FC236}">
                <a16:creationId xmlns:a16="http://schemas.microsoft.com/office/drawing/2014/main" id="{7E2586D8-6C60-41B6-B276-7BF701FEAA10}"/>
              </a:ext>
            </a:extLst>
          </p:cNvPr>
          <p:cNvSpPr>
            <a:spLocks noGrp="1"/>
          </p:cNvSpPr>
          <p:nvPr>
            <p:ph type="title"/>
          </p:nvPr>
        </p:nvSpPr>
        <p:spPr>
          <a:xfrm>
            <a:off x="531814" y="560588"/>
            <a:ext cx="5163309" cy="837046"/>
          </a:xfrm>
        </p:spPr>
        <p:txBody>
          <a:bodyPr vert="horz" wrap="square" lIns="0" tIns="0" rIns="0" bIns="0" rtlCol="0" anchor="t">
            <a:spAutoFit/>
          </a:bodyPr>
          <a:lstStyle>
            <a:lvl1pPr>
              <a:defRPr lang="en-IN" dirty="0">
                <a:solidFill>
                  <a:schemeClr val="bg1"/>
                </a:solidFill>
              </a:defRPr>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157038814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Gradient 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1453882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
        <p:nvSpPr>
          <p:cNvPr id="26" name="Footer Placeholder 4">
            <a:extLst>
              <a:ext uri="{FF2B5EF4-FFF2-40B4-BE49-F238E27FC236}">
                <a16:creationId xmlns:a16="http://schemas.microsoft.com/office/drawing/2014/main" id="{50D61507-3612-4ECE-96B7-0F9C15D34247}"/>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7" name="Group 26">
            <a:extLst>
              <a:ext uri="{FF2B5EF4-FFF2-40B4-BE49-F238E27FC236}">
                <a16:creationId xmlns:a16="http://schemas.microsoft.com/office/drawing/2014/main" id="{5CE9086E-00AC-4525-B7C4-F51B01FEA197}"/>
              </a:ext>
            </a:extLst>
          </p:cNvPr>
          <p:cNvGrpSpPr/>
          <p:nvPr userDrawn="1"/>
        </p:nvGrpSpPr>
        <p:grpSpPr>
          <a:xfrm>
            <a:off x="11979362" y="4535497"/>
            <a:ext cx="110800" cy="2041948"/>
            <a:chOff x="11979439" y="4535495"/>
            <a:chExt cx="110801" cy="2041947"/>
          </a:xfrm>
        </p:grpSpPr>
        <p:grpSp>
          <p:nvGrpSpPr>
            <p:cNvPr id="28" name="Group 27">
              <a:extLst>
                <a:ext uri="{FF2B5EF4-FFF2-40B4-BE49-F238E27FC236}">
                  <a16:creationId xmlns:a16="http://schemas.microsoft.com/office/drawing/2014/main" id="{5F2864F8-CE03-42D9-A1C6-49C13A909289}"/>
                </a:ext>
              </a:extLst>
            </p:cNvPr>
            <p:cNvGrpSpPr/>
            <p:nvPr userDrawn="1"/>
          </p:nvGrpSpPr>
          <p:grpSpPr>
            <a:xfrm>
              <a:off x="11998460" y="6135518"/>
              <a:ext cx="68500" cy="441924"/>
              <a:chOff x="11998459" y="6162188"/>
              <a:chExt cx="68500" cy="441924"/>
            </a:xfrm>
          </p:grpSpPr>
          <p:sp>
            <p:nvSpPr>
              <p:cNvPr id="30" name="Freeform: Shape 29">
                <a:extLst>
                  <a:ext uri="{FF2B5EF4-FFF2-40B4-BE49-F238E27FC236}">
                    <a16:creationId xmlns:a16="http://schemas.microsoft.com/office/drawing/2014/main" id="{8DDB86A9-D96F-4924-9B1A-50C360C15742}"/>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86074501-3762-407F-A74D-3799FEAFBD37}"/>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73D29F00-385D-4638-BD08-A8B98A323401}"/>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E2A3DD6C-1362-40F5-A7B3-2E963C5D94FF}"/>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6616E241-6E09-4071-B657-CE4E7BB5CD37}"/>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6A9939C2-C1A3-49F7-A69F-F2E83814F06B}"/>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4C6484D2-FDEB-453B-ACAB-605BDF0437F1}"/>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E626162E-D8C5-4F77-A6A1-E2B6C7CABFC3}"/>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16446D18-F2A6-4A1D-9193-2C1738C1053D}"/>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86A74D8F-C94B-4FE0-9FED-86918ACD7711}"/>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FE130351-367D-46DC-AEF2-11BF681D6F21}"/>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1295B187-375A-4BC1-8930-8B6FB7B25415}"/>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2" name="Freeform: Shape 41">
                <a:extLst>
                  <a:ext uri="{FF2B5EF4-FFF2-40B4-BE49-F238E27FC236}">
                    <a16:creationId xmlns:a16="http://schemas.microsoft.com/office/drawing/2014/main" id="{D987C9E7-CE53-4EC9-8C60-48477925BADC}"/>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9" name="Copyright">
              <a:extLst>
                <a:ext uri="{FF2B5EF4-FFF2-40B4-BE49-F238E27FC236}">
                  <a16:creationId xmlns:a16="http://schemas.microsoft.com/office/drawing/2014/main" id="{7F3EFBBF-8F6E-4F95-970D-289D95FB3EDE}"/>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Tree>
    <p:extLst>
      <p:ext uri="{BB962C8B-B14F-4D97-AF65-F5344CB8AC3E}">
        <p14:creationId xmlns:p14="http://schemas.microsoft.com/office/powerpoint/2010/main" val="33861991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Gradient BG (with Titl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64008331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cxnSp>
        <p:nvCxnSpPr>
          <p:cNvPr id="6" name="Straight Connector 5">
            <a:extLst>
              <a:ext uri="{FF2B5EF4-FFF2-40B4-BE49-F238E27FC236}">
                <a16:creationId xmlns:a16="http://schemas.microsoft.com/office/drawing/2014/main" id="{AC27F5F1-6E1A-43D9-B04D-DEEBA03354E7}"/>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878A702-A86E-4356-99F5-6CC007B3A84C}"/>
              </a:ext>
            </a:extLst>
          </p:cNvPr>
          <p:cNvGrpSpPr/>
          <p:nvPr userDrawn="1"/>
        </p:nvGrpSpPr>
        <p:grpSpPr>
          <a:xfrm>
            <a:off x="11998459" y="6162188"/>
            <a:ext cx="68500" cy="441924"/>
            <a:chOff x="11998459" y="6162188"/>
            <a:chExt cx="68500" cy="441924"/>
          </a:xfrm>
          <a:solidFill>
            <a:schemeClr val="bg1"/>
          </a:solidFill>
        </p:grpSpPr>
        <p:sp>
          <p:nvSpPr>
            <p:cNvPr id="8" name="Freeform: Shape 7">
              <a:extLst>
                <a:ext uri="{FF2B5EF4-FFF2-40B4-BE49-F238E27FC236}">
                  <a16:creationId xmlns:a16="http://schemas.microsoft.com/office/drawing/2014/main" id="{E75A2218-59DA-4B99-8DEE-5DF1044A636F}"/>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7E8F166A-EB8B-4235-A114-5C9D062319D5}"/>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E2FC6C6B-C81D-4FE7-9F3B-65F6B734168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EB88EBE5-A780-49FB-9EAB-A8F48E23FAC5}"/>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ADB921C-741F-494D-9C24-2E06B3F237E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2CBAA18-CC04-464C-B2DA-F60F1DFE63B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B7D25102-BF68-4480-830D-1A1BE174C73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2EE8638F-0CD8-4C03-9847-FAF25CBB620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8A481A8A-8F5D-40BC-B59F-D4CEF2254BB7}"/>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350965BC-1532-45A0-8F0A-37DAEC7BBE6F}"/>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C1AF2FC-06E9-481D-AAD4-A185594C60F4}"/>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A1342B2-AEC9-4B66-9503-4CFC2ED0B897}"/>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41AC723-9EBC-48CA-B1C7-D2D5419421B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4" name="Copyright">
            <a:extLst>
              <a:ext uri="{FF2B5EF4-FFF2-40B4-BE49-F238E27FC236}">
                <a16:creationId xmlns:a16="http://schemas.microsoft.com/office/drawing/2014/main" id="{2B7A128F-26DE-473C-95DA-CCAF4D373141}"/>
              </a:ext>
            </a:extLst>
          </p:cNvPr>
          <p:cNvSpPr txBox="1"/>
          <p:nvPr userDrawn="1"/>
        </p:nvSpPr>
        <p:spPr>
          <a:xfrm rot="16200000">
            <a:off x="11250972"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
        <p:nvSpPr>
          <p:cNvPr id="26" name="Footer Placeholder 4">
            <a:extLst>
              <a:ext uri="{FF2B5EF4-FFF2-40B4-BE49-F238E27FC236}">
                <a16:creationId xmlns:a16="http://schemas.microsoft.com/office/drawing/2014/main" id="{50D61507-3612-4ECE-96B7-0F9C15D34247}"/>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3" name="Title 2">
            <a:extLst>
              <a:ext uri="{FF2B5EF4-FFF2-40B4-BE49-F238E27FC236}">
                <a16:creationId xmlns:a16="http://schemas.microsoft.com/office/drawing/2014/main" id="{22EDF673-966E-4DCD-9A9F-89CC749ED8A0}"/>
              </a:ext>
            </a:extLst>
          </p:cNvPr>
          <p:cNvSpPr>
            <a:spLocks noGrp="1"/>
          </p:cNvSpPr>
          <p:nvPr>
            <p:ph type="title"/>
          </p:nvPr>
        </p:nvSpPr>
        <p:spPr>
          <a:xfrm>
            <a:off x="531814" y="560588"/>
            <a:ext cx="11089972" cy="418576"/>
          </a:xfrm>
        </p:spPr>
        <p:txBody>
          <a:bodyPr/>
          <a:lstStyle>
            <a:lvl1pPr>
              <a:lnSpc>
                <a:spcPct val="85000"/>
              </a:lnSpc>
              <a:defRPr>
                <a:solidFill>
                  <a:schemeClr val="bg1"/>
                </a:solidFill>
              </a:defRPr>
            </a:lvl1pPr>
          </a:lstStyle>
          <a:p>
            <a:r>
              <a:rPr lang="en-US"/>
              <a:t>Click to edit Master title style</a:t>
            </a:r>
            <a:endParaRPr lang="en-IN" dirty="0"/>
          </a:p>
        </p:txBody>
      </p:sp>
    </p:spTree>
    <p:extLst>
      <p:ext uri="{BB962C8B-B14F-4D97-AF65-F5344CB8AC3E}">
        <p14:creationId xmlns:p14="http://schemas.microsoft.com/office/powerpoint/2010/main" val="11168446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3 Blue on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43384101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7E2B9A3-0AB0-4FA9-BE30-99B8A88EB12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8134763" y="-1"/>
            <a:ext cx="4059776"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4" y="6445295"/>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747BD8F9-1D4E-4291-8770-E69192472F2F}"/>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ooter Placeholder 4">
            <a:extLst>
              <a:ext uri="{FF2B5EF4-FFF2-40B4-BE49-F238E27FC236}">
                <a16:creationId xmlns:a16="http://schemas.microsoft.com/office/drawing/2014/main" id="{767490F9-4012-46F8-ABED-EB2AEB970D53}"/>
              </a:ext>
            </a:extLst>
          </p:cNvPr>
          <p:cNvSpPr>
            <a:spLocks noGrp="1"/>
          </p:cNvSpPr>
          <p:nvPr>
            <p:ph type="ftr" sz="quarter" idx="3"/>
          </p:nvPr>
        </p:nvSpPr>
        <p:spPr>
          <a:xfrm>
            <a:off x="55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4" name="Group 23">
            <a:extLst>
              <a:ext uri="{FF2B5EF4-FFF2-40B4-BE49-F238E27FC236}">
                <a16:creationId xmlns:a16="http://schemas.microsoft.com/office/drawing/2014/main" id="{9BFAF012-FF52-4660-B1EB-E3DAD4E5D0D9}"/>
              </a:ext>
            </a:extLst>
          </p:cNvPr>
          <p:cNvGrpSpPr/>
          <p:nvPr userDrawn="1"/>
        </p:nvGrpSpPr>
        <p:grpSpPr>
          <a:xfrm>
            <a:off x="11979362" y="4535497"/>
            <a:ext cx="110800" cy="2041948"/>
            <a:chOff x="11979439" y="4535495"/>
            <a:chExt cx="110801" cy="2041947"/>
          </a:xfrm>
        </p:grpSpPr>
        <p:grpSp>
          <p:nvGrpSpPr>
            <p:cNvPr id="26" name="Group 25">
              <a:extLst>
                <a:ext uri="{FF2B5EF4-FFF2-40B4-BE49-F238E27FC236}">
                  <a16:creationId xmlns:a16="http://schemas.microsoft.com/office/drawing/2014/main" id="{563A8AA3-AFD6-4F1D-95AB-D3C5F7E6A748}"/>
                </a:ext>
              </a:extLst>
            </p:cNvPr>
            <p:cNvGrpSpPr/>
            <p:nvPr userDrawn="1"/>
          </p:nvGrpSpPr>
          <p:grpSpPr>
            <a:xfrm>
              <a:off x="11998460" y="6135518"/>
              <a:ext cx="68500" cy="441924"/>
              <a:chOff x="11998459" y="6162188"/>
              <a:chExt cx="68500" cy="441924"/>
            </a:xfrm>
          </p:grpSpPr>
          <p:sp>
            <p:nvSpPr>
              <p:cNvPr id="28" name="Freeform: Shape 27">
                <a:extLst>
                  <a:ext uri="{FF2B5EF4-FFF2-40B4-BE49-F238E27FC236}">
                    <a16:creationId xmlns:a16="http://schemas.microsoft.com/office/drawing/2014/main" id="{781A09B8-B6D7-496D-AC8E-E2CC99E1F047}"/>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Freeform: Shape 28">
                <a:extLst>
                  <a:ext uri="{FF2B5EF4-FFF2-40B4-BE49-F238E27FC236}">
                    <a16:creationId xmlns:a16="http://schemas.microsoft.com/office/drawing/2014/main" id="{77B1E538-1876-4C5E-8612-52D93329CC93}"/>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BEB775BB-2E5F-4B32-9B48-8DE1DD506FB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FDF313EF-4694-4121-BF30-C1139E1F9D1C}"/>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6F3BB4C7-5441-4DAF-B428-07833129A3C4}"/>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4ADF2282-0F9C-41BD-8919-3F118F7AFA19}"/>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107EBF3C-B087-4F18-8637-DB3F73785049}"/>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FE95DEE8-DE4E-456F-B56B-0D9C34409112}"/>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34E317DF-5709-4B5E-A764-DBE2AC16DCAC}"/>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ABAA8A11-8055-4872-829E-9B4ACFB0448C}"/>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F3D0752F-4BE1-4DEA-9A91-C12628B9D905}"/>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227F6B00-C84C-430B-B7C2-DFB7384C7332}"/>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C86C1E6A-A2B0-4B52-82F6-EA7C2BB679FC}"/>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7" name="Copyright">
              <a:extLst>
                <a:ext uri="{FF2B5EF4-FFF2-40B4-BE49-F238E27FC236}">
                  <a16:creationId xmlns:a16="http://schemas.microsoft.com/office/drawing/2014/main" id="{6F9ADEBF-B227-47BA-9FFB-3881EE358DB3}"/>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
        <p:nvSpPr>
          <p:cNvPr id="4" name="Title 3">
            <a:extLst>
              <a:ext uri="{FF2B5EF4-FFF2-40B4-BE49-F238E27FC236}">
                <a16:creationId xmlns:a16="http://schemas.microsoft.com/office/drawing/2014/main" id="{D6CAC9C2-9DC0-4151-8814-3516E0ADB8BC}"/>
              </a:ext>
            </a:extLst>
          </p:cNvPr>
          <p:cNvSpPr>
            <a:spLocks noGrp="1"/>
          </p:cNvSpPr>
          <p:nvPr>
            <p:ph type="title"/>
          </p:nvPr>
        </p:nvSpPr>
        <p:spPr>
          <a:xfrm>
            <a:off x="531813" y="560588"/>
            <a:ext cx="7061683" cy="422295"/>
          </a:xfrm>
        </p:spPr>
        <p:txBody>
          <a:bodyPr vert="horz" wrap="square" lIns="0" tIns="0" rIns="0" bIns="0" rtlCol="0" anchor="t">
            <a:spAutoFit/>
          </a:bodyPr>
          <a:lstStyle>
            <a:lvl1pPr>
              <a:defRPr lang="en-IN" dirty="0">
                <a:solidFill>
                  <a:schemeClr val="tx2"/>
                </a:solidFill>
              </a:defRPr>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423427371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2 Blue on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78811140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DC2C367-8056-426B-81B2-4B2C7238E5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6096000" y="-1"/>
            <a:ext cx="6098539"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4" y="6445295"/>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9" name="Straight Connector 8">
            <a:extLst>
              <a:ext uri="{FF2B5EF4-FFF2-40B4-BE49-F238E27FC236}">
                <a16:creationId xmlns:a16="http://schemas.microsoft.com/office/drawing/2014/main" id="{C8C5468B-3210-455B-960F-ACC92937B434}"/>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Footer Placeholder 4">
            <a:extLst>
              <a:ext uri="{FF2B5EF4-FFF2-40B4-BE49-F238E27FC236}">
                <a16:creationId xmlns:a16="http://schemas.microsoft.com/office/drawing/2014/main" id="{D9F423ED-15C9-4DBA-A5CC-A74A55A44E25}"/>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5" name="Group 24">
            <a:extLst>
              <a:ext uri="{FF2B5EF4-FFF2-40B4-BE49-F238E27FC236}">
                <a16:creationId xmlns:a16="http://schemas.microsoft.com/office/drawing/2014/main" id="{8623CBF1-457C-4491-90EE-6DE3BD9C2B8C}"/>
              </a:ext>
            </a:extLst>
          </p:cNvPr>
          <p:cNvGrpSpPr/>
          <p:nvPr userDrawn="1"/>
        </p:nvGrpSpPr>
        <p:grpSpPr>
          <a:xfrm>
            <a:off x="11979362" y="4535497"/>
            <a:ext cx="110800" cy="2041948"/>
            <a:chOff x="11979439" y="4535495"/>
            <a:chExt cx="110801" cy="2041947"/>
          </a:xfrm>
        </p:grpSpPr>
        <p:grpSp>
          <p:nvGrpSpPr>
            <p:cNvPr id="27" name="Group 26">
              <a:extLst>
                <a:ext uri="{FF2B5EF4-FFF2-40B4-BE49-F238E27FC236}">
                  <a16:creationId xmlns:a16="http://schemas.microsoft.com/office/drawing/2014/main" id="{8C5D61D5-4D53-4B2F-830C-7C2D09806F89}"/>
                </a:ext>
              </a:extLst>
            </p:cNvPr>
            <p:cNvGrpSpPr/>
            <p:nvPr userDrawn="1"/>
          </p:nvGrpSpPr>
          <p:grpSpPr>
            <a:xfrm>
              <a:off x="11998460" y="6135518"/>
              <a:ext cx="68500" cy="441924"/>
              <a:chOff x="11998459" y="6162188"/>
              <a:chExt cx="68500" cy="441924"/>
            </a:xfrm>
          </p:grpSpPr>
          <p:sp>
            <p:nvSpPr>
              <p:cNvPr id="29" name="Freeform: Shape 28">
                <a:extLst>
                  <a:ext uri="{FF2B5EF4-FFF2-40B4-BE49-F238E27FC236}">
                    <a16:creationId xmlns:a16="http://schemas.microsoft.com/office/drawing/2014/main" id="{1E4918B8-A176-47C4-9264-39A91C78CD7E}"/>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3201241E-6654-4B58-A757-746A35947F4F}"/>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AC0D2E0D-CECA-462E-BAF3-CF92D72544E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A50CAD15-5BF3-4472-BDB9-3E3E4742DD6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3C3511C1-3179-44B4-BB52-D2B10DA8A6E2}"/>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07DD1BCC-9230-417B-A5CC-E1D3F6F61041}"/>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E7A77373-FE9B-46C2-BEB4-F8B0A94BD53E}"/>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CB8ABB54-E991-461F-9791-D895B90E6700}"/>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F773B4D2-2297-4AFE-A952-85F190728CC5}"/>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E052044D-7360-4930-ACEF-75B0996C9E40}"/>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78EE721A-1842-4613-97C0-83F42E192EFE}"/>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E04EC6AA-4D0D-4D6B-A317-D59028CD1190}"/>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33B47ABB-E212-4C3A-93F4-8ECF298B2F14}"/>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8" name="Copyright">
              <a:extLst>
                <a:ext uri="{FF2B5EF4-FFF2-40B4-BE49-F238E27FC236}">
                  <a16:creationId xmlns:a16="http://schemas.microsoft.com/office/drawing/2014/main" id="{63A391B4-F2D4-4CEA-BB2D-6FE9C17F564E}"/>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
        <p:nvSpPr>
          <p:cNvPr id="4" name="Title 3">
            <a:extLst>
              <a:ext uri="{FF2B5EF4-FFF2-40B4-BE49-F238E27FC236}">
                <a16:creationId xmlns:a16="http://schemas.microsoft.com/office/drawing/2014/main" id="{93E1D190-1D55-4D58-B05F-8B0C78FE1DC0}"/>
              </a:ext>
            </a:extLst>
          </p:cNvPr>
          <p:cNvSpPr>
            <a:spLocks noGrp="1"/>
          </p:cNvSpPr>
          <p:nvPr>
            <p:ph type="title"/>
          </p:nvPr>
        </p:nvSpPr>
        <p:spPr>
          <a:xfrm>
            <a:off x="531813" y="560588"/>
            <a:ext cx="5123552" cy="837046"/>
          </a:xfrm>
        </p:spPr>
        <p:txBody>
          <a:bodyPr vert="horz" wrap="square" lIns="0" tIns="0" rIns="0" bIns="0" rtlCol="0" anchor="t">
            <a:spAutoFit/>
          </a:bodyPr>
          <a:lstStyle>
            <a:lvl1pPr>
              <a:defRPr lang="en-IN" dirty="0"/>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316826754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Breaker Slide_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194811257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6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8" name="Picture 7">
            <a:extLst>
              <a:ext uri="{FF2B5EF4-FFF2-40B4-BE49-F238E27FC236}">
                <a16:creationId xmlns:a16="http://schemas.microsoft.com/office/drawing/2014/main" id="{F99A2C76-32EA-4992-A965-D9260A5D160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482E60DA-1F02-9A45-8CE9-6CC78A3380F0}"/>
              </a:ext>
            </a:extLst>
          </p:cNvPr>
          <p:cNvSpPr/>
          <p:nvPr userDrawn="1"/>
        </p:nvSpPr>
        <p:spPr>
          <a:xfrm>
            <a:off x="1"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1" y="3700464"/>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2" y="4108436"/>
            <a:ext cx="8494899" cy="1569660"/>
          </a:xfrm>
          <a:effectLst>
            <a:outerShdw blurRad="190500" dir="2700000" algn="tl" rotWithShape="0">
              <a:prstClr val="black">
                <a:alpha val="30000"/>
              </a:prstClr>
            </a:outerShdw>
          </a:effectLst>
        </p:spPr>
        <p:txBody>
          <a:bodyPr vert="horz" wrap="square" lIns="0" tIns="0" rIns="0" bIns="0" rtlCol="0" anchor="ctr">
            <a:spAutoFit/>
          </a:bodyPr>
          <a:lstStyle>
            <a:lvl1pPr>
              <a:lnSpc>
                <a:spcPct val="80000"/>
              </a:lnSpc>
              <a:defRPr lang="en-US" sz="6000" dirty="0">
                <a:solidFill>
                  <a:schemeClr val="bg1"/>
                </a:solidFill>
              </a:defRPr>
            </a:lvl1pPr>
          </a:lstStyle>
          <a:p>
            <a:pPr lvl="0">
              <a:lnSpc>
                <a:spcPct val="85000"/>
              </a:lnSpc>
            </a:pPr>
            <a:r>
              <a:rPr lang="en-US"/>
              <a:t>Click to edit Master title style</a:t>
            </a:r>
            <a:endParaRPr lang="en-US" dirty="0"/>
          </a:p>
        </p:txBody>
      </p:sp>
      <p:grpSp>
        <p:nvGrpSpPr>
          <p:cNvPr id="12" name="Group 11">
            <a:extLst>
              <a:ext uri="{FF2B5EF4-FFF2-40B4-BE49-F238E27FC236}">
                <a16:creationId xmlns:a16="http://schemas.microsoft.com/office/drawing/2014/main" id="{1A4D7170-2B51-4AFC-B047-0F5B3A69E471}"/>
              </a:ext>
            </a:extLst>
          </p:cNvPr>
          <p:cNvGrpSpPr/>
          <p:nvPr userDrawn="1"/>
        </p:nvGrpSpPr>
        <p:grpSpPr>
          <a:xfrm>
            <a:off x="11998459" y="6162188"/>
            <a:ext cx="68500" cy="441924"/>
            <a:chOff x="11998459" y="6162188"/>
            <a:chExt cx="68500" cy="441924"/>
          </a:xfrm>
          <a:solidFill>
            <a:schemeClr val="bg1"/>
          </a:solidFill>
        </p:grpSpPr>
        <p:sp>
          <p:nvSpPr>
            <p:cNvPr id="13" name="Freeform: Shape 12">
              <a:extLst>
                <a:ext uri="{FF2B5EF4-FFF2-40B4-BE49-F238E27FC236}">
                  <a16:creationId xmlns:a16="http://schemas.microsoft.com/office/drawing/2014/main" id="{DDD1615D-0D55-4B48-87A2-0F30A4E3D8E7}"/>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C8D3D7F-D19B-49DE-9CB3-221A0639516B}"/>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E30BC6AD-EFFB-4263-A0EB-5A8265D4385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A341753F-E8F7-47E2-8A08-516073C6B573}"/>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F3E2B82A-AA52-459B-A885-2C9E46A7CA08}"/>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BDCD4539-FE2A-4741-BBEF-2BADE6F5B99D}"/>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63FB79E5-53C4-46E5-AAF3-BCDBDA5A2D1D}"/>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09CEBDE-5D0C-41B5-85C2-CBC9DA810EFB}"/>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0887E364-69C8-42A1-811A-4726514CBCE3}"/>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18A0E0BB-B67F-4B6F-A66E-3D42CC14F9E7}"/>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Freeform: Shape 23">
              <a:extLst>
                <a:ext uri="{FF2B5EF4-FFF2-40B4-BE49-F238E27FC236}">
                  <a16:creationId xmlns:a16="http://schemas.microsoft.com/office/drawing/2014/main" id="{797C39D0-A99F-467C-9FAD-1FEC939449C9}"/>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Freeform: Shape 24">
              <a:extLst>
                <a:ext uri="{FF2B5EF4-FFF2-40B4-BE49-F238E27FC236}">
                  <a16:creationId xmlns:a16="http://schemas.microsoft.com/office/drawing/2014/main" id="{FB512C9A-2B27-4460-B3C8-AA6460E8DA65}"/>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Freeform: Shape 25">
              <a:extLst>
                <a:ext uri="{FF2B5EF4-FFF2-40B4-BE49-F238E27FC236}">
                  <a16:creationId xmlns:a16="http://schemas.microsoft.com/office/drawing/2014/main" id="{6A1FA1F5-B76B-4B98-99DC-DD1D17B7F23E}"/>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7" name="Copyright">
            <a:extLst>
              <a:ext uri="{FF2B5EF4-FFF2-40B4-BE49-F238E27FC236}">
                <a16:creationId xmlns:a16="http://schemas.microsoft.com/office/drawing/2014/main" id="{EB60B0AE-F9C0-4FBF-9FE6-F8CE2ED57C40}"/>
              </a:ext>
            </a:extLst>
          </p:cNvPr>
          <p:cNvSpPr txBox="1"/>
          <p:nvPr userDrawn="1"/>
        </p:nvSpPr>
        <p:spPr>
          <a:xfrm rot="16200000">
            <a:off x="11250972"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sp>
        <p:nvSpPr>
          <p:cNvPr id="28" name="Slide Number Placeholder 5">
            <a:extLst>
              <a:ext uri="{FF2B5EF4-FFF2-40B4-BE49-F238E27FC236}">
                <a16:creationId xmlns:a16="http://schemas.microsoft.com/office/drawing/2014/main" id="{4B037CC6-E5CE-4CBE-B183-A4AF78E15EC6}"/>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Tree>
    <p:extLst>
      <p:ext uri="{BB962C8B-B14F-4D97-AF65-F5344CB8AC3E}">
        <p14:creationId xmlns:p14="http://schemas.microsoft.com/office/powerpoint/2010/main" val="2214152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reaker Slide_2">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200457384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6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6" name="Picture 5">
            <a:extLst>
              <a:ext uri="{FF2B5EF4-FFF2-40B4-BE49-F238E27FC236}">
                <a16:creationId xmlns:a16="http://schemas.microsoft.com/office/drawing/2014/main" id="{92E076F7-2F5B-46F9-A7D4-BCD4A1BF4FBE}"/>
              </a:ext>
            </a:extLst>
          </p:cNvPr>
          <p:cNvPicPr>
            <a:picLocks noChangeAspect="1"/>
          </p:cNvPicPr>
          <p:nvPr userDrawn="1"/>
        </p:nvPicPr>
        <p:blipFill>
          <a:blip r:embed="rId6">
            <a:grayscl/>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9" name="Rectangle 28">
            <a:extLst>
              <a:ext uri="{FF2B5EF4-FFF2-40B4-BE49-F238E27FC236}">
                <a16:creationId xmlns:a16="http://schemas.microsoft.com/office/drawing/2014/main" id="{05571307-B5A1-49FA-8B2A-10157FD7593A}"/>
              </a:ext>
            </a:extLst>
          </p:cNvPr>
          <p:cNvSpPr/>
          <p:nvPr userDrawn="1"/>
        </p:nvSpPr>
        <p:spPr>
          <a:xfrm>
            <a:off x="0" y="0"/>
            <a:ext cx="12192000" cy="6858000"/>
          </a:xfrm>
          <a:prstGeom prst="rect">
            <a:avLst/>
          </a:prstGeom>
          <a:gradFill flip="none" rotWithShape="1">
            <a:gsLst>
              <a:gs pos="16000">
                <a:schemeClr val="tx2">
                  <a:lumMod val="50000"/>
                </a:schemeClr>
              </a:gs>
              <a:gs pos="55000">
                <a:schemeClr val="tx2">
                  <a:lumMod val="75000"/>
                  <a:alpha val="90000"/>
                </a:schemeClr>
              </a:gs>
              <a:gs pos="85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992390" y="4026897"/>
            <a:ext cx="6785798" cy="1569660"/>
          </a:xfrm>
          <a:effectLst>
            <a:outerShdw blurRad="190500" dir="2700000" algn="tl" rotWithShape="0">
              <a:prstClr val="black">
                <a:alpha val="30000"/>
              </a:prstClr>
            </a:outerShdw>
          </a:effectLst>
        </p:spPr>
        <p:txBody>
          <a:bodyPr vert="horz" wrap="square" lIns="0" tIns="0" rIns="0" bIns="0" rtlCol="0" anchor="b">
            <a:spAutoFit/>
          </a:bodyPr>
          <a:lstStyle>
            <a:lvl1pPr>
              <a:lnSpc>
                <a:spcPct val="80000"/>
              </a:lnSpc>
              <a:defRPr lang="en-US" sz="6000" dirty="0">
                <a:solidFill>
                  <a:schemeClr val="bg1"/>
                </a:solidFill>
              </a:defRPr>
            </a:lvl1pPr>
          </a:lstStyle>
          <a:p>
            <a:pPr lvl="0">
              <a:lnSpc>
                <a:spcPct val="85000"/>
              </a:lnSpc>
            </a:pPr>
            <a:r>
              <a:rPr lang="en-US"/>
              <a:t>Click to edit Master title style</a:t>
            </a:r>
            <a:endParaRPr lang="en-US" dirty="0"/>
          </a:p>
        </p:txBody>
      </p:sp>
      <p:sp>
        <p:nvSpPr>
          <p:cNvPr id="28" name="Slide Number Placeholder 5">
            <a:extLst>
              <a:ext uri="{FF2B5EF4-FFF2-40B4-BE49-F238E27FC236}">
                <a16:creationId xmlns:a16="http://schemas.microsoft.com/office/drawing/2014/main" id="{4B037CC6-E5CE-4CBE-B183-A4AF78E15EC6}"/>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30" name="Straight Connector 29">
            <a:extLst>
              <a:ext uri="{FF2B5EF4-FFF2-40B4-BE49-F238E27FC236}">
                <a16:creationId xmlns:a16="http://schemas.microsoft.com/office/drawing/2014/main" id="{5B1B01B0-505C-4864-BC9B-FBCE18D02D9C}"/>
              </a:ext>
            </a:extLst>
          </p:cNvPr>
          <p:cNvCxnSpPr>
            <a:cxnSpLocks/>
          </p:cNvCxnSpPr>
          <p:nvPr userDrawn="1"/>
        </p:nvCxnSpPr>
        <p:spPr>
          <a:xfrm>
            <a:off x="992389" y="5712304"/>
            <a:ext cx="154246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95DDDC21-5EC0-4BC6-A759-2D861F3A42C0}"/>
              </a:ext>
            </a:extLst>
          </p:cNvPr>
          <p:cNvGrpSpPr/>
          <p:nvPr userDrawn="1"/>
        </p:nvGrpSpPr>
        <p:grpSpPr>
          <a:xfrm>
            <a:off x="11979362" y="4535497"/>
            <a:ext cx="110800" cy="2041948"/>
            <a:chOff x="11979439" y="4535495"/>
            <a:chExt cx="110801" cy="2041947"/>
          </a:xfrm>
        </p:grpSpPr>
        <p:grpSp>
          <p:nvGrpSpPr>
            <p:cNvPr id="32" name="Group 31">
              <a:extLst>
                <a:ext uri="{FF2B5EF4-FFF2-40B4-BE49-F238E27FC236}">
                  <a16:creationId xmlns:a16="http://schemas.microsoft.com/office/drawing/2014/main" id="{6CE34071-C191-4EA0-879B-938D0D7FB2DC}"/>
                </a:ext>
              </a:extLst>
            </p:cNvPr>
            <p:cNvGrpSpPr/>
            <p:nvPr userDrawn="1"/>
          </p:nvGrpSpPr>
          <p:grpSpPr>
            <a:xfrm>
              <a:off x="11998460" y="6135518"/>
              <a:ext cx="68500" cy="441924"/>
              <a:chOff x="11998459" y="6162188"/>
              <a:chExt cx="68500" cy="441924"/>
            </a:xfrm>
          </p:grpSpPr>
          <p:sp>
            <p:nvSpPr>
              <p:cNvPr id="35" name="Freeform: Shape 34">
                <a:extLst>
                  <a:ext uri="{FF2B5EF4-FFF2-40B4-BE49-F238E27FC236}">
                    <a16:creationId xmlns:a16="http://schemas.microsoft.com/office/drawing/2014/main" id="{86C589D3-2A68-47B4-A186-DCD2A83FCFC8}"/>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4BB41610-46EC-428B-835A-19794F87B288}"/>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335B418E-1CF7-49D6-9410-F4E0F9CA8FD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75874F1C-8BBD-43D9-9576-2326771CDA5E}"/>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41BF7ED0-D40C-414C-A361-03E0EC0CA1B8}"/>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B0A1FE6F-2C49-4E56-BBB6-F7F2308FE7A5}"/>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8FE97711-BCB1-4A87-B444-FE49A24C954C}"/>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2" name="Freeform: Shape 41">
                <a:extLst>
                  <a:ext uri="{FF2B5EF4-FFF2-40B4-BE49-F238E27FC236}">
                    <a16:creationId xmlns:a16="http://schemas.microsoft.com/office/drawing/2014/main" id="{DC90751F-BC28-4C38-9AEE-4FE522001DE3}"/>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3" name="Freeform: Shape 42">
                <a:extLst>
                  <a:ext uri="{FF2B5EF4-FFF2-40B4-BE49-F238E27FC236}">
                    <a16:creationId xmlns:a16="http://schemas.microsoft.com/office/drawing/2014/main" id="{4759EB0F-4722-48F9-98B5-35600B2F5F54}"/>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4" name="Freeform: Shape 43">
                <a:extLst>
                  <a:ext uri="{FF2B5EF4-FFF2-40B4-BE49-F238E27FC236}">
                    <a16:creationId xmlns:a16="http://schemas.microsoft.com/office/drawing/2014/main" id="{1E9ED425-DEE8-4FE5-B40D-E5D7FC3B173C}"/>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5" name="Freeform: Shape 44">
                <a:extLst>
                  <a:ext uri="{FF2B5EF4-FFF2-40B4-BE49-F238E27FC236}">
                    <a16:creationId xmlns:a16="http://schemas.microsoft.com/office/drawing/2014/main" id="{6FED47B5-7813-41FF-82AD-062C1EBA79EB}"/>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6" name="Freeform: Shape 45">
                <a:extLst>
                  <a:ext uri="{FF2B5EF4-FFF2-40B4-BE49-F238E27FC236}">
                    <a16:creationId xmlns:a16="http://schemas.microsoft.com/office/drawing/2014/main" id="{3412D8B3-B39C-4308-9921-278312CC9BDA}"/>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7" name="Freeform: Shape 46">
                <a:extLst>
                  <a:ext uri="{FF2B5EF4-FFF2-40B4-BE49-F238E27FC236}">
                    <a16:creationId xmlns:a16="http://schemas.microsoft.com/office/drawing/2014/main" id="{279E12B4-9493-4742-A8EB-9E495955EF01}"/>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34" name="Copyright">
              <a:extLst>
                <a:ext uri="{FF2B5EF4-FFF2-40B4-BE49-F238E27FC236}">
                  <a16:creationId xmlns:a16="http://schemas.microsoft.com/office/drawing/2014/main" id="{063EE5AF-0F23-4E4D-946B-2EF723C73A98}"/>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Tree>
    <p:extLst>
      <p:ext uri="{BB962C8B-B14F-4D97-AF65-F5344CB8AC3E}">
        <p14:creationId xmlns:p14="http://schemas.microsoft.com/office/powerpoint/2010/main" val="3959425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6702073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2" name="Graphic 1">
            <a:extLst>
              <a:ext uri="{FF2B5EF4-FFF2-40B4-BE49-F238E27FC236}">
                <a16:creationId xmlns:a16="http://schemas.microsoft.com/office/drawing/2014/main" id="{63E76732-5A5F-B03D-320E-52CD6F1CBCF5}"/>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43457" y="2592164"/>
            <a:ext cx="4386551" cy="1640232"/>
          </a:xfrm>
          <a:prstGeom prst="rect">
            <a:avLst/>
          </a:prstGeom>
        </p:spPr>
      </p:pic>
      <p:sp>
        <p:nvSpPr>
          <p:cNvPr id="6" name="TextBox 5">
            <a:extLst>
              <a:ext uri="{FF2B5EF4-FFF2-40B4-BE49-F238E27FC236}">
                <a16:creationId xmlns:a16="http://schemas.microsoft.com/office/drawing/2014/main" id="{8106A152-DC8B-0C47-8CFD-D99759D28F81}"/>
              </a:ext>
            </a:extLst>
          </p:cNvPr>
          <p:cNvSpPr txBox="1"/>
          <p:nvPr userDrawn="1"/>
        </p:nvSpPr>
        <p:spPr>
          <a:xfrm>
            <a:off x="550863" y="5965461"/>
            <a:ext cx="3039294" cy="369332"/>
          </a:xfrm>
          <a:prstGeom prst="rect">
            <a:avLst/>
          </a:prstGeom>
          <a:noFill/>
        </p:spPr>
        <p:txBody>
          <a:bodyPr wrap="none" lIns="0" tIns="0" rIns="0" bIns="0" rtlCol="0">
            <a:spAutoFit/>
          </a:bodyPr>
          <a:lstStyle/>
          <a:p>
            <a:pPr algn="l"/>
            <a:r>
              <a:rPr lang="en-GB" sz="1200" b="1" i="0" u="none" dirty="0">
                <a:solidFill>
                  <a:schemeClr val="accent3">
                    <a:lumMod val="60000"/>
                    <a:lumOff val="40000"/>
                  </a:schemeClr>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www.infomineo.com</a:t>
            </a:r>
          </a:p>
          <a:p>
            <a:pPr algn="l"/>
            <a:r>
              <a:rPr lang="en-GB" sz="1200" b="0" i="0" dirty="0">
                <a:solidFill>
                  <a:schemeClr val="bg1"/>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Infomineo Copyright © 2023. All rights reserved.</a:t>
            </a:r>
          </a:p>
        </p:txBody>
      </p:sp>
      <p:pic>
        <p:nvPicPr>
          <p:cNvPr id="30" name="Picture 29">
            <a:hlinkClick r:id="rId7"/>
            <a:extLst>
              <a:ext uri="{FF2B5EF4-FFF2-40B4-BE49-F238E27FC236}">
                <a16:creationId xmlns:a16="http://schemas.microsoft.com/office/drawing/2014/main" id="{3ED467EF-C028-4376-B7C8-A8830D77CF7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323329" y="5965461"/>
            <a:ext cx="370332" cy="370332"/>
          </a:xfrm>
          <a:prstGeom prst="rect">
            <a:avLst/>
          </a:prstGeom>
        </p:spPr>
      </p:pic>
      <p:pic>
        <p:nvPicPr>
          <p:cNvPr id="32" name="Picture 31">
            <a:hlinkClick r:id="rId9"/>
            <a:extLst>
              <a:ext uri="{FF2B5EF4-FFF2-40B4-BE49-F238E27FC236}">
                <a16:creationId xmlns:a16="http://schemas.microsoft.com/office/drawing/2014/main" id="{3BF2889F-2FC0-49EE-9DAD-8868FC3BE52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825965" y="5965461"/>
            <a:ext cx="368808" cy="370332"/>
          </a:xfrm>
          <a:prstGeom prst="rect">
            <a:avLst/>
          </a:prstGeom>
        </p:spPr>
      </p:pic>
      <p:pic>
        <p:nvPicPr>
          <p:cNvPr id="34" name="Picture 33">
            <a:hlinkClick r:id="rId11"/>
            <a:extLst>
              <a:ext uri="{FF2B5EF4-FFF2-40B4-BE49-F238E27FC236}">
                <a16:creationId xmlns:a16="http://schemas.microsoft.com/office/drawing/2014/main" id="{96507CF0-D683-43B8-9352-634205E2EC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328600" y="5965461"/>
            <a:ext cx="368808" cy="370332"/>
          </a:xfrm>
          <a:prstGeom prst="rect">
            <a:avLst/>
          </a:prstGeom>
        </p:spPr>
      </p:pic>
    </p:spTree>
    <p:extLst>
      <p:ext uri="{BB962C8B-B14F-4D97-AF65-F5344CB8AC3E}">
        <p14:creationId xmlns:p14="http://schemas.microsoft.com/office/powerpoint/2010/main" val="32221565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Option 3)">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22285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517" t="8006" r="4517" b="8006"/>
          <a:stretch/>
        </p:blipFill>
        <p:spPr>
          <a:xfrm>
            <a:off x="550861" y="549275"/>
            <a:ext cx="11090276" cy="5759451"/>
          </a:xfrm>
          <a:prstGeom prst="rect">
            <a:avLst/>
          </a:prstGeom>
        </p:spPr>
      </p:pic>
      <p:sp>
        <p:nvSpPr>
          <p:cNvPr id="12" name="Rectangle 11">
            <a:extLst>
              <a:ext uri="{FF2B5EF4-FFF2-40B4-BE49-F238E27FC236}">
                <a16:creationId xmlns:a16="http://schemas.microsoft.com/office/drawing/2014/main" id="{EA92DE9B-D3C3-4D9E-909D-59D0ACABEB18}"/>
              </a:ext>
            </a:extLst>
          </p:cNvPr>
          <p:cNvSpPr/>
          <p:nvPr userDrawn="1"/>
        </p:nvSpPr>
        <p:spPr>
          <a:xfrm>
            <a:off x="1083553" y="1080000"/>
            <a:ext cx="5816186" cy="577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6" name="Graphic 5">
            <a:extLst>
              <a:ext uri="{FF2B5EF4-FFF2-40B4-BE49-F238E27FC236}">
                <a16:creationId xmlns:a16="http://schemas.microsoft.com/office/drawing/2014/main" id="{750F7501-6EC7-1AC7-42E0-4E0B8DEC2620}"/>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47078" y="1317829"/>
            <a:ext cx="2992347" cy="1118907"/>
          </a:xfrm>
          <a:prstGeom prst="rect">
            <a:avLst/>
          </a:prstGeom>
        </p:spPr>
      </p:pic>
      <p:sp>
        <p:nvSpPr>
          <p:cNvPr id="5" name="Rectangle 4" hidden="1">
            <a:extLst>
              <a:ext uri="{FF2B5EF4-FFF2-40B4-BE49-F238E27FC236}">
                <a16:creationId xmlns:a16="http://schemas.microsoft.com/office/drawing/2014/main" id="{2C3BFC25-365A-4293-AFC3-06979C33ED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1631950" y="5778001"/>
            <a:ext cx="357470" cy="193899"/>
          </a:xfrm>
          <a:prstGeom prst="rect">
            <a:avLst/>
          </a:prstGeom>
        </p:spPr>
        <p:txBody>
          <a:bodyPr vert="horz" wrap="non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2" indent="-228602">
              <a:lnSpc>
                <a:spcPct val="90000"/>
              </a:lnSpc>
              <a:spcBef>
                <a:spcPts val="1000"/>
              </a:spcBef>
            </a:pPr>
            <a:r>
              <a:rPr lang="en-US"/>
              <a:t>Date</a:t>
            </a: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1631951" y="3610939"/>
            <a:ext cx="4799330"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1631951" y="4892832"/>
            <a:ext cx="4799330"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2" lvl="0" indent="-228602"/>
            <a:r>
              <a:rPr lang="en-US"/>
              <a:t>Click to edit Master subtitle style</a:t>
            </a:r>
            <a:endParaRPr lang="en-IN" dirty="0"/>
          </a:p>
        </p:txBody>
      </p:sp>
    </p:spTree>
    <p:extLst>
      <p:ext uri="{BB962C8B-B14F-4D97-AF65-F5344CB8AC3E}">
        <p14:creationId xmlns:p14="http://schemas.microsoft.com/office/powerpoint/2010/main" val="28370076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Guides">
    <p:spTree>
      <p:nvGrpSpPr>
        <p:cNvPr id="1" name=""/>
        <p:cNvGrpSpPr/>
        <p:nvPr/>
      </p:nvGrpSpPr>
      <p:grpSpPr>
        <a:xfrm>
          <a:off x="0" y="0"/>
          <a:ext cx="0" cy="0"/>
          <a:chOff x="0" y="0"/>
          <a:chExt cx="0" cy="0"/>
        </a:xfrm>
      </p:grpSpPr>
      <p:graphicFrame>
        <p:nvGraphicFramePr>
          <p:cNvPr id="49" name="Object 48" hidden="1">
            <a:extLst>
              <a:ext uri="{FF2B5EF4-FFF2-40B4-BE49-F238E27FC236}">
                <a16:creationId xmlns:a16="http://schemas.microsoft.com/office/drawing/2014/main" id="{C7E8C095-69F2-4BC8-964E-A1BFE9309E4B}"/>
              </a:ext>
            </a:extLst>
          </p:cNvPr>
          <p:cNvGraphicFramePr>
            <a:graphicFrameLocks noChangeAspect="1"/>
          </p:cNvGraphicFramePr>
          <p:nvPr userDrawn="1">
            <p:custDataLst>
              <p:tags r:id="rId1"/>
            </p:custDataLst>
            <p:extLst>
              <p:ext uri="{D42A27DB-BD31-4B8C-83A1-F6EECF244321}">
                <p14:modId xmlns:p14="http://schemas.microsoft.com/office/powerpoint/2010/main" val="3613833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9" name="Object 48" hidden="1">
                        <a:extLst>
                          <a:ext uri="{FF2B5EF4-FFF2-40B4-BE49-F238E27FC236}">
                            <a16:creationId xmlns:a16="http://schemas.microsoft.com/office/drawing/2014/main" id="{C7E8C095-69F2-4BC8-964E-A1BFE9309E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B5F11C0-1445-4182-AF87-C63E0DB6CE2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7" name="Freeform: Shape 95">
            <a:extLst>
              <a:ext uri="{FF2B5EF4-FFF2-40B4-BE49-F238E27FC236}">
                <a16:creationId xmlns:a16="http://schemas.microsoft.com/office/drawing/2014/main" id="{E5A08834-247C-4C9E-93E7-8514C051C060}"/>
              </a:ext>
            </a:extLst>
          </p:cNvPr>
          <p:cNvSpPr/>
          <p:nvPr userDrawn="1"/>
        </p:nvSpPr>
        <p:spPr>
          <a:xfrm>
            <a:off x="0" y="0"/>
            <a:ext cx="12193200" cy="6858000"/>
          </a:xfrm>
          <a:custGeom>
            <a:avLst/>
            <a:gdLst>
              <a:gd name="connsiteX0" fmla="*/ 566584 w 12193200"/>
              <a:gd name="connsiteY0" fmla="*/ 549276 h 6858000"/>
              <a:gd name="connsiteX1" fmla="*/ 566584 w 12193200"/>
              <a:gd name="connsiteY1" fmla="*/ 6308726 h 6858000"/>
              <a:gd name="connsiteX2" fmla="*/ 11641138 w 12193200"/>
              <a:gd name="connsiteY2" fmla="*/ 6308726 h 6858000"/>
              <a:gd name="connsiteX3" fmla="*/ 11641138 w 12193200"/>
              <a:gd name="connsiteY3" fmla="*/ 549276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5000"/>
            </a:srgbClr>
          </a:solidFill>
          <a:ln w="9525">
            <a:noFill/>
            <a:miter lim="800000"/>
            <a:headEnd/>
            <a:tailEnd/>
          </a:ln>
        </p:spPr>
        <p:txBody>
          <a:bodyPr vert="horz" wrap="square" lIns="91438" tIns="45719" rIns="91438" bIns="45719" numCol="1" anchor="t" anchorCtr="0" compatLnSpc="1">
            <a:prstTxWarp prst="textNoShape">
              <a:avLst/>
            </a:prstTxWarp>
            <a:noAutofit/>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50" name="Group 49">
            <a:extLst>
              <a:ext uri="{FF2B5EF4-FFF2-40B4-BE49-F238E27FC236}">
                <a16:creationId xmlns:a16="http://schemas.microsoft.com/office/drawing/2014/main" id="{D59B0D14-7DD8-45E2-B968-99300FF0D28D}"/>
              </a:ext>
            </a:extLst>
          </p:cNvPr>
          <p:cNvGrpSpPr/>
          <p:nvPr userDrawn="1"/>
        </p:nvGrpSpPr>
        <p:grpSpPr>
          <a:xfrm>
            <a:off x="-600" y="549275"/>
            <a:ext cx="12193200" cy="5759450"/>
            <a:chOff x="-600" y="549275"/>
            <a:chExt cx="12193200" cy="5759450"/>
          </a:xfrm>
        </p:grpSpPr>
        <p:cxnSp>
          <p:nvCxnSpPr>
            <p:cNvPr id="24" name="Straight Connector 23">
              <a:extLst>
                <a:ext uri="{FF2B5EF4-FFF2-40B4-BE49-F238E27FC236}">
                  <a16:creationId xmlns:a16="http://schemas.microsoft.com/office/drawing/2014/main" id="{EFD9771C-C32F-443B-97DA-AB808B787FCB}"/>
                </a:ext>
              </a:extLst>
            </p:cNvPr>
            <p:cNvCxnSpPr/>
            <p:nvPr/>
          </p:nvCxnSpPr>
          <p:spPr>
            <a:xfrm>
              <a:off x="-600" y="54927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FDCFA-8871-4375-9DD7-4FC5886280A9}"/>
                </a:ext>
              </a:extLst>
            </p:cNvPr>
            <p:cNvCxnSpPr/>
            <p:nvPr/>
          </p:nvCxnSpPr>
          <p:spPr>
            <a:xfrm>
              <a:off x="-600" y="107286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BCC4B7F-FEF1-4EA1-831D-C9AA6F5F064E}"/>
                </a:ext>
              </a:extLst>
            </p:cNvPr>
            <p:cNvCxnSpPr/>
            <p:nvPr/>
          </p:nvCxnSpPr>
          <p:spPr>
            <a:xfrm>
              <a:off x="-600" y="133465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1DCA16-8F73-4630-BDD0-2A70C4A58AB4}"/>
                </a:ext>
              </a:extLst>
            </p:cNvPr>
            <p:cNvCxnSpPr/>
            <p:nvPr/>
          </p:nvCxnSpPr>
          <p:spPr>
            <a:xfrm>
              <a:off x="-600" y="159644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C31EB1-B3A4-46CF-BFA4-063B67EE1C0D}"/>
                </a:ext>
              </a:extLst>
            </p:cNvPr>
            <p:cNvCxnSpPr/>
            <p:nvPr/>
          </p:nvCxnSpPr>
          <p:spPr>
            <a:xfrm>
              <a:off x="-600" y="185824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93E6A85-DDE0-4463-B476-9FA784357023}"/>
                </a:ext>
              </a:extLst>
            </p:cNvPr>
            <p:cNvCxnSpPr/>
            <p:nvPr/>
          </p:nvCxnSpPr>
          <p:spPr>
            <a:xfrm>
              <a:off x="-600" y="212003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A4D7F3C-5BD5-4AC2-88A1-966E801F5AED}"/>
                </a:ext>
              </a:extLst>
            </p:cNvPr>
            <p:cNvCxnSpPr/>
            <p:nvPr/>
          </p:nvCxnSpPr>
          <p:spPr>
            <a:xfrm>
              <a:off x="-600" y="238182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2775BB7-F520-4F81-AF6D-F59D1B76F55E}"/>
                </a:ext>
              </a:extLst>
            </p:cNvPr>
            <p:cNvCxnSpPr/>
            <p:nvPr/>
          </p:nvCxnSpPr>
          <p:spPr>
            <a:xfrm>
              <a:off x="-600" y="264361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CB72474-2AC2-420E-BDB5-E5A722B50684}"/>
                </a:ext>
              </a:extLst>
            </p:cNvPr>
            <p:cNvCxnSpPr/>
            <p:nvPr/>
          </p:nvCxnSpPr>
          <p:spPr>
            <a:xfrm>
              <a:off x="-600" y="290541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7F88338-30AC-49A0-A5C4-EC7BD34E1FA6}"/>
                </a:ext>
              </a:extLst>
            </p:cNvPr>
            <p:cNvCxnSpPr/>
            <p:nvPr/>
          </p:nvCxnSpPr>
          <p:spPr>
            <a:xfrm>
              <a:off x="-600" y="316720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A4A82DD-B8CC-462B-93E9-CBC87352521F}"/>
                </a:ext>
              </a:extLst>
            </p:cNvPr>
            <p:cNvCxnSpPr/>
            <p:nvPr/>
          </p:nvCxnSpPr>
          <p:spPr>
            <a:xfrm>
              <a:off x="-600" y="342899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86DFAD-90A1-4761-A1F6-2CECC9F3CEB8}"/>
                </a:ext>
              </a:extLst>
            </p:cNvPr>
            <p:cNvCxnSpPr/>
            <p:nvPr/>
          </p:nvCxnSpPr>
          <p:spPr>
            <a:xfrm>
              <a:off x="-600" y="369079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73AC16-3E18-48F7-97ED-8B5A48560A3B}"/>
                </a:ext>
              </a:extLst>
            </p:cNvPr>
            <p:cNvCxnSpPr/>
            <p:nvPr/>
          </p:nvCxnSpPr>
          <p:spPr>
            <a:xfrm>
              <a:off x="-600" y="395258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2B4CC9-D426-40F8-825B-C7E1196189B4}"/>
                </a:ext>
              </a:extLst>
            </p:cNvPr>
            <p:cNvCxnSpPr/>
            <p:nvPr/>
          </p:nvCxnSpPr>
          <p:spPr>
            <a:xfrm>
              <a:off x="-600" y="421437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DD5A36E-8435-4B1C-8462-1C956794FC17}"/>
                </a:ext>
              </a:extLst>
            </p:cNvPr>
            <p:cNvCxnSpPr/>
            <p:nvPr/>
          </p:nvCxnSpPr>
          <p:spPr>
            <a:xfrm>
              <a:off x="-600" y="447617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D85A532-653B-4FD3-A2B9-908071F117D2}"/>
                </a:ext>
              </a:extLst>
            </p:cNvPr>
            <p:cNvCxnSpPr/>
            <p:nvPr/>
          </p:nvCxnSpPr>
          <p:spPr>
            <a:xfrm>
              <a:off x="-600" y="473796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E1136A-6637-439F-89A7-D7F878D15199}"/>
                </a:ext>
              </a:extLst>
            </p:cNvPr>
            <p:cNvCxnSpPr/>
            <p:nvPr/>
          </p:nvCxnSpPr>
          <p:spPr>
            <a:xfrm>
              <a:off x="-600" y="499975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A0A4627-9F33-480E-B584-D2625F29AB95}"/>
                </a:ext>
              </a:extLst>
            </p:cNvPr>
            <p:cNvCxnSpPr/>
            <p:nvPr/>
          </p:nvCxnSpPr>
          <p:spPr>
            <a:xfrm>
              <a:off x="-600" y="526154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9037A92-0EC2-4FBA-A847-8D0F6C45AD99}"/>
                </a:ext>
              </a:extLst>
            </p:cNvPr>
            <p:cNvCxnSpPr/>
            <p:nvPr/>
          </p:nvCxnSpPr>
          <p:spPr>
            <a:xfrm>
              <a:off x="-600" y="552334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B45D501-68B8-4FBE-8794-3CDE530B5439}"/>
                </a:ext>
              </a:extLst>
            </p:cNvPr>
            <p:cNvCxnSpPr/>
            <p:nvPr userDrawn="1"/>
          </p:nvCxnSpPr>
          <p:spPr>
            <a:xfrm>
              <a:off x="-600" y="578513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C63DF98-DC31-4B0A-9A94-9B9C493BD0DD}"/>
                </a:ext>
              </a:extLst>
            </p:cNvPr>
            <p:cNvCxnSpPr/>
            <p:nvPr userDrawn="1"/>
          </p:nvCxnSpPr>
          <p:spPr>
            <a:xfrm>
              <a:off x="-600" y="81106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97F595-E8CD-4823-A296-F9B434149D35}"/>
                </a:ext>
              </a:extLst>
            </p:cNvPr>
            <p:cNvCxnSpPr/>
            <p:nvPr userDrawn="1"/>
          </p:nvCxnSpPr>
          <p:spPr>
            <a:xfrm>
              <a:off x="-600" y="630872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767E29-78AA-446B-8F14-50FFE81A75D5}"/>
                </a:ext>
              </a:extLst>
            </p:cNvPr>
            <p:cNvCxnSpPr/>
            <p:nvPr userDrawn="1"/>
          </p:nvCxnSpPr>
          <p:spPr>
            <a:xfrm>
              <a:off x="-600" y="604692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grpSp>
      <p:sp>
        <p:nvSpPr>
          <p:cNvPr id="9" name="Footnote measure">
            <a:extLst>
              <a:ext uri="{FF2B5EF4-FFF2-40B4-BE49-F238E27FC236}">
                <a16:creationId xmlns:a16="http://schemas.microsoft.com/office/drawing/2014/main" id="{FCB67C59-94A5-43D0-98F3-D2DF706BE603}"/>
              </a:ext>
            </a:extLst>
          </p:cNvPr>
          <p:cNvSpPr>
            <a:spLocks noChangeArrowheads="1"/>
          </p:cNvSpPr>
          <p:nvPr userDrawn="1"/>
        </p:nvSpPr>
        <p:spPr bwMode="auto">
          <a:xfrm>
            <a:off x="550264" y="6308722"/>
            <a:ext cx="11090873" cy="261799"/>
          </a:xfrm>
          <a:prstGeom prst="rect">
            <a:avLst/>
          </a:prstGeom>
          <a:solidFill>
            <a:srgbClr val="FF0000">
              <a:alpha val="10000"/>
            </a:srgbClr>
          </a:solidFill>
          <a:ln w="9525">
            <a:noFill/>
            <a:miter lim="800000"/>
            <a:headEnd/>
            <a:tailEnd/>
          </a:ln>
        </p:spPr>
        <p:txBody>
          <a:bodyPr vert="horz" wrap="square" lIns="91438" tIns="45719" rIns="91438" bIns="45719" numCol="1" anchor="t" anchorCtr="0" compatLnSpc="1">
            <a:prstTxWarp prst="textNoShape">
              <a:avLst/>
            </a:prstTxWarp>
            <a:noAutofit/>
          </a:bodyPr>
          <a:lstStyle/>
          <a:p>
            <a:pPr lvl="0"/>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0" name="Whitespace measure">
            <a:extLst>
              <a:ext uri="{FF2B5EF4-FFF2-40B4-BE49-F238E27FC236}">
                <a16:creationId xmlns:a16="http://schemas.microsoft.com/office/drawing/2014/main" id="{B9FA0CC8-4D85-4377-9762-D979C28385FB}"/>
              </a:ext>
            </a:extLst>
          </p:cNvPr>
          <p:cNvSpPr>
            <a:spLocks noChangeArrowheads="1"/>
          </p:cNvSpPr>
          <p:nvPr userDrawn="1"/>
        </p:nvSpPr>
        <p:spPr bwMode="auto">
          <a:xfrm>
            <a:off x="550864" y="1348222"/>
            <a:ext cx="11105556" cy="509202"/>
          </a:xfrm>
          <a:prstGeom prst="rect">
            <a:avLst/>
          </a:prstGeom>
          <a:solidFill>
            <a:srgbClr val="FF0000">
              <a:alpha val="5000"/>
            </a:srgbClr>
          </a:solidFill>
          <a:ln w="9525">
            <a:noFill/>
            <a:miter lim="800000"/>
            <a:headEnd/>
            <a:tailEnd/>
          </a:ln>
        </p:spPr>
        <p:txBody>
          <a:bodyPr vert="horz" wrap="square" lIns="91438" tIns="45719" rIns="91438" bIns="45719" numCol="1" anchor="t" anchorCtr="0" compatLnSpc="1">
            <a:prstTxWarp prst="textNoShape">
              <a:avLst/>
            </a:prstTxWarp>
            <a:noAutofit/>
          </a:bodyPr>
          <a:lstStyle/>
          <a:p>
            <a:pPr lvl="0"/>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1" name="Live area">
            <a:extLst>
              <a:ext uri="{FF2B5EF4-FFF2-40B4-BE49-F238E27FC236}">
                <a16:creationId xmlns:a16="http://schemas.microsoft.com/office/drawing/2014/main" id="{AA787823-C275-4031-9AC7-3513520EE759}"/>
              </a:ext>
            </a:extLst>
          </p:cNvPr>
          <p:cNvSpPr/>
          <p:nvPr userDrawn="1"/>
        </p:nvSpPr>
        <p:spPr>
          <a:xfrm>
            <a:off x="550864" y="2120034"/>
            <a:ext cx="11090275" cy="418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chemeClr val="tx2">
                <a:alpha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12" name="Group 11">
            <a:extLst>
              <a:ext uri="{FF2B5EF4-FFF2-40B4-BE49-F238E27FC236}">
                <a16:creationId xmlns:a16="http://schemas.microsoft.com/office/drawing/2014/main" id="{EF1AA03C-D537-4B50-8AA2-DE2B0859A9E0}"/>
              </a:ext>
            </a:extLst>
          </p:cNvPr>
          <p:cNvGrpSpPr/>
          <p:nvPr userDrawn="1"/>
        </p:nvGrpSpPr>
        <p:grpSpPr>
          <a:xfrm>
            <a:off x="1215339" y="1857423"/>
            <a:ext cx="9763000" cy="4458091"/>
            <a:chOff x="1215339" y="549274"/>
            <a:chExt cx="9763000" cy="5759450"/>
          </a:xfrm>
          <a:solidFill>
            <a:schemeClr val="tx2">
              <a:lumMod val="40000"/>
              <a:lumOff val="60000"/>
              <a:alpha val="10000"/>
            </a:schemeClr>
          </a:solidFill>
        </p:grpSpPr>
        <p:sp>
          <p:nvSpPr>
            <p:cNvPr id="13" name="Rectangle 34">
              <a:extLst>
                <a:ext uri="{FF2B5EF4-FFF2-40B4-BE49-F238E27FC236}">
                  <a16:creationId xmlns:a16="http://schemas.microsoft.com/office/drawing/2014/main" id="{CEBF00D2-4B24-426D-BD4A-087B43FE3715}"/>
                </a:ext>
              </a:extLst>
            </p:cNvPr>
            <p:cNvSpPr>
              <a:spLocks noChangeArrowheads="1"/>
            </p:cNvSpPr>
            <p:nvPr/>
          </p:nvSpPr>
          <p:spPr bwMode="auto">
            <a:xfrm>
              <a:off x="690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35">
              <a:extLst>
                <a:ext uri="{FF2B5EF4-FFF2-40B4-BE49-F238E27FC236}">
                  <a16:creationId xmlns:a16="http://schemas.microsoft.com/office/drawing/2014/main" id="{6BD82B4A-4BB0-4614-B13C-4CFCC7A227D9}"/>
                </a:ext>
              </a:extLst>
            </p:cNvPr>
            <p:cNvSpPr>
              <a:spLocks noChangeArrowheads="1"/>
            </p:cNvSpPr>
            <p:nvPr/>
          </p:nvSpPr>
          <p:spPr bwMode="auto">
            <a:xfrm>
              <a:off x="879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5" name="Rectangle 36">
              <a:extLst>
                <a:ext uri="{FF2B5EF4-FFF2-40B4-BE49-F238E27FC236}">
                  <a16:creationId xmlns:a16="http://schemas.microsoft.com/office/drawing/2014/main" id="{BF9ACD5F-BA8A-4218-BB75-6E90A13EF900}"/>
                </a:ext>
              </a:extLst>
            </p:cNvPr>
            <p:cNvSpPr>
              <a:spLocks noChangeArrowheads="1"/>
            </p:cNvSpPr>
            <p:nvPr/>
          </p:nvSpPr>
          <p:spPr bwMode="auto">
            <a:xfrm>
              <a:off x="784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6" name="Rectangle 37">
              <a:extLst>
                <a:ext uri="{FF2B5EF4-FFF2-40B4-BE49-F238E27FC236}">
                  <a16:creationId xmlns:a16="http://schemas.microsoft.com/office/drawing/2014/main" id="{379A22D2-DA96-41ED-9D9E-1155426DFFBD}"/>
                </a:ext>
              </a:extLst>
            </p:cNvPr>
            <p:cNvSpPr>
              <a:spLocks noChangeArrowheads="1"/>
            </p:cNvSpPr>
            <p:nvPr/>
          </p:nvSpPr>
          <p:spPr bwMode="auto">
            <a:xfrm>
              <a:off x="974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7" name="Rectangle 38">
              <a:extLst>
                <a:ext uri="{FF2B5EF4-FFF2-40B4-BE49-F238E27FC236}">
                  <a16:creationId xmlns:a16="http://schemas.microsoft.com/office/drawing/2014/main" id="{7EF7963D-A1E1-415D-8969-F027A75D12FE}"/>
                </a:ext>
              </a:extLst>
            </p:cNvPr>
            <p:cNvSpPr>
              <a:spLocks noChangeArrowheads="1"/>
            </p:cNvSpPr>
            <p:nvPr/>
          </p:nvSpPr>
          <p:spPr bwMode="auto">
            <a:xfrm>
              <a:off x="1069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8" name="Rectangle 39">
              <a:extLst>
                <a:ext uri="{FF2B5EF4-FFF2-40B4-BE49-F238E27FC236}">
                  <a16:creationId xmlns:a16="http://schemas.microsoft.com/office/drawing/2014/main" id="{BBE34D05-AF10-4FE9-A201-F9E2A8027014}"/>
                </a:ext>
              </a:extLst>
            </p:cNvPr>
            <p:cNvSpPr>
              <a:spLocks noChangeArrowheads="1"/>
            </p:cNvSpPr>
            <p:nvPr/>
          </p:nvSpPr>
          <p:spPr bwMode="auto">
            <a:xfrm>
              <a:off x="5952839" y="549274"/>
              <a:ext cx="288000" cy="5759450"/>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9" name="Rectangle 40">
              <a:extLst>
                <a:ext uri="{FF2B5EF4-FFF2-40B4-BE49-F238E27FC236}">
                  <a16:creationId xmlns:a16="http://schemas.microsoft.com/office/drawing/2014/main" id="{349BF860-A8A0-4AB9-B299-1AF8241953E9}"/>
                </a:ext>
              </a:extLst>
            </p:cNvPr>
            <p:cNvSpPr>
              <a:spLocks noChangeArrowheads="1"/>
            </p:cNvSpPr>
            <p:nvPr/>
          </p:nvSpPr>
          <p:spPr bwMode="auto">
            <a:xfrm>
              <a:off x="121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41">
              <a:extLst>
                <a:ext uri="{FF2B5EF4-FFF2-40B4-BE49-F238E27FC236}">
                  <a16:creationId xmlns:a16="http://schemas.microsoft.com/office/drawing/2014/main" id="{3E2A80A6-61F6-4E58-B43B-059CCD29CD23}"/>
                </a:ext>
              </a:extLst>
            </p:cNvPr>
            <p:cNvSpPr>
              <a:spLocks noChangeArrowheads="1"/>
            </p:cNvSpPr>
            <p:nvPr/>
          </p:nvSpPr>
          <p:spPr bwMode="auto">
            <a:xfrm>
              <a:off x="216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1" name="Rectangle 42">
              <a:extLst>
                <a:ext uri="{FF2B5EF4-FFF2-40B4-BE49-F238E27FC236}">
                  <a16:creationId xmlns:a16="http://schemas.microsoft.com/office/drawing/2014/main" id="{0F927BDE-7613-4A1B-9405-C18A0AA0230E}"/>
                </a:ext>
              </a:extLst>
            </p:cNvPr>
            <p:cNvSpPr>
              <a:spLocks noChangeArrowheads="1"/>
            </p:cNvSpPr>
            <p:nvPr/>
          </p:nvSpPr>
          <p:spPr bwMode="auto">
            <a:xfrm>
              <a:off x="311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2" name="Rectangle 43">
              <a:extLst>
                <a:ext uri="{FF2B5EF4-FFF2-40B4-BE49-F238E27FC236}">
                  <a16:creationId xmlns:a16="http://schemas.microsoft.com/office/drawing/2014/main" id="{9D0BF9DE-3D09-432F-B97F-D68AFE1C7D42}"/>
                </a:ext>
              </a:extLst>
            </p:cNvPr>
            <p:cNvSpPr>
              <a:spLocks noChangeArrowheads="1"/>
            </p:cNvSpPr>
            <p:nvPr/>
          </p:nvSpPr>
          <p:spPr bwMode="auto">
            <a:xfrm>
              <a:off x="405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3" name="Rectangle 44">
              <a:extLst>
                <a:ext uri="{FF2B5EF4-FFF2-40B4-BE49-F238E27FC236}">
                  <a16:creationId xmlns:a16="http://schemas.microsoft.com/office/drawing/2014/main" id="{7807AD9B-3A59-4121-9F68-FB858FD6D2BC}"/>
                </a:ext>
              </a:extLst>
            </p:cNvPr>
            <p:cNvSpPr>
              <a:spLocks noChangeArrowheads="1"/>
            </p:cNvSpPr>
            <p:nvPr/>
          </p:nvSpPr>
          <p:spPr bwMode="auto">
            <a:xfrm>
              <a:off x="500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grpSp>
      <p:sp>
        <p:nvSpPr>
          <p:cNvPr id="47" name="Footnote example">
            <a:extLst>
              <a:ext uri="{FF2B5EF4-FFF2-40B4-BE49-F238E27FC236}">
                <a16:creationId xmlns:a16="http://schemas.microsoft.com/office/drawing/2014/main" id="{DBF27226-1CAE-4EC3-B7C2-CD7BFF212B2F}"/>
              </a:ext>
            </a:extLst>
          </p:cNvPr>
          <p:cNvSpPr txBox="1"/>
          <p:nvPr userDrawn="1"/>
        </p:nvSpPr>
        <p:spPr>
          <a:xfrm>
            <a:off x="550863" y="6310249"/>
            <a:ext cx="9030915" cy="276999"/>
          </a:xfrm>
          <a:prstGeom prst="rect">
            <a:avLst/>
          </a:prstGeom>
          <a:noFill/>
        </p:spPr>
        <p:txBody>
          <a:bodyPr wrap="square" lIns="0" tIns="0" rIns="0" bIns="0" rtlCol="0" anchor="b">
            <a:spAutoFit/>
          </a:bodyPr>
          <a:lstStyle/>
          <a:p>
            <a:pPr marL="0" marR="0" lvl="0" indent="0" algn="l" defTabSz="91440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Footnotes/Notes</a:t>
            </a:r>
          </a:p>
          <a:p>
            <a:pPr marL="0" marR="0" lvl="0" indent="0" algn="l" defTabSz="91440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Source: Include a source here</a:t>
            </a:r>
          </a:p>
        </p:txBody>
      </p:sp>
      <p:sp>
        <p:nvSpPr>
          <p:cNvPr id="5" name="Slide Number Placeholder 4">
            <a:extLst>
              <a:ext uri="{FF2B5EF4-FFF2-40B4-BE49-F238E27FC236}">
                <a16:creationId xmlns:a16="http://schemas.microsoft.com/office/drawing/2014/main" id="{75491C5D-1CCA-4AD2-960D-E2D2520D37E4}"/>
              </a:ext>
            </a:extLst>
          </p:cNvPr>
          <p:cNvSpPr>
            <a:spLocks noGrp="1"/>
          </p:cNvSpPr>
          <p:nvPr userDrawn="1">
            <p:ph type="sldNum" sz="quarter" idx="12"/>
          </p:nvPr>
        </p:nvSpPr>
        <p:spPr>
          <a:xfrm>
            <a:off x="11490154" y="6450226"/>
            <a:ext cx="150682" cy="1538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2547BBBC-05CB-49BC-A9CC-2D869F0C1D2C}" type="slidenum">
              <a:rPr lang="en-IN" smtClean="0"/>
              <a:pPr/>
              <a:t>‹#›</a:t>
            </a:fld>
            <a:endParaRPr lang="en-IN"/>
          </a:p>
        </p:txBody>
      </p:sp>
      <p:grpSp>
        <p:nvGrpSpPr>
          <p:cNvPr id="2" name="Group 1">
            <a:extLst>
              <a:ext uri="{FF2B5EF4-FFF2-40B4-BE49-F238E27FC236}">
                <a16:creationId xmlns:a16="http://schemas.microsoft.com/office/drawing/2014/main" id="{0A5092CC-99B7-42FA-B922-D9A469AA61A3}"/>
              </a:ext>
            </a:extLst>
          </p:cNvPr>
          <p:cNvGrpSpPr/>
          <p:nvPr userDrawn="1"/>
        </p:nvGrpSpPr>
        <p:grpSpPr>
          <a:xfrm>
            <a:off x="550864" y="6156604"/>
            <a:ext cx="11089971" cy="55199"/>
            <a:chOff x="550864" y="6156603"/>
            <a:chExt cx="11089971" cy="55199"/>
          </a:xfrm>
        </p:grpSpPr>
        <p:sp>
          <p:nvSpPr>
            <p:cNvPr id="51" name="Rectangle 50">
              <a:extLst>
                <a:ext uri="{FF2B5EF4-FFF2-40B4-BE49-F238E27FC236}">
                  <a16:creationId xmlns:a16="http://schemas.microsoft.com/office/drawing/2014/main" id="{C7D78F6B-68EA-4677-8270-E6CE44B4A9DC}"/>
                </a:ext>
              </a:extLst>
            </p:cNvPr>
            <p:cNvSpPr/>
            <p:nvPr userDrawn="1"/>
          </p:nvSpPr>
          <p:spPr>
            <a:xfrm>
              <a:off x="550864"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2" name="Rectangle 51">
              <a:extLst>
                <a:ext uri="{FF2B5EF4-FFF2-40B4-BE49-F238E27FC236}">
                  <a16:creationId xmlns:a16="http://schemas.microsoft.com/office/drawing/2014/main" id="{B6E6D155-C668-4620-947B-CD6756DB3E3F}"/>
                </a:ext>
              </a:extLst>
            </p:cNvPr>
            <p:cNvSpPr/>
            <p:nvPr userDrawn="1"/>
          </p:nvSpPr>
          <p:spPr>
            <a:xfrm>
              <a:off x="5104050"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3" name="Rectangle 52">
              <a:extLst>
                <a:ext uri="{FF2B5EF4-FFF2-40B4-BE49-F238E27FC236}">
                  <a16:creationId xmlns:a16="http://schemas.microsoft.com/office/drawing/2014/main" id="{53A33606-AE46-4272-A076-D6F1DEF2BE14}"/>
                </a:ext>
              </a:extLst>
            </p:cNvPr>
            <p:cNvSpPr/>
            <p:nvPr userDrawn="1"/>
          </p:nvSpPr>
          <p:spPr>
            <a:xfrm>
              <a:off x="7380643"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4" name="Rectangle 53">
              <a:extLst>
                <a:ext uri="{FF2B5EF4-FFF2-40B4-BE49-F238E27FC236}">
                  <a16:creationId xmlns:a16="http://schemas.microsoft.com/office/drawing/2014/main" id="{97AF00D4-2C2C-4B64-AC48-30E76E740B68}"/>
                </a:ext>
              </a:extLst>
            </p:cNvPr>
            <p:cNvSpPr/>
            <p:nvPr userDrawn="1"/>
          </p:nvSpPr>
          <p:spPr>
            <a:xfrm>
              <a:off x="9657235"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5" name="Rectangle 54">
              <a:extLst>
                <a:ext uri="{FF2B5EF4-FFF2-40B4-BE49-F238E27FC236}">
                  <a16:creationId xmlns:a16="http://schemas.microsoft.com/office/drawing/2014/main" id="{F53F07A3-100A-4285-8103-25EB4F518B92}"/>
                </a:ext>
              </a:extLst>
            </p:cNvPr>
            <p:cNvSpPr/>
            <p:nvPr userDrawn="1"/>
          </p:nvSpPr>
          <p:spPr>
            <a:xfrm>
              <a:off x="2827457"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grpSp>
        <p:nvGrpSpPr>
          <p:cNvPr id="56" name="Group 55">
            <a:extLst>
              <a:ext uri="{FF2B5EF4-FFF2-40B4-BE49-F238E27FC236}">
                <a16:creationId xmlns:a16="http://schemas.microsoft.com/office/drawing/2014/main" id="{9C3F2152-358B-4AF4-9E4C-FFC021458588}"/>
              </a:ext>
            </a:extLst>
          </p:cNvPr>
          <p:cNvGrpSpPr/>
          <p:nvPr userDrawn="1"/>
        </p:nvGrpSpPr>
        <p:grpSpPr>
          <a:xfrm>
            <a:off x="11979364" y="4535495"/>
            <a:ext cx="110800" cy="2041949"/>
            <a:chOff x="11979441" y="4535494"/>
            <a:chExt cx="110801" cy="2041949"/>
          </a:xfrm>
        </p:grpSpPr>
        <p:grpSp>
          <p:nvGrpSpPr>
            <p:cNvPr id="57" name="Group 56">
              <a:extLst>
                <a:ext uri="{FF2B5EF4-FFF2-40B4-BE49-F238E27FC236}">
                  <a16:creationId xmlns:a16="http://schemas.microsoft.com/office/drawing/2014/main" id="{0EE3E2D1-AA6B-4858-AEA5-CA4E153942A1}"/>
                </a:ext>
              </a:extLst>
            </p:cNvPr>
            <p:cNvGrpSpPr/>
            <p:nvPr userDrawn="1"/>
          </p:nvGrpSpPr>
          <p:grpSpPr>
            <a:xfrm>
              <a:off x="11998460" y="6135518"/>
              <a:ext cx="68500" cy="441924"/>
              <a:chOff x="11998459" y="6162188"/>
              <a:chExt cx="68500" cy="441924"/>
            </a:xfrm>
          </p:grpSpPr>
          <p:sp>
            <p:nvSpPr>
              <p:cNvPr id="60" name="Freeform: Shape 59">
                <a:extLst>
                  <a:ext uri="{FF2B5EF4-FFF2-40B4-BE49-F238E27FC236}">
                    <a16:creationId xmlns:a16="http://schemas.microsoft.com/office/drawing/2014/main" id="{8F01DC23-2710-4E23-8ECF-D42A01049798}"/>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1" name="Freeform: Shape 60">
                <a:extLst>
                  <a:ext uri="{FF2B5EF4-FFF2-40B4-BE49-F238E27FC236}">
                    <a16:creationId xmlns:a16="http://schemas.microsoft.com/office/drawing/2014/main" id="{625F897C-F6DC-43F6-83A9-103566BB7B1A}"/>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2" name="Freeform: Shape 61">
                <a:extLst>
                  <a:ext uri="{FF2B5EF4-FFF2-40B4-BE49-F238E27FC236}">
                    <a16:creationId xmlns:a16="http://schemas.microsoft.com/office/drawing/2014/main" id="{297483D6-4F68-4046-9938-3975F46B128B}"/>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3" name="Freeform: Shape 62">
                <a:extLst>
                  <a:ext uri="{FF2B5EF4-FFF2-40B4-BE49-F238E27FC236}">
                    <a16:creationId xmlns:a16="http://schemas.microsoft.com/office/drawing/2014/main" id="{60260B8F-626E-4F6C-82D6-73BBB93D898A}"/>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4" name="Freeform: Shape 63">
                <a:extLst>
                  <a:ext uri="{FF2B5EF4-FFF2-40B4-BE49-F238E27FC236}">
                    <a16:creationId xmlns:a16="http://schemas.microsoft.com/office/drawing/2014/main" id="{C8041FBB-4E11-4186-939C-922BB885CE7F}"/>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5" name="Freeform: Shape 64">
                <a:extLst>
                  <a:ext uri="{FF2B5EF4-FFF2-40B4-BE49-F238E27FC236}">
                    <a16:creationId xmlns:a16="http://schemas.microsoft.com/office/drawing/2014/main" id="{9B9D46F4-06A5-41BD-A370-19C37CA28B5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6" name="Freeform: Shape 65">
                <a:extLst>
                  <a:ext uri="{FF2B5EF4-FFF2-40B4-BE49-F238E27FC236}">
                    <a16:creationId xmlns:a16="http://schemas.microsoft.com/office/drawing/2014/main" id="{B4380E05-CB91-42D7-A593-68D7E79B69EF}"/>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7" name="Freeform: Shape 66">
                <a:extLst>
                  <a:ext uri="{FF2B5EF4-FFF2-40B4-BE49-F238E27FC236}">
                    <a16:creationId xmlns:a16="http://schemas.microsoft.com/office/drawing/2014/main" id="{0D399139-04A8-4906-A0E9-F32ED37B1DB5}"/>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8" name="Freeform: Shape 67">
                <a:extLst>
                  <a:ext uri="{FF2B5EF4-FFF2-40B4-BE49-F238E27FC236}">
                    <a16:creationId xmlns:a16="http://schemas.microsoft.com/office/drawing/2014/main" id="{5E2C3744-960D-4FE8-A425-0A1BCCBFDCE3}"/>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9" name="Freeform: Shape 68">
                <a:extLst>
                  <a:ext uri="{FF2B5EF4-FFF2-40B4-BE49-F238E27FC236}">
                    <a16:creationId xmlns:a16="http://schemas.microsoft.com/office/drawing/2014/main" id="{4656CA51-5E36-4B65-AAB5-604B2FFF1CA6}"/>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0" name="Freeform: Shape 69">
                <a:extLst>
                  <a:ext uri="{FF2B5EF4-FFF2-40B4-BE49-F238E27FC236}">
                    <a16:creationId xmlns:a16="http://schemas.microsoft.com/office/drawing/2014/main" id="{0BEF9EA6-DC0A-4745-950A-75EB35C11A83}"/>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1" name="Freeform: Shape 70">
                <a:extLst>
                  <a:ext uri="{FF2B5EF4-FFF2-40B4-BE49-F238E27FC236}">
                    <a16:creationId xmlns:a16="http://schemas.microsoft.com/office/drawing/2014/main" id="{C185182D-9507-4706-B5C3-7D60904B8C4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2" name="Freeform: Shape 71">
                <a:extLst>
                  <a:ext uri="{FF2B5EF4-FFF2-40B4-BE49-F238E27FC236}">
                    <a16:creationId xmlns:a16="http://schemas.microsoft.com/office/drawing/2014/main" id="{DC967172-2751-4E17-ACEB-B9AC16A1C8EE}"/>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58" name="Graphic 57">
              <a:extLst>
                <a:ext uri="{FF2B5EF4-FFF2-40B4-BE49-F238E27FC236}">
                  <a16:creationId xmlns:a16="http://schemas.microsoft.com/office/drawing/2014/main" id="{B1C13260-A832-4897-8C2A-B004FA9AB53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11811888" y="6322371"/>
              <a:ext cx="441438" cy="68706"/>
            </a:xfrm>
            <a:prstGeom prst="rect">
              <a:avLst/>
            </a:prstGeom>
          </p:spPr>
        </p:pic>
        <p:sp>
          <p:nvSpPr>
            <p:cNvPr id="59" name="Copyright">
              <a:extLst>
                <a:ext uri="{FF2B5EF4-FFF2-40B4-BE49-F238E27FC236}">
                  <a16:creationId xmlns:a16="http://schemas.microsoft.com/office/drawing/2014/main" id="{4E29D673-EFE2-4CE9-96D3-54B928054039}"/>
                </a:ext>
              </a:extLst>
            </p:cNvPr>
            <p:cNvSpPr txBox="1"/>
            <p:nvPr userDrawn="1"/>
          </p:nvSpPr>
          <p:spPr>
            <a:xfrm rot="16200000">
              <a:off x="11250973" y="5263962"/>
              <a:ext cx="1567737"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
        <p:nvSpPr>
          <p:cNvPr id="4" name="Title 3">
            <a:extLst>
              <a:ext uri="{FF2B5EF4-FFF2-40B4-BE49-F238E27FC236}">
                <a16:creationId xmlns:a16="http://schemas.microsoft.com/office/drawing/2014/main" id="{9679ACBB-550D-47A2-9ADD-A6C09F32A2FB}"/>
              </a:ext>
            </a:extLst>
          </p:cNvPr>
          <p:cNvSpPr>
            <a:spLocks noGrp="1"/>
          </p:cNvSpPr>
          <p:nvPr>
            <p:ph type="title"/>
          </p:nvPr>
        </p:nvSpPr>
        <p:spPr>
          <a:xfrm>
            <a:off x="531814" y="560589"/>
            <a:ext cx="11089972" cy="443187"/>
          </a:xfrm>
        </p:spPr>
        <p:txBody>
          <a:bodyPr vert="horz"/>
          <a:lstStyle/>
          <a:p>
            <a:r>
              <a:rPr lang="en-US"/>
              <a:t>Click to edit Master title style</a:t>
            </a:r>
            <a:endParaRPr lang="en-IN"/>
          </a:p>
        </p:txBody>
      </p:sp>
      <p:cxnSp>
        <p:nvCxnSpPr>
          <p:cNvPr id="73" name="Straight Connector 72">
            <a:extLst>
              <a:ext uri="{FF2B5EF4-FFF2-40B4-BE49-F238E27FC236}">
                <a16:creationId xmlns:a16="http://schemas.microsoft.com/office/drawing/2014/main" id="{DA9FA602-B0B9-4981-B1E1-9FFC8BD86320}"/>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240518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matchingName="Blue Layout" preserve="1">
  <p:cSld name="Blue Layout">
    <p:spTree>
      <p:nvGrpSpPr>
        <p:cNvPr id="1" name="Shape 48"/>
        <p:cNvGrpSpPr/>
        <p:nvPr/>
      </p:nvGrpSpPr>
      <p:grpSpPr>
        <a:xfrm>
          <a:off x="0" y="0"/>
          <a:ext cx="0" cy="0"/>
          <a:chOff x="0" y="0"/>
          <a:chExt cx="0" cy="0"/>
        </a:xfrm>
      </p:grpSpPr>
      <p:sp>
        <p:nvSpPr>
          <p:cNvPr id="49" name="Google Shape;49;p83"/>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50" name="Google Shape;50;p83"/>
          <p:cNvGrpSpPr/>
          <p:nvPr/>
        </p:nvGrpSpPr>
        <p:grpSpPr>
          <a:xfrm>
            <a:off x="11998459" y="6162189"/>
            <a:ext cx="68500" cy="441925"/>
            <a:chOff x="11998459" y="6162188"/>
            <a:chExt cx="68500" cy="441925"/>
          </a:xfrm>
        </p:grpSpPr>
        <p:sp>
          <p:nvSpPr>
            <p:cNvPr id="51" name="Google Shape;51;p83"/>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2" name="Google Shape;52;p83"/>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3" name="Google Shape;53;p83"/>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4" name="Google Shape;54;p83"/>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55;p83"/>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56;p83"/>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7" name="Google Shape;57;p83"/>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8" name="Google Shape;58;p83"/>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9" name="Google Shape;59;p83"/>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 name="Google Shape;60;p83"/>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1" name="Google Shape;61;p83"/>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2" name="Google Shape;62;p83"/>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3" name="Google Shape;63;p83"/>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64" name="Google Shape;64;p83"/>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dirty="0">
                <a:solidFill>
                  <a:schemeClr val="lt1"/>
                </a:solidFill>
                <a:latin typeface="Calibri"/>
                <a:ea typeface="Calibri"/>
                <a:cs typeface="Calibri"/>
                <a:sym typeface="Calibri"/>
              </a:rPr>
              <a:t>Copyright © 2023. All rights reserved.</a:t>
            </a:r>
            <a:endParaRPr sz="1400" dirty="0"/>
          </a:p>
        </p:txBody>
      </p:sp>
      <p:sp>
        <p:nvSpPr>
          <p:cNvPr id="65" name="Google Shape;65;p83"/>
          <p:cNvSpPr txBox="1">
            <a:spLocks noGrp="1"/>
          </p:cNvSpPr>
          <p:nvPr>
            <p:ph type="ftr" idx="11"/>
          </p:nvPr>
        </p:nvSpPr>
        <p:spPr>
          <a:xfrm>
            <a:off x="550863" y="6429937"/>
            <a:ext cx="955390" cy="153856"/>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83"/>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24789629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68586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 t="-4" r="-1" b="-4"/>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80270E3B-760C-41F0-B9D6-A2E014047679}"/>
              </a:ext>
            </a:extLst>
          </p:cNvPr>
          <p:cNvSpPr/>
          <p:nvPr userDrawn="1"/>
        </p:nvSpPr>
        <p:spPr>
          <a:xfrm>
            <a:off x="536448"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8" y="1844676"/>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51297"/>
            <a:ext cx="5478239" cy="1246495"/>
          </a:xfrm>
        </p:spPr>
        <p:txBody>
          <a:bodyPr vert="horz" wrap="square" lIns="0" tIns="0" rIns="0" bIns="0" rtlCol="0" anchor="b">
            <a:spAutoFit/>
          </a:bodyPr>
          <a:lstStyle>
            <a:lvl1pPr>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478239" cy="292388"/>
          </a:xfrm>
        </p:spPr>
        <p:txBody>
          <a:bodyPr vert="horz" wrap="square" lIns="0" tIns="0" rIns="0" bIns="0" rtlCol="0" anchor="t">
            <a:spAutoFit/>
          </a:bodyPr>
          <a:lstStyle>
            <a:lvl1pPr>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lvl="0" indent="-228600"/>
            <a:r>
              <a:rPr lang="en-US" dirty="0"/>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1582738" cy="193899"/>
          </a:xfrm>
          <a:prstGeom prst="rect">
            <a:avLst/>
          </a:prstGeom>
        </p:spPr>
        <p:txBody>
          <a:bodyPr vert="horz" wrap="square" lIns="0" tIns="0" rIns="0" bIns="0" rtlCol="0" anchor="t">
            <a:spAutoFit/>
          </a:bodyPr>
          <a:lstStyle>
            <a:lvl1pPr>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BF5158EB-C08E-40B8-8ED0-962C0F6BA21C}" type="datetime4">
              <a:rPr lang="en-US" smtClean="0"/>
              <a:t>July 6, 2023</a:t>
            </a:fld>
            <a:endParaRPr lang="en-IN" dirty="0"/>
          </a:p>
        </p:txBody>
      </p:sp>
      <p:pic>
        <p:nvPicPr>
          <p:cNvPr id="28" name="Graphic 27">
            <a:extLst>
              <a:ext uri="{FF2B5EF4-FFF2-40B4-BE49-F238E27FC236}">
                <a16:creationId xmlns:a16="http://schemas.microsoft.com/office/drawing/2014/main" id="{D71087DA-5BA8-41BD-999A-2C7F15FF360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02896" y="450469"/>
            <a:ext cx="2497452" cy="574280"/>
          </a:xfrm>
          <a:prstGeom prst="rect">
            <a:avLst/>
          </a:prstGeom>
        </p:spPr>
      </p:pic>
    </p:spTree>
    <p:extLst>
      <p:ext uri="{BB962C8B-B14F-4D97-AF65-F5344CB8AC3E}">
        <p14:creationId xmlns:p14="http://schemas.microsoft.com/office/powerpoint/2010/main" val="13869377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1_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751323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FBC274A-4D13-36BA-81DC-556B9740C81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515" t="9091" r="1515" b="9091"/>
          <a:stretch/>
        </p:blipFill>
        <p:spPr>
          <a:xfrm>
            <a:off x="0" y="0"/>
            <a:ext cx="12192000" cy="6858000"/>
          </a:xfrm>
          <a:prstGeom prst="rect">
            <a:avLst/>
          </a:prstGeom>
        </p:spPr>
      </p:pic>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13" name="Rectangle 12">
            <a:extLst>
              <a:ext uri="{FF2B5EF4-FFF2-40B4-BE49-F238E27FC236}">
                <a16:creationId xmlns:a16="http://schemas.microsoft.com/office/drawing/2014/main" id="{80270E3B-760C-41F0-B9D6-A2E014047679}"/>
              </a:ext>
            </a:extLst>
          </p:cNvPr>
          <p:cNvSpPr/>
          <p:nvPr userDrawn="1"/>
        </p:nvSpPr>
        <p:spPr>
          <a:xfrm>
            <a:off x="536448"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8" y="1844676"/>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51297"/>
            <a:ext cx="5478239" cy="1246495"/>
          </a:xfrm>
        </p:spPr>
        <p:txBody>
          <a:bodyPr vert="horz" wrap="square" lIns="0" tIns="0" rIns="0" bIns="0" rtlCol="0" anchor="b">
            <a:spAutoFit/>
          </a:bodyPr>
          <a:lstStyle>
            <a:lvl1pPr>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478239" cy="292388"/>
          </a:xfrm>
        </p:spPr>
        <p:txBody>
          <a:bodyPr vert="horz" wrap="square" lIns="0" tIns="0" rIns="0" bIns="0" rtlCol="0" anchor="t">
            <a:spAutoFit/>
          </a:bodyPr>
          <a:lstStyle>
            <a:lvl1pPr>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lvl="0" indent="-228600"/>
            <a:r>
              <a:rPr lang="en-US" dirty="0"/>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1582738" cy="193899"/>
          </a:xfrm>
          <a:prstGeom prst="rect">
            <a:avLst/>
          </a:prstGeom>
        </p:spPr>
        <p:txBody>
          <a:bodyPr vert="horz" wrap="square" lIns="0" tIns="0" rIns="0" bIns="0" rtlCol="0" anchor="t">
            <a:spAutoFit/>
          </a:bodyPr>
          <a:lstStyle>
            <a:lvl1pPr>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BF5158EB-C08E-40B8-8ED0-962C0F6BA21C}" type="datetime4">
              <a:rPr lang="en-US" smtClean="0"/>
              <a:t>July 6, 2023</a:t>
            </a:fld>
            <a:endParaRPr lang="en-IN" dirty="0"/>
          </a:p>
        </p:txBody>
      </p:sp>
      <p:pic>
        <p:nvPicPr>
          <p:cNvPr id="28" name="Graphic 27">
            <a:extLst>
              <a:ext uri="{FF2B5EF4-FFF2-40B4-BE49-F238E27FC236}">
                <a16:creationId xmlns:a16="http://schemas.microsoft.com/office/drawing/2014/main" id="{D71087DA-5BA8-41BD-999A-2C7F15FF360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02896" y="450469"/>
            <a:ext cx="2497452" cy="574280"/>
          </a:xfrm>
          <a:prstGeom prst="rect">
            <a:avLst/>
          </a:prstGeom>
        </p:spPr>
      </p:pic>
    </p:spTree>
    <p:extLst>
      <p:ext uri="{BB962C8B-B14F-4D97-AF65-F5344CB8AC3E}">
        <p14:creationId xmlns:p14="http://schemas.microsoft.com/office/powerpoint/2010/main" val="98515479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Option 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366131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4A727BF-EF41-4850-A868-11C0325A6C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8" name="Picture 7" descr="A large body of water with a city in the background&#10;&#10;Description automatically generated">
            <a:extLst>
              <a:ext uri="{FF2B5EF4-FFF2-40B4-BE49-F238E27FC236}">
                <a16:creationId xmlns:a16="http://schemas.microsoft.com/office/drawing/2014/main" id="{A415120D-3668-49C1-AE11-A5139E17FB7D}"/>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214" t="3933" r="2214" b="3933"/>
          <a:stretch/>
        </p:blipFill>
        <p:spPr>
          <a:xfrm>
            <a:off x="269998" y="270000"/>
            <a:ext cx="11652001" cy="6318000"/>
          </a:xfrm>
          <a:prstGeom prst="rect">
            <a:avLst/>
          </a:prstGeom>
        </p:spPr>
      </p:pic>
      <p:sp>
        <p:nvSpPr>
          <p:cNvPr id="13" name="Rectangle 12">
            <a:extLst>
              <a:ext uri="{FF2B5EF4-FFF2-40B4-BE49-F238E27FC236}">
                <a16:creationId xmlns:a16="http://schemas.microsoft.com/office/drawing/2014/main" id="{7BE857BB-5DDF-4AEA-8F22-D5F9820E5C07}"/>
              </a:ext>
            </a:extLst>
          </p:cNvPr>
          <p:cNvSpPr/>
          <p:nvPr userDrawn="1"/>
        </p:nvSpPr>
        <p:spPr>
          <a:xfrm>
            <a:off x="536448" y="540000"/>
            <a:ext cx="6363891" cy="631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66686"/>
            <a:ext cx="5337943"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337943"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1582738" cy="193899"/>
          </a:xfrm>
          <a:prstGeom prst="rect">
            <a:avLst/>
          </a:prstGeom>
        </p:spPr>
        <p:txBody>
          <a:bodyPr vert="horz" wrap="squar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C285226A-F240-4F22-9D48-062E79258A8D}" type="datetime4">
              <a:rPr lang="en-US" smtClean="0"/>
              <a:t>July 6, 2023</a:t>
            </a:fld>
            <a:endParaRPr lang="en-IN"/>
          </a:p>
        </p:txBody>
      </p:sp>
      <p:pic>
        <p:nvPicPr>
          <p:cNvPr id="25" name="Graphic 24">
            <a:extLst>
              <a:ext uri="{FF2B5EF4-FFF2-40B4-BE49-F238E27FC236}">
                <a16:creationId xmlns:a16="http://schemas.microsoft.com/office/drawing/2014/main" id="{D16DBE00-5C8F-4D3E-95EE-B4530AF96EC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02896" y="901732"/>
            <a:ext cx="2497452" cy="574280"/>
          </a:xfrm>
          <a:prstGeom prst="rect">
            <a:avLst/>
          </a:prstGeom>
        </p:spPr>
      </p:pic>
    </p:spTree>
    <p:extLst>
      <p:ext uri="{BB962C8B-B14F-4D97-AF65-F5344CB8AC3E}">
        <p14:creationId xmlns:p14="http://schemas.microsoft.com/office/powerpoint/2010/main" val="322166763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Title Slide (Option 3)">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62275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A98921F6-A000-8F91-53FA-16D8214F86FB}"/>
              </a:ext>
            </a:extLst>
          </p:cNvPr>
          <p:cNvPicPr>
            <a:picLocks noChangeAspect="1"/>
          </p:cNvPicPr>
          <p:nvPr userDrawn="1"/>
        </p:nvPicPr>
        <p:blipFill>
          <a:blip r:embed="rId6"/>
          <a:stretch>
            <a:fillRect/>
          </a:stretch>
        </p:blipFill>
        <p:spPr>
          <a:xfrm>
            <a:off x="548640" y="548640"/>
            <a:ext cx="11094720" cy="5760720"/>
          </a:xfrm>
          <a:prstGeom prst="rect">
            <a:avLst/>
          </a:prstGeom>
        </p:spPr>
      </p:pic>
      <p:sp>
        <p:nvSpPr>
          <p:cNvPr id="5" name="Rectangle 4" hidden="1">
            <a:extLst>
              <a:ext uri="{FF2B5EF4-FFF2-40B4-BE49-F238E27FC236}">
                <a16:creationId xmlns:a16="http://schemas.microsoft.com/office/drawing/2014/main" id="{2C3BFC25-365A-4293-AFC3-06979C33ED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12" name="Rectangle 11">
            <a:extLst>
              <a:ext uri="{FF2B5EF4-FFF2-40B4-BE49-F238E27FC236}">
                <a16:creationId xmlns:a16="http://schemas.microsoft.com/office/drawing/2014/main" id="{EA92DE9B-D3C3-4D9E-909D-59D0ACABEB18}"/>
              </a:ext>
            </a:extLst>
          </p:cNvPr>
          <p:cNvSpPr/>
          <p:nvPr userDrawn="1"/>
        </p:nvSpPr>
        <p:spPr>
          <a:xfrm>
            <a:off x="1083553" y="1080000"/>
            <a:ext cx="5816186" cy="577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1631950" y="5923689"/>
            <a:ext cx="1582738" cy="193899"/>
          </a:xfrm>
          <a:prstGeom prst="rect">
            <a:avLst/>
          </a:prstGeom>
        </p:spPr>
        <p:txBody>
          <a:bodyPr vert="horz" wrap="squar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425B1E3C-CBF3-4E33-9039-AA4134BA46E5}" type="datetime4">
              <a:rPr lang="en-US" smtClean="0"/>
              <a:t>July 6, 2023</a:t>
            </a:fld>
            <a:endParaRPr lang="en-IN"/>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1631951" y="3610939"/>
            <a:ext cx="4799330"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1631951" y="4892832"/>
            <a:ext cx="4799330"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endParaRPr lang="en-IN" dirty="0"/>
          </a:p>
        </p:txBody>
      </p:sp>
      <p:pic>
        <p:nvPicPr>
          <p:cNvPr id="6" name="Graphic 5">
            <a:extLst>
              <a:ext uri="{FF2B5EF4-FFF2-40B4-BE49-F238E27FC236}">
                <a16:creationId xmlns:a16="http://schemas.microsoft.com/office/drawing/2014/main" id="{060056F6-B441-69D5-F6F9-8D2E1862D12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31954" y="1603956"/>
            <a:ext cx="2497448" cy="574280"/>
          </a:xfrm>
          <a:prstGeom prst="rect">
            <a:avLst/>
          </a:prstGeom>
        </p:spPr>
      </p:pic>
    </p:spTree>
    <p:extLst>
      <p:ext uri="{BB962C8B-B14F-4D97-AF65-F5344CB8AC3E}">
        <p14:creationId xmlns:p14="http://schemas.microsoft.com/office/powerpoint/2010/main" val="12182301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itle" preserve="1">
  <p:cSld name="Title Slide (Option 4)">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226349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14727E-8174-4A53-8CD1-66A25E0EEAA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 t="15627" r="-1" b="6561"/>
          <a:stretch/>
        </p:blipFill>
        <p:spPr>
          <a:xfrm>
            <a:off x="0" y="1522048"/>
            <a:ext cx="12192000" cy="5335952"/>
          </a:xfrm>
          <a:prstGeom prst="rect">
            <a:avLst/>
          </a:prstGeom>
        </p:spPr>
      </p:pic>
      <p:sp>
        <p:nvSpPr>
          <p:cNvPr id="14" name="Rectangle 13">
            <a:extLst>
              <a:ext uri="{FF2B5EF4-FFF2-40B4-BE49-F238E27FC236}">
                <a16:creationId xmlns:a16="http://schemas.microsoft.com/office/drawing/2014/main" id="{A3F336B7-5196-4F00-B83A-3DCD314992C8}"/>
              </a:ext>
            </a:extLst>
          </p:cNvPr>
          <p:cNvSpPr/>
          <p:nvPr userDrawn="1"/>
        </p:nvSpPr>
        <p:spPr>
          <a:xfrm>
            <a:off x="536448" y="0"/>
            <a:ext cx="6363291" cy="6308726"/>
          </a:xfrm>
          <a:prstGeom prst="rect">
            <a:avLst/>
          </a:prstGeom>
          <a:gradFill flip="none" rotWithShape="1">
            <a:gsLst>
              <a:gs pos="0">
                <a:schemeClr val="tx2">
                  <a:lumMod val="50000"/>
                </a:schemeClr>
              </a:gs>
              <a:gs pos="39000">
                <a:schemeClr val="tx2">
                  <a:lumMod val="75000"/>
                  <a:alpha val="95000"/>
                </a:schemeClr>
              </a:gs>
              <a:gs pos="7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66686"/>
            <a:ext cx="5478239"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478239"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0" lvl="0" indent="-228600"/>
            <a:r>
              <a:rPr lang="en-US" dirty="0"/>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89"/>
            <a:ext cx="1582738" cy="193899"/>
          </a:xfrm>
          <a:prstGeom prst="rect">
            <a:avLst/>
          </a:prstGeom>
        </p:spPr>
        <p:txBody>
          <a:bodyPr vert="horz" wrap="squar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0" indent="-228600">
              <a:lnSpc>
                <a:spcPct val="90000"/>
              </a:lnSpc>
              <a:spcBef>
                <a:spcPts val="1000"/>
              </a:spcBef>
              <a:buFont typeface="Arial" panose="020B0604020202020204" pitchFamily="34" charset="0"/>
              <a:buNone/>
            </a:pPr>
            <a:fld id="{5218EABF-8BCD-4101-9C44-C141C5781D21}" type="datetime4">
              <a:rPr lang="en-US" smtClean="0"/>
              <a:t>July 6, 2023</a:t>
            </a:fld>
            <a:endParaRPr lang="en-IN"/>
          </a:p>
        </p:txBody>
      </p:sp>
      <p:pic>
        <p:nvPicPr>
          <p:cNvPr id="20" name="Graphic 19">
            <a:extLst>
              <a:ext uri="{FF2B5EF4-FFF2-40B4-BE49-F238E27FC236}">
                <a16:creationId xmlns:a16="http://schemas.microsoft.com/office/drawing/2014/main" id="{ABA95242-2DBA-46CA-863F-2946BC7666A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4010" y="450470"/>
            <a:ext cx="2705350" cy="622086"/>
          </a:xfrm>
          <a:prstGeom prst="rect">
            <a:avLst/>
          </a:prstGeom>
        </p:spPr>
      </p:pic>
    </p:spTree>
    <p:extLst>
      <p:ext uri="{BB962C8B-B14F-4D97-AF65-F5344CB8AC3E}">
        <p14:creationId xmlns:p14="http://schemas.microsoft.com/office/powerpoint/2010/main" val="108013537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Subtitle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EE13-6A4D-48C2-A4B1-30DA07094AC2}"/>
              </a:ext>
            </a:extLst>
          </p:cNvPr>
          <p:cNvGraphicFramePr>
            <a:graphicFrameLocks noChangeAspect="1"/>
          </p:cNvGraphicFramePr>
          <p:nvPr userDrawn="1">
            <p:custDataLst>
              <p:tags r:id="rId1"/>
            </p:custDataLst>
            <p:extLst>
              <p:ext uri="{D42A27DB-BD31-4B8C-83A1-F6EECF244321}">
                <p14:modId xmlns:p14="http://schemas.microsoft.com/office/powerpoint/2010/main" val="3052300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7215EE13-6A4D-48C2-A4B1-30DA07094A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A374107-D284-43FC-B1C8-16D4730570E9}"/>
              </a:ext>
            </a:extLst>
          </p:cNvPr>
          <p:cNvSpPr>
            <a:spLocks noGrp="1"/>
          </p:cNvSpPr>
          <p:nvPr>
            <p:ph type="ftr" sz="quarter" idx="11"/>
          </p:nvPr>
        </p:nvSpPr>
        <p:spPr>
          <a:xfrm>
            <a:off x="550862" y="6465614"/>
            <a:ext cx="955390" cy="138499"/>
          </a:xfrm>
          <a:noFill/>
        </p:spPr>
        <p:txBody>
          <a:bodyPr wrap="none" lIns="0" tIns="0" rIns="0" bIns="0" rtlCol="0" anchor="b">
            <a:spAutoFit/>
          </a:bodyPr>
          <a:lstStyle>
            <a:lvl1pPr>
              <a:defRPr lang="en-US" smtClean="0">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
        <p:nvSpPr>
          <p:cNvPr id="5" name="Slide Number Placeholder 4">
            <a:extLst>
              <a:ext uri="{FF2B5EF4-FFF2-40B4-BE49-F238E27FC236}">
                <a16:creationId xmlns:a16="http://schemas.microsoft.com/office/drawing/2014/main" id="{1A089CAE-6B9C-4764-B552-4C492F022EB6}"/>
              </a:ext>
            </a:extLst>
          </p:cNvPr>
          <p:cNvSpPr>
            <a:spLocks noGrp="1"/>
          </p:cNvSpPr>
          <p:nvPr>
            <p:ph type="sldNum" sz="quarter" idx="12"/>
          </p:nvPr>
        </p:nvSpPr>
        <p:spPr>
          <a:xfrm>
            <a:off x="11490153" y="6450225"/>
            <a:ext cx="150682" cy="1538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2547BBBC-05CB-49BC-A9CC-2D869F0C1D2C}" type="slidenum">
              <a:rPr lang="en-IN" smtClean="0"/>
              <a:pPr/>
              <a:t>‹#›</a:t>
            </a:fld>
            <a:endParaRPr lang="en-IN"/>
          </a:p>
        </p:txBody>
      </p:sp>
      <p:sp>
        <p:nvSpPr>
          <p:cNvPr id="7" name="Title 6">
            <a:extLst>
              <a:ext uri="{FF2B5EF4-FFF2-40B4-BE49-F238E27FC236}">
                <a16:creationId xmlns:a16="http://schemas.microsoft.com/office/drawing/2014/main" id="{863ADCA1-24FF-455B-8752-27019761817C}"/>
              </a:ext>
            </a:extLst>
          </p:cNvPr>
          <p:cNvSpPr>
            <a:spLocks noGrp="1"/>
          </p:cNvSpPr>
          <p:nvPr>
            <p:ph type="title"/>
          </p:nvPr>
        </p:nvSpPr>
        <p:spPr/>
        <p:txBody>
          <a:bodyPr vert="horz" wrap="square" lIns="0" tIns="0" rIns="0" bIns="0" rtlCol="0" anchor="t">
            <a:spAutoFit/>
          </a:bodyPr>
          <a:lstStyle>
            <a:lvl1pPr>
              <a:defRPr lang="en-IN" dirty="0">
                <a:latin typeface="Franklin Gothic Demi" panose="020B0703020102020204" pitchFamily="34" charset="0"/>
                <a:cs typeface="Calibri" panose="020F0502020204030204" pitchFamily="34" charset="0"/>
                <a:sym typeface="Calibri" panose="020F0502020204030204" pitchFamily="34" charset="0"/>
              </a:defRPr>
            </a:lvl1pPr>
          </a:lstStyle>
          <a:p>
            <a:pPr lvl="0">
              <a:lnSpc>
                <a:spcPct val="85000"/>
              </a:lnSpc>
            </a:pPr>
            <a:r>
              <a:rPr lang="en-US" dirty="0"/>
              <a:t>Click to edit Master title style</a:t>
            </a:r>
            <a:endParaRPr lang="en-IN" dirty="0"/>
          </a:p>
        </p:txBody>
      </p:sp>
      <p:sp>
        <p:nvSpPr>
          <p:cNvPr id="10" name="Text Placeholder 9">
            <a:extLst>
              <a:ext uri="{FF2B5EF4-FFF2-40B4-BE49-F238E27FC236}">
                <a16:creationId xmlns:a16="http://schemas.microsoft.com/office/drawing/2014/main" id="{B7DA5DEC-E51B-46CB-9299-877852868261}"/>
              </a:ext>
            </a:extLst>
          </p:cNvPr>
          <p:cNvSpPr>
            <a:spLocks noGrp="1"/>
          </p:cNvSpPr>
          <p:nvPr>
            <p:ph type="body" sz="quarter" idx="13"/>
          </p:nvPr>
        </p:nvSpPr>
        <p:spPr>
          <a:xfrm>
            <a:off x="550862" y="1028324"/>
            <a:ext cx="11089972" cy="292388"/>
          </a:xfrm>
        </p:spPr>
        <p:txBody>
          <a:bodyPr>
            <a:spAutoFit/>
          </a:bodyPr>
          <a:lstStyle>
            <a:lvl1pPr>
              <a:defRPr sz="2000">
                <a:solidFill>
                  <a:schemeClr val="tx2">
                    <a:lumMod val="60000"/>
                    <a:lumOff val="40000"/>
                  </a:schemeClr>
                </a:solidFill>
                <a:latin typeface="Franklin Gothic Book" panose="020B0503020102020204" pitchFamily="34" charset="0"/>
                <a:cs typeface="Calibri" panose="020F0502020204030204" pitchFamily="34" charset="0"/>
                <a:sym typeface="Calibri" panose="020F0502020204030204" pitchFamily="34" charset="0"/>
              </a:defRPr>
            </a:lvl1pPr>
          </a:lstStyle>
          <a:p>
            <a:pPr lvl="0"/>
            <a:r>
              <a:rPr lang="en-US" dirty="0"/>
              <a:t>Click to edit Master text styles</a:t>
            </a:r>
          </a:p>
        </p:txBody>
      </p:sp>
    </p:spTree>
    <p:extLst>
      <p:ext uri="{BB962C8B-B14F-4D97-AF65-F5344CB8AC3E}">
        <p14:creationId xmlns:p14="http://schemas.microsoft.com/office/powerpoint/2010/main" val="385266112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Tree>
    <p:extLst>
      <p:ext uri="{BB962C8B-B14F-4D97-AF65-F5344CB8AC3E}">
        <p14:creationId xmlns:p14="http://schemas.microsoft.com/office/powerpoint/2010/main" val="322612594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2_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68909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grpSp>
        <p:nvGrpSpPr>
          <p:cNvPr id="7" name="Group 6">
            <a:extLst>
              <a:ext uri="{FF2B5EF4-FFF2-40B4-BE49-F238E27FC236}">
                <a16:creationId xmlns:a16="http://schemas.microsoft.com/office/drawing/2014/main" id="{2387B447-A450-42C7-A9DD-4D0312465071}"/>
              </a:ext>
            </a:extLst>
          </p:cNvPr>
          <p:cNvGrpSpPr/>
          <p:nvPr userDrawn="1"/>
        </p:nvGrpSpPr>
        <p:grpSpPr>
          <a:xfrm>
            <a:off x="11998459" y="6162188"/>
            <a:ext cx="68500" cy="441924"/>
            <a:chOff x="11998459" y="6162188"/>
            <a:chExt cx="68500" cy="441924"/>
          </a:xfrm>
        </p:grpSpPr>
        <p:sp>
          <p:nvSpPr>
            <p:cNvPr id="9" name="Freeform: Shape 8">
              <a:extLst>
                <a:ext uri="{FF2B5EF4-FFF2-40B4-BE49-F238E27FC236}">
                  <a16:creationId xmlns:a16="http://schemas.microsoft.com/office/drawing/2014/main" id="{4CAA054E-E386-48C9-96CD-97E490498E2B}"/>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6C55D324-769F-47EC-96F7-AD603970C18C}"/>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1" name="Freeform: Shape 10">
              <a:extLst>
                <a:ext uri="{FF2B5EF4-FFF2-40B4-BE49-F238E27FC236}">
                  <a16:creationId xmlns:a16="http://schemas.microsoft.com/office/drawing/2014/main" id="{CC6014E8-FF72-41AD-A24F-058B3F2D1702}"/>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2" name="Freeform: Shape 11">
              <a:extLst>
                <a:ext uri="{FF2B5EF4-FFF2-40B4-BE49-F238E27FC236}">
                  <a16:creationId xmlns:a16="http://schemas.microsoft.com/office/drawing/2014/main" id="{0C75E8B0-18B9-4101-BAF3-2BAA4F85EC9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4D5C647B-1E0E-490D-BE85-16E17F8FC3C5}"/>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65EE28F8-59B8-4B7B-ADBB-0A8C996287DE}"/>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179BFCA7-501B-4E94-B737-0DC03A321176}"/>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267089D8-3A31-4784-A21E-51601616ADB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D8F5D574-BF44-4D2C-A01D-D6F5189D45B1}"/>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C6C33F15-01E0-48CD-9E75-6B6012DA4688}"/>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17343DF7-5272-4CE7-95F5-DF8B94BE48CB}"/>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E932C76C-A69A-44D5-9311-3010B4D0008B}"/>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CAEBFC2C-EC7D-4985-8A3E-1B7BBED17EE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22" name="Graphic 21">
            <a:extLst>
              <a:ext uri="{FF2B5EF4-FFF2-40B4-BE49-F238E27FC236}">
                <a16:creationId xmlns:a16="http://schemas.microsoft.com/office/drawing/2014/main" id="{6460F81E-C773-4142-A733-A3F679D9727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11811887" y="6349041"/>
            <a:ext cx="441438" cy="68706"/>
          </a:xfrm>
          <a:prstGeom prst="rect">
            <a:avLst/>
          </a:prstGeom>
        </p:spPr>
      </p:pic>
      <p:sp>
        <p:nvSpPr>
          <p:cNvPr id="23" name="Copyright">
            <a:extLst>
              <a:ext uri="{FF2B5EF4-FFF2-40B4-BE49-F238E27FC236}">
                <a16:creationId xmlns:a16="http://schemas.microsoft.com/office/drawing/2014/main" id="{36916EB8-0EC8-4AA0-80E6-D35192F9EFDF}"/>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spTree>
    <p:extLst>
      <p:ext uri="{BB962C8B-B14F-4D97-AF65-F5344CB8AC3E}">
        <p14:creationId xmlns:p14="http://schemas.microsoft.com/office/powerpoint/2010/main" val="42592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Option 4)">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67392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 t="15627" r="-1" b="6561"/>
          <a:stretch/>
        </p:blipFill>
        <p:spPr>
          <a:xfrm>
            <a:off x="0" y="1522048"/>
            <a:ext cx="12192000" cy="5335952"/>
          </a:xfrm>
          <a:prstGeom prst="rect">
            <a:avLst/>
          </a:prstGeom>
        </p:spPr>
      </p:pic>
      <p:sp>
        <p:nvSpPr>
          <p:cNvPr id="14" name="Rectangle 13">
            <a:extLst>
              <a:ext uri="{FF2B5EF4-FFF2-40B4-BE49-F238E27FC236}">
                <a16:creationId xmlns:a16="http://schemas.microsoft.com/office/drawing/2014/main" id="{A3F336B7-5196-4F00-B83A-3DCD314992C8}"/>
              </a:ext>
            </a:extLst>
          </p:cNvPr>
          <p:cNvSpPr/>
          <p:nvPr userDrawn="1"/>
        </p:nvSpPr>
        <p:spPr>
          <a:xfrm>
            <a:off x="536449" y="0"/>
            <a:ext cx="6363291" cy="6308726"/>
          </a:xfrm>
          <a:prstGeom prst="rect">
            <a:avLst/>
          </a:prstGeom>
          <a:gradFill flip="none" rotWithShape="1">
            <a:gsLst>
              <a:gs pos="0">
                <a:schemeClr val="tx2">
                  <a:lumMod val="50000"/>
                </a:schemeClr>
              </a:gs>
              <a:gs pos="39000">
                <a:schemeClr val="tx2">
                  <a:lumMod val="75000"/>
                  <a:alpha val="95000"/>
                </a:schemeClr>
              </a:gs>
              <a:gs pos="7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6" name="Graphic 5">
            <a:extLst>
              <a:ext uri="{FF2B5EF4-FFF2-40B4-BE49-F238E27FC236}">
                <a16:creationId xmlns:a16="http://schemas.microsoft.com/office/drawing/2014/main" id="{3683BD48-CFDF-B684-1DAD-50E88FF5A58E}"/>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382" y="148436"/>
            <a:ext cx="3231114" cy="1208188"/>
          </a:xfrm>
          <a:prstGeom prst="rect">
            <a:avLst/>
          </a:prstGeom>
        </p:spPr>
      </p:pic>
      <p:sp>
        <p:nvSpPr>
          <p:cNvPr id="5" name="Rectangle 4" hidden="1">
            <a:extLst>
              <a:ext uri="{FF2B5EF4-FFF2-40B4-BE49-F238E27FC236}">
                <a16:creationId xmlns:a16="http://schemas.microsoft.com/office/drawing/2014/main" id="{8914727E-8174-4A53-8CD1-66A25E0EEAA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7" y="3066686"/>
            <a:ext cx="5478239"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7" y="4348579"/>
            <a:ext cx="5478239"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842431"/>
            <a:ext cx="357470" cy="193899"/>
          </a:xfrm>
          <a:prstGeom prst="rect">
            <a:avLst/>
          </a:prstGeom>
        </p:spPr>
        <p:txBody>
          <a:bodyPr vert="horz" wrap="non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2" indent="-228602">
              <a:lnSpc>
                <a:spcPct val="90000"/>
              </a:lnSpc>
              <a:spcBef>
                <a:spcPts val="1000"/>
              </a:spcBef>
            </a:pPr>
            <a:r>
              <a:rPr lang="en-US"/>
              <a:t>Date</a:t>
            </a:r>
          </a:p>
        </p:txBody>
      </p:sp>
    </p:spTree>
    <p:extLst>
      <p:ext uri="{BB962C8B-B14F-4D97-AF65-F5344CB8AC3E}">
        <p14:creationId xmlns:p14="http://schemas.microsoft.com/office/powerpoint/2010/main" val="145170406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8691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7" name="Picture 6">
            <a:extLst>
              <a:ext uri="{FF2B5EF4-FFF2-40B4-BE49-F238E27FC236}">
                <a16:creationId xmlns:a16="http://schemas.microsoft.com/office/drawing/2014/main" id="{9DB78E29-AE9D-4534-AAF3-5096E0C7D2C8}"/>
              </a:ext>
            </a:extLst>
          </p:cNvPr>
          <p:cNvPicPr>
            <a:picLocks noChangeAspect="1"/>
          </p:cNvPicPr>
          <p:nvPr userDrawn="1"/>
        </p:nvPicPr>
        <p:blipFill>
          <a:blip r:embed="rId6">
            <a:extLst>
              <a:ext uri="{BEBA8EAE-BF5A-486C-A8C5-ECC9F3942E4B}">
                <a14:imgProps xmlns:a14="http://schemas.microsoft.com/office/drawing/2010/main">
                  <a14:imgLayer r:embed="rId7">
                    <a14:imgEffect>
                      <a14:sharpenSoften amount="25000"/>
                    </a14:imgEffect>
                    <a14:imgEffect>
                      <a14:brightnessContrast bright="20000" contrast="-40000"/>
                    </a14:imgEffect>
                  </a14:imgLayer>
                </a14:imgProps>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290BC53E-F1B5-445E-881E-C9199507F3DE}"/>
              </a:ext>
            </a:extLst>
          </p:cNvPr>
          <p:cNvSpPr/>
          <p:nvPr userDrawn="1"/>
        </p:nvSpPr>
        <p:spPr>
          <a:xfrm>
            <a:off x="550863" y="549275"/>
            <a:ext cx="7998777" cy="6308725"/>
          </a:xfrm>
          <a:prstGeom prst="rect">
            <a:avLst/>
          </a:prstGeom>
          <a:gradFill flip="none" rotWithShape="1">
            <a:gsLst>
              <a:gs pos="32000">
                <a:schemeClr val="tx2">
                  <a:lumMod val="50000"/>
                  <a:alpha val="90000"/>
                </a:schemeClr>
              </a:gs>
              <a:gs pos="61000">
                <a:schemeClr val="tx2">
                  <a:lumMod val="75000"/>
                  <a:alpha val="90000"/>
                </a:schemeClr>
              </a:gs>
              <a:gs pos="86000">
                <a:srgbClr val="036DFF">
                  <a:alpha val="9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855663" y="926348"/>
            <a:ext cx="7343457" cy="418576"/>
          </a:xfrm>
        </p:spPr>
        <p:txBody>
          <a:bodyPr vert="horz" wrap="square" lIns="0" tIns="0" rIns="0" bIns="0" rtlCol="0" anchor="t">
            <a:spAutoFit/>
          </a:bodyPr>
          <a:lstStyle>
            <a:lvl1pPr>
              <a:defRPr lang="en-IN">
                <a:solidFill>
                  <a:schemeClr val="bg1"/>
                </a:solidFill>
              </a:defRPr>
            </a:lvl1pPr>
          </a:lstStyle>
          <a:p>
            <a:pPr lvl="0">
              <a:lnSpc>
                <a:spcPct val="85000"/>
              </a:lnSpc>
            </a:pPr>
            <a:r>
              <a:rPr lang="en-US" dirty="0"/>
              <a:t>Click to edit Master title style</a:t>
            </a:r>
            <a:endParaRPr lang="en-IN" dirty="0"/>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855663" y="6465614"/>
            <a:ext cx="65"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cxnSp>
        <p:nvCxnSpPr>
          <p:cNvPr id="10" name="Straight Connector 9">
            <a:extLst>
              <a:ext uri="{FF2B5EF4-FFF2-40B4-BE49-F238E27FC236}">
                <a16:creationId xmlns:a16="http://schemas.microsoft.com/office/drawing/2014/main" id="{496ED747-D836-453F-A711-DB41DB55EE7D}"/>
              </a:ext>
            </a:extLst>
          </p:cNvPr>
          <p:cNvCxnSpPr>
            <a:cxnSpLocks/>
          </p:cNvCxnSpPr>
          <p:nvPr userDrawn="1"/>
        </p:nvCxnSpPr>
        <p:spPr>
          <a:xfrm>
            <a:off x="844200" y="85067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7F7E0603-54E5-4900-B884-DF607C9F881E}"/>
              </a:ext>
            </a:extLst>
          </p:cNvPr>
          <p:cNvGrpSpPr/>
          <p:nvPr userDrawn="1"/>
        </p:nvGrpSpPr>
        <p:grpSpPr>
          <a:xfrm>
            <a:off x="11998459" y="6162188"/>
            <a:ext cx="68500" cy="441924"/>
            <a:chOff x="11998459" y="6162188"/>
            <a:chExt cx="68500" cy="441924"/>
          </a:xfrm>
          <a:solidFill>
            <a:schemeClr val="bg1"/>
          </a:solidFill>
        </p:grpSpPr>
        <p:sp>
          <p:nvSpPr>
            <p:cNvPr id="28" name="Freeform: Shape 27">
              <a:extLst>
                <a:ext uri="{FF2B5EF4-FFF2-40B4-BE49-F238E27FC236}">
                  <a16:creationId xmlns:a16="http://schemas.microsoft.com/office/drawing/2014/main" id="{FFD03332-F5F6-45C3-90BC-295A2FCDED83}"/>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Freeform: Shape 28">
              <a:extLst>
                <a:ext uri="{FF2B5EF4-FFF2-40B4-BE49-F238E27FC236}">
                  <a16:creationId xmlns:a16="http://schemas.microsoft.com/office/drawing/2014/main" id="{7143D5AD-2EB6-446B-91E7-AFA62075D007}"/>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1D7C6D40-BE52-466A-9AE8-D542A7DD17D9}"/>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700059BA-3623-49DE-8651-B8B90262EBE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F1C83417-9603-44F6-AC37-15EC25B464A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8542FC21-4372-4846-8821-DE3D047D70A6}"/>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B2790381-620A-48A1-9BBD-971FEBF891BA}"/>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2F201424-8A37-40B4-A244-37F08420BE37}"/>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AD05B71D-5BA4-433A-8101-90A75002DB3D}"/>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818D8424-E1E5-4CEA-B943-031A14C31834}"/>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D574BA9D-7055-4FA2-8E03-444768562509}"/>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272AB694-FDCC-4212-966C-BC0216663D14}"/>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9448531E-C3BA-4E0A-91B0-AEECDD3F1419}"/>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41" name="Copyright">
            <a:extLst>
              <a:ext uri="{FF2B5EF4-FFF2-40B4-BE49-F238E27FC236}">
                <a16:creationId xmlns:a16="http://schemas.microsoft.com/office/drawing/2014/main" id="{F20859F3-B437-4822-B332-1586BE68BC99}"/>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sp>
        <p:nvSpPr>
          <p:cNvPr id="42" name="Slide Number Placeholder 5">
            <a:extLst>
              <a:ext uri="{FF2B5EF4-FFF2-40B4-BE49-F238E27FC236}">
                <a16:creationId xmlns:a16="http://schemas.microsoft.com/office/drawing/2014/main" id="{D2F10C76-7B37-48DF-B539-56FF4C0C1BD3}"/>
              </a:ext>
            </a:extLst>
          </p:cNvPr>
          <p:cNvSpPr>
            <a:spLocks noGrp="1"/>
          </p:cNvSpPr>
          <p:nvPr>
            <p:ph type="sldNum" sz="quarter" idx="11"/>
          </p:nvPr>
        </p:nvSpPr>
        <p:spPr>
          <a:xfrm>
            <a:off x="11490153" y="6465614"/>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Tree>
    <p:extLst>
      <p:ext uri="{BB962C8B-B14F-4D97-AF65-F5344CB8AC3E}">
        <p14:creationId xmlns:p14="http://schemas.microsoft.com/office/powerpoint/2010/main" val="22233413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Grey backgroun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988775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A3ACF9-E695-4094-9A16-A4F48EC9FF1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dirty="0"/>
              <a:t>Click to edit Master title style</a:t>
            </a:r>
            <a:endParaRPr lang="en-IN" dirty="0"/>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Tree>
    <p:extLst>
      <p:ext uri="{BB962C8B-B14F-4D97-AF65-F5344CB8AC3E}">
        <p14:creationId xmlns:p14="http://schemas.microsoft.com/office/powerpoint/2010/main" val="372480133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8262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3"/>
            <a:ext cx="54006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5"/>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3"/>
            <a:ext cx="54006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5"/>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Tree>
    <p:extLst>
      <p:ext uri="{BB962C8B-B14F-4D97-AF65-F5344CB8AC3E}">
        <p14:creationId xmlns:p14="http://schemas.microsoft.com/office/powerpoint/2010/main" val="242301876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99817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476173-BEA2-49BD-B5FE-C9602A2A7D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3506976"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35069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8135839" y="2175803"/>
            <a:ext cx="35053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8135839" y="1857375"/>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59121794-F5DD-4A31-9CFD-38DDBBCF1C7C}"/>
              </a:ext>
            </a:extLst>
          </p:cNvPr>
          <p:cNvSpPr>
            <a:spLocks noGrp="1"/>
          </p:cNvSpPr>
          <p:nvPr>
            <p:ph type="body" sz="quarter" idx="17" hasCustomPrompt="1"/>
          </p:nvPr>
        </p:nvSpPr>
        <p:spPr>
          <a:xfrm>
            <a:off x="4344162" y="2175803"/>
            <a:ext cx="35053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3143DD43-CBE6-4068-87AB-C994C1891565}"/>
              </a:ext>
            </a:extLst>
          </p:cNvPr>
          <p:cNvSpPr>
            <a:spLocks noGrp="1"/>
          </p:cNvSpPr>
          <p:nvPr>
            <p:ph type="body" sz="quarter" idx="18" hasCustomPrompt="1"/>
          </p:nvPr>
        </p:nvSpPr>
        <p:spPr>
          <a:xfrm>
            <a:off x="4344162" y="1857375"/>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Tree>
    <p:extLst>
      <p:ext uri="{BB962C8B-B14F-4D97-AF65-F5344CB8AC3E}">
        <p14:creationId xmlns:p14="http://schemas.microsoft.com/office/powerpoint/2010/main" val="412671958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87911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314B796-0A71-42E1-B6EB-B6B2B794121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2559476"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3"/>
            <a:ext cx="2554875"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5"/>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3395664" y="2175803"/>
            <a:ext cx="2559476"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3395664" y="1857375"/>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9086263" y="2175803"/>
            <a:ext cx="2554875"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9086263" y="1857375"/>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Tree>
    <p:extLst>
      <p:ext uri="{BB962C8B-B14F-4D97-AF65-F5344CB8AC3E}">
        <p14:creationId xmlns:p14="http://schemas.microsoft.com/office/powerpoint/2010/main" val="28581722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4092437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F80F200-6A77-426D-879D-7C93BD8B9FB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3"/>
            <a:ext cx="19836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5"/>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5104050" y="2175803"/>
            <a:ext cx="1980034"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5104050" y="1857375"/>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2827457" y="2175803"/>
            <a:ext cx="1983600"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2827457" y="1857375"/>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7380643" y="2175803"/>
            <a:ext cx="1980034"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7380643" y="1857375"/>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37" name="Text Placeholder 14">
            <a:extLst>
              <a:ext uri="{FF2B5EF4-FFF2-40B4-BE49-F238E27FC236}">
                <a16:creationId xmlns:a16="http://schemas.microsoft.com/office/drawing/2014/main" id="{ADA6637A-F017-4396-B239-B80ED2F97B37}"/>
              </a:ext>
            </a:extLst>
          </p:cNvPr>
          <p:cNvSpPr>
            <a:spLocks noGrp="1"/>
          </p:cNvSpPr>
          <p:nvPr>
            <p:ph type="body" sz="quarter" idx="21" hasCustomPrompt="1"/>
          </p:nvPr>
        </p:nvSpPr>
        <p:spPr>
          <a:xfrm>
            <a:off x="9660801" y="2175803"/>
            <a:ext cx="1980034" cy="1180836"/>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8" name="Text Placeholder 14">
            <a:extLst>
              <a:ext uri="{FF2B5EF4-FFF2-40B4-BE49-F238E27FC236}">
                <a16:creationId xmlns:a16="http://schemas.microsoft.com/office/drawing/2014/main" id="{7B295F18-5030-4811-B6C7-29EE7444BC70}"/>
              </a:ext>
            </a:extLst>
          </p:cNvPr>
          <p:cNvSpPr>
            <a:spLocks noGrp="1"/>
          </p:cNvSpPr>
          <p:nvPr>
            <p:ph type="body" sz="quarter" idx="22" hasCustomPrompt="1"/>
          </p:nvPr>
        </p:nvSpPr>
        <p:spPr>
          <a:xfrm>
            <a:off x="9660801" y="1857375"/>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Tree>
    <p:extLst>
      <p:ext uri="{BB962C8B-B14F-4D97-AF65-F5344CB8AC3E}">
        <p14:creationId xmlns:p14="http://schemas.microsoft.com/office/powerpoint/2010/main" val="32875415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079622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1C34F18-9238-4944-9751-DBBFCD9E3CC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49232" y="562841"/>
            <a:ext cx="3077171" cy="837152"/>
          </a:xfrm>
        </p:spPr>
        <p:txBody>
          <a:bodyPr vert="horz" wrap="square" lIns="0" tIns="0" rIns="0" bIns="0" rtlCol="0" anchor="t">
            <a:spAutoFit/>
          </a:bodyPr>
          <a:lstStyle>
            <a:lvl1pPr>
              <a:defRPr lang="en-US" dirty="0"/>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61E219BD-1BA8-B546-8642-A805A79B597F}"/>
              </a:ext>
            </a:extLst>
          </p:cNvPr>
          <p:cNvSpPr>
            <a:spLocks noGrp="1"/>
          </p:cNvSpPr>
          <p:nvPr>
            <p:ph type="ftr" sz="quarter" idx="3"/>
          </p:nvPr>
        </p:nvSpPr>
        <p:spPr>
          <a:xfrm>
            <a:off x="4349577" y="6445294"/>
            <a:ext cx="955390" cy="138499"/>
          </a:xfrm>
          <a:prstGeom prst="rect">
            <a:avLst/>
          </a:prstGeom>
          <a:noFill/>
        </p:spPr>
        <p:txBody>
          <a:bodyPr wrap="none" lIns="0" tIns="0" rIns="0" bIns="0" rtlCol="0" anchor="b">
            <a:spAutoFit/>
          </a:bodyPr>
          <a:lstStyle>
            <a:lvl1pPr>
              <a:defRPr lang="en-IN">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Tree>
    <p:extLst>
      <p:ext uri="{BB962C8B-B14F-4D97-AF65-F5344CB8AC3E}">
        <p14:creationId xmlns:p14="http://schemas.microsoft.com/office/powerpoint/2010/main" val="71200049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Title only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0105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9" name="Rectangle 8">
            <a:extLst>
              <a:ext uri="{FF2B5EF4-FFF2-40B4-BE49-F238E27FC236}">
                <a16:creationId xmlns:a16="http://schemas.microsoft.com/office/drawing/2014/main" id="{DD057705-6172-4294-BBA5-1648A283F8CF}"/>
              </a:ext>
            </a:extLst>
          </p:cNvPr>
          <p:cNvSpPr/>
          <p:nvPr userDrawn="1"/>
        </p:nvSpPr>
        <p:spPr>
          <a:xfrm>
            <a:off x="0" y="-1"/>
            <a:ext cx="12192000" cy="2377441"/>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5" name="Title 4">
            <a:extLst>
              <a:ext uri="{FF2B5EF4-FFF2-40B4-BE49-F238E27FC236}">
                <a16:creationId xmlns:a16="http://schemas.microsoft.com/office/drawing/2014/main" id="{2CB9776C-E953-422C-BB43-BE29FDD186C8}"/>
              </a:ext>
            </a:extLst>
          </p:cNvPr>
          <p:cNvSpPr>
            <a:spLocks noGrp="1"/>
          </p:cNvSpPr>
          <p:nvPr>
            <p:ph type="title"/>
          </p:nvPr>
        </p:nvSpPr>
        <p:spPr>
          <a:xfrm>
            <a:off x="550863" y="560588"/>
            <a:ext cx="11089972" cy="443198"/>
          </a:xfrm>
        </p:spPr>
        <p:txBody>
          <a:bodyPr/>
          <a:lstStyle>
            <a:lvl1pPr>
              <a:defRPr>
                <a:solidFill>
                  <a:schemeClr val="bg1"/>
                </a:solidFill>
              </a:defRPr>
            </a:lvl1pPr>
          </a:lstStyle>
          <a:p>
            <a:r>
              <a:rPr lang="en-US" dirty="0"/>
              <a:t>Click to edit Master title style</a:t>
            </a:r>
            <a:endParaRPr lang="en-IN" dirty="0"/>
          </a:p>
        </p:txBody>
      </p:sp>
      <p:cxnSp>
        <p:nvCxnSpPr>
          <p:cNvPr id="10" name="Straight Connector 9">
            <a:extLst>
              <a:ext uri="{FF2B5EF4-FFF2-40B4-BE49-F238E27FC236}">
                <a16:creationId xmlns:a16="http://schemas.microsoft.com/office/drawing/2014/main" id="{E32D61BF-04DB-4CF5-B8B8-FCCBADB025CC}"/>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09568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03226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49232" y="562841"/>
            <a:ext cx="3077171" cy="837152"/>
          </a:xfrm>
        </p:spPr>
        <p:txBody>
          <a:bodyPr vert="horz" wrap="square" lIns="0" tIns="0" rIns="0" bIns="0" rtlCol="0" anchor="t">
            <a:spAutoFit/>
          </a:bodyPr>
          <a:lstStyle>
            <a:lvl1pPr>
              <a:defRPr lang="en-US" dirty="0">
                <a:solidFill>
                  <a:schemeClr val="bg1"/>
                </a:solidFill>
              </a:defRPr>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07D40989-093D-497F-A8CA-3F93ACC1104E}"/>
              </a:ext>
            </a:extLst>
          </p:cNvPr>
          <p:cNvSpPr>
            <a:spLocks noGrp="1"/>
          </p:cNvSpPr>
          <p:nvPr>
            <p:ph type="ftr" sz="quarter" idx="3"/>
          </p:nvPr>
        </p:nvSpPr>
        <p:spPr>
          <a:xfrm>
            <a:off x="4349577" y="6445294"/>
            <a:ext cx="955390" cy="138499"/>
          </a:xfrm>
          <a:prstGeom prst="rect">
            <a:avLst/>
          </a:prstGeom>
          <a:noFill/>
        </p:spPr>
        <p:txBody>
          <a:bodyPr wrap="none" lIns="0" tIns="0" rIns="0" bIns="0" rtlCol="0" anchor="b">
            <a:spAutoFit/>
          </a:bodyPr>
          <a:lstStyle>
            <a:lvl1pPr>
              <a:defRPr lang="en-IN">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Tree>
    <p:extLst>
      <p:ext uri="{BB962C8B-B14F-4D97-AF65-F5344CB8AC3E}">
        <p14:creationId xmlns:p14="http://schemas.microsoft.com/office/powerpoint/2010/main" val="194902378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560549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AAE3F72-88DF-4B4D-99C2-2DFE1EFB169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6098537"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49232" y="562841"/>
            <a:ext cx="5385396" cy="418576"/>
          </a:xfrm>
        </p:spPr>
        <p:txBody>
          <a:bodyPr vert="horz" wrap="square" lIns="0" tIns="0" rIns="0" bIns="0" rtlCol="0" anchor="t">
            <a:spAutoFit/>
          </a:bodyPr>
          <a:lstStyle>
            <a:lvl1pPr>
              <a:defRPr lang="en-US" dirty="0">
                <a:solidFill>
                  <a:schemeClr val="bg1"/>
                </a:solidFill>
              </a:defRPr>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114D1E49-4D99-476D-920F-4752B876172D}"/>
              </a:ext>
            </a:extLst>
          </p:cNvPr>
          <p:cNvSpPr>
            <a:spLocks noGrp="1"/>
          </p:cNvSpPr>
          <p:nvPr>
            <p:ph type="ftr" sz="quarter" idx="3"/>
          </p:nvPr>
        </p:nvSpPr>
        <p:spPr>
          <a:xfrm>
            <a:off x="566142" y="6445294"/>
            <a:ext cx="955390" cy="138499"/>
          </a:xfrm>
          <a:prstGeom prst="rect">
            <a:avLst/>
          </a:prstGeom>
          <a:noFill/>
        </p:spPr>
        <p:txBody>
          <a:bodyPr wrap="none" lIns="0" tIns="0" rIns="0" bIns="0" rtlCol="0" anchor="b">
            <a:spAutoFit/>
          </a:bodyPr>
          <a:lstStyle>
            <a:lvl1pPr>
              <a:defRPr lang="en-IN">
                <a:solidFill>
                  <a:schemeClr val="tx2">
                    <a:lumMod val="20000"/>
                    <a:lumOff val="80000"/>
                  </a:schemeClr>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Tree>
    <p:extLst>
      <p:ext uri="{BB962C8B-B14F-4D97-AF65-F5344CB8AC3E}">
        <p14:creationId xmlns:p14="http://schemas.microsoft.com/office/powerpoint/2010/main" val="4000115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Breaker Slide_1" preserve="1">
  <p:cSld name="Breaker Slide_1">
    <p:bg>
      <p:bgPr>
        <a:solidFill>
          <a:schemeClr val="lt2"/>
        </a:solidFill>
        <a:effectLst/>
      </p:bgPr>
    </p:bg>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FEEBE7-590A-7C8C-78C2-DFD25580D350}"/>
              </a:ext>
            </a:extLst>
          </p:cNvPr>
          <p:cNvGraphicFramePr>
            <a:graphicFrameLocks noChangeAspect="1"/>
          </p:cNvGraphicFramePr>
          <p:nvPr userDrawn="1">
            <p:custDataLst>
              <p:tags r:id="rId1"/>
            </p:custDataLst>
            <p:extLst>
              <p:ext uri="{D42A27DB-BD31-4B8C-83A1-F6EECF244321}">
                <p14:modId xmlns:p14="http://schemas.microsoft.com/office/powerpoint/2010/main" val="927778059"/>
              </p:ext>
            </p:extLst>
          </p:nvPr>
        </p:nvGraphicFramePr>
        <p:xfrm>
          <a:off x="1440" y="1440"/>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5FFEEBE7-590A-7C8C-78C2-DFD25580D350}"/>
                          </a:ext>
                        </a:extLst>
                      </p:cNvPr>
                      <p:cNvPicPr/>
                      <p:nvPr/>
                    </p:nvPicPr>
                    <p:blipFill>
                      <a:blip r:embed="rId4"/>
                      <a:stretch>
                        <a:fillRect/>
                      </a:stretch>
                    </p:blipFill>
                    <p:spPr>
                      <a:xfrm>
                        <a:off x="1440" y="1440"/>
                        <a:ext cx="1441" cy="1441"/>
                      </a:xfrm>
                      <a:prstGeom prst="rect">
                        <a:avLst/>
                      </a:prstGeom>
                    </p:spPr>
                  </p:pic>
                </p:oleObj>
              </mc:Fallback>
            </mc:AlternateContent>
          </a:graphicData>
        </a:graphic>
      </p:graphicFrame>
      <p:pic>
        <p:nvPicPr>
          <p:cNvPr id="33" name="Google Shape;33;p40" descr="A picture containing graphical user interface&#10;&#10;Description automatically generated"/>
          <p:cNvPicPr preferRelativeResize="0"/>
          <p:nvPr/>
        </p:nvPicPr>
        <p:blipFill rotWithShape="1">
          <a:blip r:embed="rId5">
            <a:alphaModFix/>
            <a:extLst>
              <a:ext uri="{28A0092B-C50C-407E-A947-70E740481C1C}">
                <a14:useLocalDpi xmlns:a14="http://schemas.microsoft.com/office/drawing/2010/main" val="0"/>
              </a:ext>
            </a:extLst>
          </a:blip>
          <a:srcRect l="39"/>
          <a:stretch/>
        </p:blipFill>
        <p:spPr>
          <a:xfrm>
            <a:off x="1" y="-6562"/>
            <a:ext cx="12192000" cy="6864562"/>
          </a:xfrm>
          <a:prstGeom prst="rect">
            <a:avLst/>
          </a:prstGeom>
          <a:noFill/>
          <a:ln>
            <a:noFill/>
          </a:ln>
        </p:spPr>
      </p:pic>
      <p:sp>
        <p:nvSpPr>
          <p:cNvPr id="34" name="Google Shape;34;p40"/>
          <p:cNvSpPr/>
          <p:nvPr/>
        </p:nvSpPr>
        <p:spPr>
          <a:xfrm>
            <a:off x="0" y="3853544"/>
            <a:ext cx="6240464" cy="2261507"/>
          </a:xfrm>
          <a:prstGeom prst="rect">
            <a:avLst/>
          </a:prstGeom>
          <a:gradFill>
            <a:gsLst>
              <a:gs pos="0">
                <a:srgbClr val="062379">
                  <a:alpha val="80000"/>
                </a:srgbClr>
              </a:gs>
              <a:gs pos="55000">
                <a:srgbClr val="385ED2">
                  <a:alpha val="80000"/>
                </a:srgbClr>
              </a:gs>
              <a:gs pos="76000">
                <a:srgbClr val="4873F5">
                  <a:alpha val="80000"/>
                </a:srgbClr>
              </a:gs>
              <a:gs pos="100000">
                <a:srgbClr val="43E1D3">
                  <a:alpha val="80000"/>
                </a:srgbClr>
              </a:gs>
            </a:gsLst>
            <a:lin ang="3000000" scaled="0"/>
          </a:gradFill>
          <a:ln>
            <a:noFill/>
          </a:ln>
        </p:spPr>
        <p:txBody>
          <a:bodyPr spcFirstLastPara="1" wrap="square" lIns="91424" tIns="45698" rIns="91424" bIns="45698"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35" name="Google Shape;35;p40"/>
          <p:cNvSpPr txBox="1">
            <a:spLocks noGrp="1"/>
          </p:cNvSpPr>
          <p:nvPr>
            <p:ph type="title"/>
          </p:nvPr>
        </p:nvSpPr>
        <p:spPr>
          <a:xfrm>
            <a:off x="589046" y="4638134"/>
            <a:ext cx="5400674" cy="692323"/>
          </a:xfrm>
          <a:prstGeom prst="rect">
            <a:avLst/>
          </a:prstGeom>
          <a:noFill/>
          <a:ln>
            <a:noFill/>
          </a:ln>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4999">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grpSp>
        <p:nvGrpSpPr>
          <p:cNvPr id="36" name="Google Shape;36;p40"/>
          <p:cNvGrpSpPr/>
          <p:nvPr/>
        </p:nvGrpSpPr>
        <p:grpSpPr>
          <a:xfrm>
            <a:off x="11998460" y="6162190"/>
            <a:ext cx="68500" cy="441924"/>
            <a:chOff x="11998459" y="6162188"/>
            <a:chExt cx="68500" cy="441925"/>
          </a:xfrm>
        </p:grpSpPr>
        <p:sp>
          <p:nvSpPr>
            <p:cNvPr id="37" name="Google Shape;37;p40"/>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38" name="Google Shape;38;p40"/>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39" name="Google Shape;39;p40"/>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0" name="Google Shape;40;p40"/>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1" name="Google Shape;41;p40"/>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2" name="Google Shape;42;p40"/>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3" name="Google Shape;43;p40"/>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4" name="Google Shape;44;p40"/>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5" name="Google Shape;45;p40"/>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6" name="Google Shape;46;p40"/>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7" name="Google Shape;47;p40"/>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8" name="Google Shape;48;p40"/>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9" name="Google Shape;49;p40"/>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grpSp>
      <p:sp>
        <p:nvSpPr>
          <p:cNvPr id="50" name="Google Shape;50;p40"/>
          <p:cNvSpPr txBox="1"/>
          <p:nvPr/>
        </p:nvSpPr>
        <p:spPr>
          <a:xfrm rot="-5400000">
            <a:off x="11250972" y="5290634"/>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IN" sz="800" b="0" i="0" u="none" strike="noStrike" cap="none" dirty="0">
                <a:solidFill>
                  <a:schemeClr val="lt1"/>
                </a:solidFill>
                <a:latin typeface="Calibri"/>
                <a:ea typeface="Calibri"/>
                <a:cs typeface="Calibri"/>
                <a:sym typeface="Calibri"/>
              </a:rPr>
              <a:t>Copyright © 2020. All rights reserved.</a:t>
            </a:r>
            <a:endParaRPr sz="1401" b="0" i="0" u="none" strike="noStrike" cap="none" dirty="0">
              <a:solidFill>
                <a:srgbClr val="000000"/>
              </a:solidFill>
              <a:latin typeface="Arial"/>
              <a:ea typeface="Arial"/>
              <a:cs typeface="Arial"/>
              <a:sym typeface="Arial"/>
            </a:endParaRPr>
          </a:p>
        </p:txBody>
      </p:sp>
      <p:sp>
        <p:nvSpPr>
          <p:cNvPr id="51" name="Google Shape;51;p4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IN" smtClean="0"/>
              <a:pPr/>
              <a:t>‹#›</a:t>
            </a:fld>
            <a:endParaRPr lang="en-IN"/>
          </a:p>
        </p:txBody>
      </p:sp>
    </p:spTree>
    <p:extLst>
      <p:ext uri="{BB962C8B-B14F-4D97-AF65-F5344CB8AC3E}">
        <p14:creationId xmlns:p14="http://schemas.microsoft.com/office/powerpoint/2010/main" val="192312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v="urn:schemas-microsoft-com:vml" xmlns:pvml="urn:schemas-microsoft-com:office:powerpoint" xmlns:p15="http://schemas.microsoft.com/office/powerpoint/2012/main" xmlns:o="urn:schemas-microsoft-com:office:office" xmlns:mv="urn:schemas-microsoft-com:mac:vml" xmlns:dgm="http://schemas.openxmlformats.org/drawingml/2006/diagram" xmlns:com="http://schemas.openxmlformats.org/drawingml/2006/compatibility" xmlns:c="http://schemas.openxmlformats.org/drawingml/2006/chart" xmlns:ahyp="http://schemas.microsoft.com/office/drawing/2018/hyperlinkcolor"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28015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8FBABF1-7718-43F6-B247-8269F95D220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0"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1" y="3010422"/>
            <a:ext cx="3032465" cy="837152"/>
          </a:xfrm>
        </p:spPr>
        <p:txBody>
          <a:bodyPr vert="horz" wrap="square" lIns="0" tIns="0" rIns="0" bIns="0" rtlCol="0" anchor="t">
            <a:spAutoFit/>
          </a:bodyPr>
          <a:lstStyle>
            <a:lvl1pPr>
              <a:defRPr lang="en-US" dirty="0">
                <a:solidFill>
                  <a:schemeClr val="bg1"/>
                </a:solidFill>
              </a:defRPr>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
        <p:nvSpPr>
          <p:cNvPr id="7" name="Footer Placeholder 4">
            <a:extLst>
              <a:ext uri="{FF2B5EF4-FFF2-40B4-BE49-F238E27FC236}">
                <a16:creationId xmlns:a16="http://schemas.microsoft.com/office/drawing/2014/main" id="{806BC45B-28D3-4748-A59A-03B0AF6C4170}"/>
              </a:ext>
            </a:extLst>
          </p:cNvPr>
          <p:cNvSpPr>
            <a:spLocks noGrp="1"/>
          </p:cNvSpPr>
          <p:nvPr>
            <p:ph type="ftr" sz="quarter" idx="3"/>
          </p:nvPr>
        </p:nvSpPr>
        <p:spPr>
          <a:xfrm>
            <a:off x="4349577" y="6445294"/>
            <a:ext cx="955390" cy="138499"/>
          </a:xfrm>
          <a:prstGeom prst="rect">
            <a:avLst/>
          </a:prstGeom>
          <a:noFill/>
        </p:spPr>
        <p:txBody>
          <a:bodyPr wrap="none" lIns="0" tIns="0" rIns="0" bIns="0" rtlCol="0" anchor="b">
            <a:spAutoFit/>
          </a:bodyPr>
          <a:lstStyle>
            <a:lvl1pPr>
              <a:defRPr lang="en-IN">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dirty="0"/>
          </a:p>
        </p:txBody>
      </p:sp>
    </p:spTree>
    <p:extLst>
      <p:ext uri="{BB962C8B-B14F-4D97-AF65-F5344CB8AC3E}">
        <p14:creationId xmlns:p14="http://schemas.microsoft.com/office/powerpoint/2010/main" val="423471689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318821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694F4AE1-9478-4BD2-88AE-435A08BBBD3D}"/>
              </a:ext>
            </a:extLst>
          </p:cNvPr>
          <p:cNvSpPr>
            <a:spLocks noGrp="1"/>
          </p:cNvSpPr>
          <p:nvPr>
            <p:ph type="title"/>
          </p:nvPr>
        </p:nvSpPr>
        <p:spPr>
          <a:xfrm>
            <a:off x="550863" y="560588"/>
            <a:ext cx="11089972" cy="418576"/>
          </a:xfrm>
        </p:spPr>
        <p:txBody>
          <a:bodyPr vert="horz" wrap="square" lIns="0" tIns="0" rIns="0" bIns="0" rtlCol="0" anchor="t">
            <a:spAutoFit/>
          </a:bodyPr>
          <a:lstStyle>
            <a:lvl1pPr>
              <a:defRPr lang="en-IN" dirty="0">
                <a:solidFill>
                  <a:schemeClr val="bg1"/>
                </a:solidFill>
              </a:defRPr>
            </a:lvl1pPr>
          </a:lstStyle>
          <a:p>
            <a:pPr lvl="0">
              <a:lnSpc>
                <a:spcPct val="85000"/>
              </a:lnSpc>
            </a:pPr>
            <a:r>
              <a:rPr lang="en-US" dirty="0"/>
              <a:t>Click to edit Master title style</a:t>
            </a:r>
            <a:endParaRPr lang="en-IN" dirty="0"/>
          </a:p>
        </p:txBody>
      </p:sp>
      <p:cxnSp>
        <p:nvCxnSpPr>
          <p:cNvPr id="6" name="Straight Connector 5">
            <a:extLst>
              <a:ext uri="{FF2B5EF4-FFF2-40B4-BE49-F238E27FC236}">
                <a16:creationId xmlns:a16="http://schemas.microsoft.com/office/drawing/2014/main" id="{AC27F5F1-6E1A-43D9-B04D-DEEBA03354E7}"/>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878A702-A86E-4356-99F5-6CC007B3A84C}"/>
              </a:ext>
            </a:extLst>
          </p:cNvPr>
          <p:cNvGrpSpPr/>
          <p:nvPr userDrawn="1"/>
        </p:nvGrpSpPr>
        <p:grpSpPr>
          <a:xfrm>
            <a:off x="11998459" y="6162188"/>
            <a:ext cx="68500" cy="441924"/>
            <a:chOff x="11998459" y="6162188"/>
            <a:chExt cx="68500" cy="441924"/>
          </a:xfrm>
          <a:solidFill>
            <a:schemeClr val="bg1"/>
          </a:solidFill>
        </p:grpSpPr>
        <p:sp>
          <p:nvSpPr>
            <p:cNvPr id="8" name="Freeform: Shape 7">
              <a:extLst>
                <a:ext uri="{FF2B5EF4-FFF2-40B4-BE49-F238E27FC236}">
                  <a16:creationId xmlns:a16="http://schemas.microsoft.com/office/drawing/2014/main" id="{E75A2218-59DA-4B99-8DEE-5DF1044A636F}"/>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7E8F166A-EB8B-4235-A114-5C9D062319D5}"/>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E2FC6C6B-C81D-4FE7-9F3B-65F6B734168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EB88EBE5-A780-49FB-9EAB-A8F48E23FAC5}"/>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ADB921C-741F-494D-9C24-2E06B3F237E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2CBAA18-CC04-464C-B2DA-F60F1DFE63B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B7D25102-BF68-4480-830D-1A1BE174C73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2EE8638F-0CD8-4C03-9847-FAF25CBB620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8A481A8A-8F5D-40BC-B59F-D4CEF2254BB7}"/>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350965BC-1532-45A0-8F0A-37DAEC7BBE6F}"/>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C1AF2FC-06E9-481D-AAD4-A185594C60F4}"/>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A1342B2-AEC9-4B66-9503-4CFC2ED0B897}"/>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41AC723-9EBC-48CA-B1C7-D2D5419421B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4" name="Copyright">
            <a:extLst>
              <a:ext uri="{FF2B5EF4-FFF2-40B4-BE49-F238E27FC236}">
                <a16:creationId xmlns:a16="http://schemas.microsoft.com/office/drawing/2014/main" id="{2B7A128F-26DE-473C-95DA-CCAF4D373141}"/>
              </a:ext>
            </a:extLst>
          </p:cNvPr>
          <p:cNvSpPr txBox="1"/>
          <p:nvPr userDrawn="1"/>
        </p:nvSpPr>
        <p:spPr>
          <a:xfrm rot="16200000">
            <a:off x="11263795" y="5290633"/>
            <a:ext cx="1542089"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sp>
        <p:nvSpPr>
          <p:cNvPr id="23" name="Footer Placeholder 4">
            <a:extLst>
              <a:ext uri="{FF2B5EF4-FFF2-40B4-BE49-F238E27FC236}">
                <a16:creationId xmlns:a16="http://schemas.microsoft.com/office/drawing/2014/main" id="{3C13A330-69BE-41FF-B32E-FB999A737436}"/>
              </a:ext>
            </a:extLst>
          </p:cNvPr>
          <p:cNvSpPr>
            <a:spLocks noGrp="1"/>
          </p:cNvSpPr>
          <p:nvPr>
            <p:ph type="ftr" sz="quarter" idx="3"/>
          </p:nvPr>
        </p:nvSpPr>
        <p:spPr>
          <a:xfrm>
            <a:off x="550863" y="6445294"/>
            <a:ext cx="955390" cy="138499"/>
          </a:xfrm>
          <a:prstGeom prst="rect">
            <a:avLst/>
          </a:prstGeom>
          <a:noFill/>
        </p:spPr>
        <p:txBody>
          <a:bodyPr wrap="none" lIns="0" tIns="0" rIns="0" bIns="0" rtlCol="0" anchor="b">
            <a:spAutoFit/>
          </a:bodyPr>
          <a:lstStyle>
            <a:lvl1pPr>
              <a:defRPr lang="en-IN">
                <a:solidFill>
                  <a:schemeClr val="tx2">
                    <a:lumMod val="20000"/>
                    <a:lumOff val="80000"/>
                  </a:schemeClr>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3" y="6465614"/>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Tree>
    <p:extLst>
      <p:ext uri="{BB962C8B-B14F-4D97-AF65-F5344CB8AC3E}">
        <p14:creationId xmlns:p14="http://schemas.microsoft.com/office/powerpoint/2010/main" val="230165662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Blue Layou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964793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grpSp>
        <p:nvGrpSpPr>
          <p:cNvPr id="7" name="Group 6">
            <a:extLst>
              <a:ext uri="{FF2B5EF4-FFF2-40B4-BE49-F238E27FC236}">
                <a16:creationId xmlns:a16="http://schemas.microsoft.com/office/drawing/2014/main" id="{3878A702-A86E-4356-99F5-6CC007B3A84C}"/>
              </a:ext>
            </a:extLst>
          </p:cNvPr>
          <p:cNvGrpSpPr/>
          <p:nvPr userDrawn="1"/>
        </p:nvGrpSpPr>
        <p:grpSpPr>
          <a:xfrm>
            <a:off x="11998459" y="6162188"/>
            <a:ext cx="68500" cy="441924"/>
            <a:chOff x="11998459" y="6162188"/>
            <a:chExt cx="68500" cy="441924"/>
          </a:xfrm>
          <a:solidFill>
            <a:schemeClr val="bg1"/>
          </a:solidFill>
        </p:grpSpPr>
        <p:sp>
          <p:nvSpPr>
            <p:cNvPr id="8" name="Freeform: Shape 7">
              <a:extLst>
                <a:ext uri="{FF2B5EF4-FFF2-40B4-BE49-F238E27FC236}">
                  <a16:creationId xmlns:a16="http://schemas.microsoft.com/office/drawing/2014/main" id="{E75A2218-59DA-4B99-8DEE-5DF1044A636F}"/>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7E8F166A-EB8B-4235-A114-5C9D062319D5}"/>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E2FC6C6B-C81D-4FE7-9F3B-65F6B734168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EB88EBE5-A780-49FB-9EAB-A8F48E23FAC5}"/>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ADB921C-741F-494D-9C24-2E06B3F237E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2CBAA18-CC04-464C-B2DA-F60F1DFE63B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B7D25102-BF68-4480-830D-1A1BE174C73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2EE8638F-0CD8-4C03-9847-FAF25CBB620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8A481A8A-8F5D-40BC-B59F-D4CEF2254BB7}"/>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350965BC-1532-45A0-8F0A-37DAEC7BBE6F}"/>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C1AF2FC-06E9-481D-AAD4-A185594C60F4}"/>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A1342B2-AEC9-4B66-9503-4CFC2ED0B897}"/>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41AC723-9EBC-48CA-B1C7-D2D5419421B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4" name="Copyright">
            <a:extLst>
              <a:ext uri="{FF2B5EF4-FFF2-40B4-BE49-F238E27FC236}">
                <a16:creationId xmlns:a16="http://schemas.microsoft.com/office/drawing/2014/main" id="{2B7A128F-26DE-473C-95DA-CCAF4D373141}"/>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sp>
        <p:nvSpPr>
          <p:cNvPr id="23" name="Footer Placeholder 4">
            <a:extLst>
              <a:ext uri="{FF2B5EF4-FFF2-40B4-BE49-F238E27FC236}">
                <a16:creationId xmlns:a16="http://schemas.microsoft.com/office/drawing/2014/main" id="{3C13A330-69BE-41FF-B32E-FB999A737436}"/>
              </a:ext>
            </a:extLst>
          </p:cNvPr>
          <p:cNvSpPr>
            <a:spLocks noGrp="1"/>
          </p:cNvSpPr>
          <p:nvPr>
            <p:ph type="ftr" sz="quarter" idx="3"/>
          </p:nvPr>
        </p:nvSpPr>
        <p:spPr>
          <a:xfrm>
            <a:off x="550863" y="6445294"/>
            <a:ext cx="955390" cy="138499"/>
          </a:xfrm>
          <a:prstGeom prst="rect">
            <a:avLst/>
          </a:prstGeom>
          <a:noFill/>
        </p:spPr>
        <p:txBody>
          <a:bodyPr wrap="none" lIns="0" tIns="0" rIns="0" bIns="0" rtlCol="0" anchor="b">
            <a:spAutoFit/>
          </a:bodyPr>
          <a:lstStyle>
            <a:lvl1pPr>
              <a:defRPr lang="en-IN">
                <a:solidFill>
                  <a:schemeClr val="tx2">
                    <a:lumMod val="20000"/>
                    <a:lumOff val="80000"/>
                  </a:schemeClr>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3" y="6465614"/>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Tree>
    <p:extLst>
      <p:ext uri="{BB962C8B-B14F-4D97-AF65-F5344CB8AC3E}">
        <p14:creationId xmlns:p14="http://schemas.microsoft.com/office/powerpoint/2010/main" val="44845853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003623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7E2B9A3-0AB0-4FA9-BE30-99B8A88EB12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8134763" y="-1"/>
            <a:ext cx="4059776"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2" y="562841"/>
            <a:ext cx="7261122" cy="418576"/>
          </a:xfrm>
        </p:spPr>
        <p:txBody>
          <a:bodyPr vert="horz" wrap="square" lIns="0" tIns="0" rIns="0" bIns="0" rtlCol="0" anchor="t">
            <a:spAutoFit/>
          </a:bodyPr>
          <a:lstStyle>
            <a:lvl1pPr>
              <a:defRPr lang="en-US" dirty="0"/>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3" y="6445294"/>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747BD8F9-1D4E-4291-8770-E69192472F2F}"/>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F19AD426-D097-4B58-AA0C-5D7F9F888F48}"/>
              </a:ext>
            </a:extLst>
          </p:cNvPr>
          <p:cNvGrpSpPr/>
          <p:nvPr userDrawn="1"/>
        </p:nvGrpSpPr>
        <p:grpSpPr>
          <a:xfrm>
            <a:off x="11998459" y="6162188"/>
            <a:ext cx="68500" cy="441924"/>
            <a:chOff x="11998459" y="6162188"/>
            <a:chExt cx="68500" cy="441924"/>
          </a:xfrm>
          <a:solidFill>
            <a:schemeClr val="bg1"/>
          </a:solidFill>
        </p:grpSpPr>
        <p:sp>
          <p:nvSpPr>
            <p:cNvPr id="10" name="Freeform: Shape 9">
              <a:extLst>
                <a:ext uri="{FF2B5EF4-FFF2-40B4-BE49-F238E27FC236}">
                  <a16:creationId xmlns:a16="http://schemas.microsoft.com/office/drawing/2014/main" id="{90898366-B817-43FB-AFAE-6B0F4D8DBE50}"/>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1" name="Freeform: Shape 10">
              <a:extLst>
                <a:ext uri="{FF2B5EF4-FFF2-40B4-BE49-F238E27FC236}">
                  <a16:creationId xmlns:a16="http://schemas.microsoft.com/office/drawing/2014/main" id="{C17DAB8C-8046-45A5-9FE4-564DE8FE4EE2}"/>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2" name="Freeform: Shape 11">
              <a:extLst>
                <a:ext uri="{FF2B5EF4-FFF2-40B4-BE49-F238E27FC236}">
                  <a16:creationId xmlns:a16="http://schemas.microsoft.com/office/drawing/2014/main" id="{F1156B93-1AC0-4DBA-B396-FC69064FFEF4}"/>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A1E59D13-5E41-48F0-B4AD-7159EBBE3A9B}"/>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B55096B5-2F5A-4EE7-9D5D-017B4E21FBAC}"/>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FDB19AA4-F79C-4F57-8079-2753D73438F9}"/>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9614D237-BF63-4029-98DA-D71D891F28BD}"/>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9B16BE89-A7E5-45F9-971D-D0BD8B330A7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005136AA-2C5A-47B0-9E10-05F2E530C402}"/>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9547C5FE-7A4A-4EDD-B629-A30100071A11}"/>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BD0E1BA-DF6A-404C-9E16-E00370C5726B}"/>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0B07B6BF-075A-4C4F-BA25-883DFCB7229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59E62E96-212A-4625-95BF-B76CFC534CF1}"/>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3" name="Copyright">
            <a:extLst>
              <a:ext uri="{FF2B5EF4-FFF2-40B4-BE49-F238E27FC236}">
                <a16:creationId xmlns:a16="http://schemas.microsoft.com/office/drawing/2014/main" id="{9D736DFD-D753-4935-B0F1-C258D786A795}"/>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sp>
        <p:nvSpPr>
          <p:cNvPr id="24" name="Footer Placeholder 2">
            <a:extLst>
              <a:ext uri="{FF2B5EF4-FFF2-40B4-BE49-F238E27FC236}">
                <a16:creationId xmlns:a16="http://schemas.microsoft.com/office/drawing/2014/main" id="{102EDCD8-AA6A-4696-8E69-48019CAD0AD1}"/>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Tree>
    <p:extLst>
      <p:ext uri="{BB962C8B-B14F-4D97-AF65-F5344CB8AC3E}">
        <p14:creationId xmlns:p14="http://schemas.microsoft.com/office/powerpoint/2010/main" val="23281163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3574794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DC2C367-8056-426B-81B2-4B2C7238E5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2" y="562841"/>
            <a:ext cx="5205071" cy="837152"/>
          </a:xfrm>
        </p:spPr>
        <p:txBody>
          <a:bodyPr vert="horz" wrap="square" lIns="0" tIns="0" rIns="0" bIns="0" rtlCol="0" anchor="t">
            <a:spAutoFit/>
          </a:bodyPr>
          <a:lstStyle>
            <a:lvl1pPr>
              <a:defRPr lang="en-US" dirty="0"/>
            </a:lvl1pPr>
          </a:lstStyle>
          <a:p>
            <a:pPr lvl="0">
              <a:lnSpc>
                <a:spcPct val="85000"/>
              </a:lnSpc>
            </a:pPr>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3" y="6445294"/>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9" name="Straight Connector 8">
            <a:extLst>
              <a:ext uri="{FF2B5EF4-FFF2-40B4-BE49-F238E27FC236}">
                <a16:creationId xmlns:a16="http://schemas.microsoft.com/office/drawing/2014/main" id="{C8C5468B-3210-455B-960F-ACC92937B434}"/>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D85A519-4566-4E0C-A58C-80A700C7504C}"/>
              </a:ext>
            </a:extLst>
          </p:cNvPr>
          <p:cNvGrpSpPr/>
          <p:nvPr userDrawn="1"/>
        </p:nvGrpSpPr>
        <p:grpSpPr>
          <a:xfrm>
            <a:off x="11998459" y="6162188"/>
            <a:ext cx="68500" cy="441924"/>
            <a:chOff x="11998459" y="6162188"/>
            <a:chExt cx="68500" cy="441924"/>
          </a:xfrm>
          <a:solidFill>
            <a:schemeClr val="bg1"/>
          </a:solidFill>
        </p:grpSpPr>
        <p:sp>
          <p:nvSpPr>
            <p:cNvPr id="11" name="Freeform: Shape 10">
              <a:extLst>
                <a:ext uri="{FF2B5EF4-FFF2-40B4-BE49-F238E27FC236}">
                  <a16:creationId xmlns:a16="http://schemas.microsoft.com/office/drawing/2014/main" id="{7CAE1C60-A871-443D-A7F9-B6E2D559E441}"/>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2" name="Freeform: Shape 11">
              <a:extLst>
                <a:ext uri="{FF2B5EF4-FFF2-40B4-BE49-F238E27FC236}">
                  <a16:creationId xmlns:a16="http://schemas.microsoft.com/office/drawing/2014/main" id="{D1655526-EBA0-434F-9F17-F2F25EB67C64}"/>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B7304F15-51D1-4B7A-AD7A-819CBC4AE4D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6338FE57-1805-4A9C-BF1D-DAD6347D2D9A}"/>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6B569ED1-C596-40B1-BE9A-9017E2A34317}"/>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4009E87D-15F6-461B-8613-4D45DEC91DF8}"/>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EF1E131A-2CBD-498E-BF77-35CB73179FB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70206C6A-0755-4A5A-A68A-80DA88954D0D}"/>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E77717B5-6538-40B8-80D9-DF6AF219884E}"/>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A6F4C72B-A338-43A5-B504-D7C59DF51F82}"/>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12BF5563-93F1-481A-91B4-C075059E368E}"/>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7FC16EFC-46A9-416F-86D6-804893E20E5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CB960D13-8779-48EB-ACDD-6F71D394676F}"/>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5" name="Footer Placeholder 2">
            <a:extLst>
              <a:ext uri="{FF2B5EF4-FFF2-40B4-BE49-F238E27FC236}">
                <a16:creationId xmlns:a16="http://schemas.microsoft.com/office/drawing/2014/main" id="{8D5C90CD-E3CF-46F9-BF9E-F748CFCE1624}"/>
              </a:ext>
            </a:extLst>
          </p:cNvPr>
          <p:cNvSpPr>
            <a:spLocks noGrp="1"/>
          </p:cNvSpPr>
          <p:nvPr>
            <p:ph type="ftr" sz="quarter" idx="10"/>
          </p:nvPr>
        </p:nvSpPr>
        <p:spPr>
          <a:xfrm>
            <a:off x="550862" y="6465614"/>
            <a:ext cx="955390" cy="138499"/>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Tree>
    <p:extLst>
      <p:ext uri="{BB962C8B-B14F-4D97-AF65-F5344CB8AC3E}">
        <p14:creationId xmlns:p14="http://schemas.microsoft.com/office/powerpoint/2010/main" val="54072226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131716185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874EE92D-4D1C-47C9-913E-5715C82141F2}"/>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4249532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5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340173959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ECE5C3D-D93A-DBD7-39B1-D9D00DD8AD8B}"/>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1919" t="7707" r="21919" b="7707"/>
          <a:stretch/>
        </p:blipFill>
        <p:spPr>
          <a:xfrm>
            <a:off x="0" y="0"/>
            <a:ext cx="12192000"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1566866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4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367221305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6C96425-6CDC-4E22-05CC-4B40D3E50BDA}"/>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4275" t="4296" r="4275" b="18385"/>
          <a:stretch/>
        </p:blipFill>
        <p:spPr>
          <a:xfrm>
            <a:off x="0" y="0"/>
            <a:ext cx="12192000"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2546434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2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229433829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D2B8655-2F4A-868B-C79D-01D5D1BA08BD}"/>
              </a:ext>
            </a:extLst>
          </p:cNvPr>
          <p:cNvPicPr>
            <a:picLocks noChangeAspect="1"/>
          </p:cNvPicPr>
          <p:nvPr userDrawn="1"/>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17573" y="0"/>
            <a:ext cx="12156854"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228972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3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47747112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E09FE20-9827-C595-5B42-0E41BC5D77C9}"/>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6390" t="5882" r="6390" b="5882"/>
          <a:stretch/>
        </p:blipFill>
        <p:spPr>
          <a:xfrm>
            <a:off x="35146" y="0"/>
            <a:ext cx="12156854"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42352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EE13-6A4D-48C2-A4B1-30DA07094AC2}"/>
              </a:ext>
            </a:extLst>
          </p:cNvPr>
          <p:cNvGraphicFramePr>
            <a:graphicFrameLocks noChangeAspect="1"/>
          </p:cNvGraphicFramePr>
          <p:nvPr userDrawn="1">
            <p:custDataLst>
              <p:tags r:id="rId1"/>
            </p:custDataLst>
            <p:extLst>
              <p:ext uri="{D42A27DB-BD31-4B8C-83A1-F6EECF244321}">
                <p14:modId xmlns:p14="http://schemas.microsoft.com/office/powerpoint/2010/main" val="286560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7215EE13-6A4D-48C2-A4B1-30DA07094A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63ADCA1-24FF-455B-8752-27019761817C}"/>
              </a:ext>
            </a:extLst>
          </p:cNvPr>
          <p:cNvSpPr>
            <a:spLocks noGrp="1"/>
          </p:cNvSpPr>
          <p:nvPr>
            <p:ph type="title"/>
          </p:nvPr>
        </p:nvSpPr>
        <p:spPr>
          <a:xfrm>
            <a:off x="531814" y="560588"/>
            <a:ext cx="11089972" cy="422295"/>
          </a:xfrm>
        </p:spPr>
        <p:txBody>
          <a:bodyPr vert="horz" wrap="square" lIns="0" tIns="0" rIns="0" bIns="0" rtlCol="0" anchor="t">
            <a:spAutoFit/>
          </a:bodyPr>
          <a:lstStyle>
            <a:lvl1pPr>
              <a:defRPr lang="en-IN" dirty="0">
                <a:latin typeface="Franklin Gothic Demi" panose="020B0703020102020204" pitchFamily="34" charset="0"/>
                <a:cs typeface="Calibri" panose="020F0502020204030204" pitchFamily="34" charset="0"/>
                <a:sym typeface="Calibri" panose="020F0502020204030204" pitchFamily="34" charset="0"/>
              </a:defRPr>
            </a:lvl1pPr>
          </a:lstStyle>
          <a:p>
            <a:pPr lvl="0">
              <a:lnSpc>
                <a:spcPct val="85000"/>
              </a:lnSpc>
            </a:pPr>
            <a:r>
              <a:rPr lang="en-US"/>
              <a:t>Click to edit Master title style</a:t>
            </a:r>
            <a:endParaRPr lang="en-IN" dirty="0"/>
          </a:p>
        </p:txBody>
      </p:sp>
      <p:sp>
        <p:nvSpPr>
          <p:cNvPr id="10" name="Text Placeholder 9">
            <a:extLst>
              <a:ext uri="{FF2B5EF4-FFF2-40B4-BE49-F238E27FC236}">
                <a16:creationId xmlns:a16="http://schemas.microsoft.com/office/drawing/2014/main" id="{B7DA5DEC-E51B-46CB-9299-877852868261}"/>
              </a:ext>
            </a:extLst>
          </p:cNvPr>
          <p:cNvSpPr>
            <a:spLocks noGrp="1"/>
          </p:cNvSpPr>
          <p:nvPr>
            <p:ph type="body" sz="quarter" idx="13"/>
          </p:nvPr>
        </p:nvSpPr>
        <p:spPr>
          <a:xfrm>
            <a:off x="531814" y="1028324"/>
            <a:ext cx="11089972" cy="292388"/>
          </a:xfrm>
        </p:spPr>
        <p:txBody>
          <a:bodyPr>
            <a:spAutoFit/>
          </a:bodyPr>
          <a:lstStyle>
            <a:lvl1pPr>
              <a:defRPr sz="2000">
                <a:solidFill>
                  <a:schemeClr val="tx2">
                    <a:lumMod val="60000"/>
                    <a:lumOff val="40000"/>
                  </a:schemeClr>
                </a:solidFill>
                <a:latin typeface="Franklin Gothic Book" panose="020B0503020102020204" pitchFamily="34" charset="0"/>
                <a:cs typeface="Calibri" panose="020F0502020204030204" pitchFamily="34" charset="0"/>
                <a:sym typeface="Calibri" panose="020F0502020204030204" pitchFamily="34" charset="0"/>
              </a:defRPr>
            </a:lvl1pPr>
          </a:lstStyle>
          <a:p>
            <a:pPr lvl="0"/>
            <a:r>
              <a:rPr lang="en-US"/>
              <a:t>Click to edit Master text styles</a:t>
            </a:r>
          </a:p>
        </p:txBody>
      </p:sp>
      <p:sp>
        <p:nvSpPr>
          <p:cNvPr id="8" name="Footer Placeholder 4">
            <a:extLst>
              <a:ext uri="{FF2B5EF4-FFF2-40B4-BE49-F238E27FC236}">
                <a16:creationId xmlns:a16="http://schemas.microsoft.com/office/drawing/2014/main" id="{F1CD3974-176A-43B6-8E60-33BCD19BBC8B}"/>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319006723"/>
      </p:ext>
    </p:extLst>
  </p:cSld>
  <p:clrMapOvr>
    <a:masterClrMapping/>
  </p:clrMapOvr>
  <p:hf hdr="0" dt="0"/>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6_Plain Whit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364480282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08E1BC5E-BE01-39D3-839A-84A44EE84C9A}"/>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6587" t="7174" r="12652" b="7174"/>
          <a:stretch/>
        </p:blipFill>
        <p:spPr>
          <a:xfrm>
            <a:off x="35146" y="0"/>
            <a:ext cx="12121708" cy="6858000"/>
          </a:xfrm>
          <a:prstGeom prst="rect">
            <a:avLst/>
          </a:prstGeom>
        </p:spPr>
      </p:pic>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5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482E60DA-1F02-9A45-8CE9-6CC78A3380F0}"/>
              </a:ext>
            </a:extLst>
          </p:cNvPr>
          <p:cNvSpPr/>
          <p:nvPr userDrawn="1"/>
        </p:nvSpPr>
        <p:spPr>
          <a:xfrm>
            <a:off x="0"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0" y="3700463"/>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dirty="0" err="1">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5">
            <a:extLst>
              <a:ext uri="{FF2B5EF4-FFF2-40B4-BE49-F238E27FC236}">
                <a16:creationId xmlns:a16="http://schemas.microsoft.com/office/drawing/2014/main" id="{62FC8D14-70D2-7549-AB21-7BE68BD7C174}"/>
              </a:ext>
            </a:extLst>
          </p:cNvPr>
          <p:cNvSpPr>
            <a:spLocks noGrp="1"/>
          </p:cNvSpPr>
          <p:nvPr>
            <p:ph type="sldNum" sz="quarter" idx="4"/>
          </p:nvPr>
        </p:nvSpPr>
        <p:spPr>
          <a:xfrm>
            <a:off x="11501674" y="6445294"/>
            <a:ext cx="139462" cy="138499"/>
          </a:xfrm>
          <a:prstGeom prst="rect">
            <a:avLst/>
          </a:prstGeom>
          <a:noFill/>
        </p:spPr>
        <p:txBody>
          <a:bodyPr wrap="none" lIns="0" tIns="0" rIns="0" bIns="0" rtlCol="0" anchor="b">
            <a:spAutoFit/>
          </a:bodyPr>
          <a:lstStyle>
            <a:lvl1pPr algn="r">
              <a:lnSpc>
                <a:spcPct val="100000"/>
              </a:lnSpc>
              <a:defRPr kumimoji="0" lang="en-US" sz="9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fld id="{8F8D7F04-0843-CE4E-9080-A55527BC6FD9}" type="slidenum">
              <a:rPr lang="en-IN" smtClean="0"/>
              <a:pPr/>
              <a:t>‹#›</a:t>
            </a:fld>
            <a:endParaRPr lang="en-IN" dirty="0"/>
          </a:p>
        </p:txBody>
      </p:sp>
      <p:sp>
        <p:nvSpPr>
          <p:cNvPr id="6" name="Copyright">
            <a:extLst>
              <a:ext uri="{FF2B5EF4-FFF2-40B4-BE49-F238E27FC236}">
                <a16:creationId xmlns:a16="http://schemas.microsoft.com/office/drawing/2014/main" id="{25ED1541-2768-484A-B508-132270F4720A}"/>
              </a:ext>
            </a:extLst>
          </p:cNvPr>
          <p:cNvSpPr txBox="1"/>
          <p:nvPr userDrawn="1"/>
        </p:nvSpPr>
        <p:spPr>
          <a:xfrm rot="16200000">
            <a:off x="11154603" y="5680115"/>
            <a:ext cx="1798569" cy="96950"/>
          </a:xfrm>
          <a:prstGeom prst="rect">
            <a:avLst/>
          </a:prstGeom>
          <a:noFill/>
        </p:spPr>
        <p:txBody>
          <a:bodyPr wrap="none" lIns="0" tIns="0" rIns="0" bIns="0" rtlCol="0" anchor="t">
            <a:spAutoFit/>
          </a:bodyPr>
          <a:lstStyle/>
          <a:p>
            <a:pPr>
              <a:lnSpc>
                <a:spcPct val="90000"/>
              </a:lnSpc>
              <a:spcAft>
                <a:spcPts val="600"/>
              </a:spcAft>
            </a:pPr>
            <a:r>
              <a:rPr lang="en-US" sz="700" b="0" i="0" dirty="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Infomineo Copyright © 20233 All rights reserved.</a:t>
            </a:r>
          </a:p>
        </p:txBody>
      </p:sp>
      <p:sp>
        <p:nvSpPr>
          <p:cNvPr id="7" name="Slide Number Placeholder 5">
            <a:extLst>
              <a:ext uri="{FF2B5EF4-FFF2-40B4-BE49-F238E27FC236}">
                <a16:creationId xmlns:a16="http://schemas.microsoft.com/office/drawing/2014/main" id="{B320E1C7-337A-BF4B-A826-DFB0B274D592}"/>
              </a:ext>
            </a:extLst>
          </p:cNvPr>
          <p:cNvSpPr txBox="1">
            <a:spLocks/>
          </p:cNvSpPr>
          <p:nvPr userDrawn="1"/>
        </p:nvSpPr>
        <p:spPr>
          <a:xfrm>
            <a:off x="11501674" y="6445294"/>
            <a:ext cx="139462" cy="138499"/>
          </a:xfrm>
          <a:prstGeom prst="rect">
            <a:avLst/>
          </a:prstGeom>
          <a:noFill/>
        </p:spPr>
        <p:txBody>
          <a:bodyPr wrap="none" lIns="0" tIns="0" rIns="0" bIns="0" rtlCol="0" anchor="b">
            <a:spAutoFit/>
          </a:bodyPr>
          <a:lstStyle>
            <a:defPPr>
              <a:defRPr lang="en-US"/>
            </a:defPPr>
            <a:lvl1pPr marL="0" algn="r" defTabSz="914400" rtl="0" eaLnBrk="1" latinLnBrk="0" hangingPunct="1">
              <a:lnSpc>
                <a:spcPct val="100000"/>
              </a:lnSpc>
              <a:defRPr kumimoji="0" lang="en-US" sz="900" b="0" i="0" u="none" strike="noStrike" kern="1200" cap="none" spc="0" normalizeH="0" baseline="0" smtClean="0">
                <a:ln>
                  <a:noFill/>
                </a:ln>
                <a:solidFill>
                  <a:schemeClr val="bg1">
                    <a:lumMod val="50000"/>
                  </a:schemeClr>
                </a:solidFill>
                <a:effectLst/>
                <a:uLnTx/>
                <a:uFillTx/>
                <a:latin typeface="Gill Sans Nova Light" panose="020B03020201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8D7F04-0843-CE4E-9080-A55527BC6FD9}" type="slidenum">
              <a:rPr lang="en-IN" smtClean="0">
                <a:latin typeface="Calibri" panose="020F0502020204030204" pitchFamily="34" charset="0"/>
                <a:cs typeface="Calibri" panose="020F0502020204030204" pitchFamily="34" charset="0"/>
                <a:sym typeface="Calibri" panose="020F0502020204030204" pitchFamily="34" charset="0"/>
              </a:rPr>
              <a:pPr/>
              <a:t>‹#›</a:t>
            </a:fld>
            <a:endParaRPr lang="en-IN" dirty="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1" y="4566253"/>
            <a:ext cx="8494899" cy="654025"/>
          </a:xfrm>
        </p:spPr>
        <p:txBody>
          <a:bodyPr vert="horz" wrap="square" lIns="0" tIns="0" rIns="0" bIns="0" rtlCol="0" anchor="ctr">
            <a:spAutoFit/>
          </a:bodyPr>
          <a:lstStyle>
            <a:lvl1pPr>
              <a:defRPr lang="en-US" sz="5000" dirty="0">
                <a:solidFill>
                  <a:schemeClr val="bg1"/>
                </a:solidFill>
              </a:defRPr>
            </a:lvl1pPr>
          </a:lstStyle>
          <a:p>
            <a:pPr lvl="0">
              <a:lnSpc>
                <a:spcPct val="85000"/>
              </a:lnSpc>
            </a:pPr>
            <a:r>
              <a:rPr lang="en-GB" dirty="0"/>
              <a:t>Click to edit Master title style</a:t>
            </a:r>
            <a:endParaRPr lang="en-US" dirty="0"/>
          </a:p>
        </p:txBody>
      </p:sp>
    </p:spTree>
    <p:extLst>
      <p:ext uri="{BB962C8B-B14F-4D97-AF65-F5344CB8AC3E}">
        <p14:creationId xmlns:p14="http://schemas.microsoft.com/office/powerpoint/2010/main" val="475075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16146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Calibri" panose="020F0502020204030204" pitchFamily="34" charset="0"/>
              <a:cs typeface="Calibri" panose="020F0502020204030204" pitchFamily="34" charset="0"/>
              <a:sym typeface="Calibri" panose="020F0502020204030204" pitchFamily="34" charset="0"/>
            </a:endParaRPr>
          </a:p>
        </p:txBody>
      </p:sp>
      <p:sp>
        <p:nvSpPr>
          <p:cNvPr id="6" name="TextBox 5">
            <a:extLst>
              <a:ext uri="{FF2B5EF4-FFF2-40B4-BE49-F238E27FC236}">
                <a16:creationId xmlns:a16="http://schemas.microsoft.com/office/drawing/2014/main" id="{8106A152-DC8B-0C47-8CFD-D99759D28F81}"/>
              </a:ext>
            </a:extLst>
          </p:cNvPr>
          <p:cNvSpPr txBox="1"/>
          <p:nvPr userDrawn="1"/>
        </p:nvSpPr>
        <p:spPr>
          <a:xfrm>
            <a:off x="550863" y="5965461"/>
            <a:ext cx="3028906" cy="369332"/>
          </a:xfrm>
          <a:prstGeom prst="rect">
            <a:avLst/>
          </a:prstGeom>
          <a:noFill/>
        </p:spPr>
        <p:txBody>
          <a:bodyPr wrap="none" lIns="0" tIns="0" rIns="0" bIns="0" rtlCol="0">
            <a:spAutoFit/>
          </a:bodyPr>
          <a:lstStyle/>
          <a:p>
            <a:pPr algn="l"/>
            <a:r>
              <a:rPr lang="en-GB" sz="1200" b="1" i="0" u="sng" dirty="0">
                <a:solidFill>
                  <a:schemeClr val="accent3">
                    <a:lumMod val="60000"/>
                    <a:lumOff val="40000"/>
                  </a:schemeClr>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hlinkClick r:id="rId5">
                  <a:extLst>
                    <a:ext uri="{A12FA001-AC4F-418D-AE19-62706E023703}">
                      <ahyp:hlinkClr xmlns:ahyp="http://schemas.microsoft.com/office/drawing/2018/hyperlinkcolor" val="tx"/>
                    </a:ext>
                  </a:extLst>
                </a:hlinkClick>
              </a:rPr>
              <a:t>www.infomineo.com</a:t>
            </a:r>
            <a:endParaRPr lang="en-GB" sz="1200" b="1" i="0" u="sng" dirty="0">
              <a:solidFill>
                <a:schemeClr val="accent3">
                  <a:lumMod val="60000"/>
                  <a:lumOff val="40000"/>
                </a:schemeClr>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endParaRPr>
          </a:p>
          <a:p>
            <a:pPr algn="l"/>
            <a:r>
              <a:rPr lang="en-GB" sz="1200" b="0" i="0" dirty="0">
                <a:solidFill>
                  <a:schemeClr val="bg1"/>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Infomineo Copyright © 2023. All rights reserved.</a:t>
            </a:r>
          </a:p>
        </p:txBody>
      </p:sp>
      <p:pic>
        <p:nvPicPr>
          <p:cNvPr id="13" name="Graphic 12">
            <a:extLst>
              <a:ext uri="{FF2B5EF4-FFF2-40B4-BE49-F238E27FC236}">
                <a16:creationId xmlns:a16="http://schemas.microsoft.com/office/drawing/2014/main" id="{C7CFAB11-6F0A-43F9-8297-D133DEE8097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56669" y="3006053"/>
            <a:ext cx="3678662" cy="845895"/>
          </a:xfrm>
          <a:prstGeom prst="rect">
            <a:avLst/>
          </a:prstGeom>
        </p:spPr>
      </p:pic>
      <p:pic>
        <p:nvPicPr>
          <p:cNvPr id="30" name="Picture 29">
            <a:hlinkClick r:id="rId8"/>
            <a:extLst>
              <a:ext uri="{FF2B5EF4-FFF2-40B4-BE49-F238E27FC236}">
                <a16:creationId xmlns:a16="http://schemas.microsoft.com/office/drawing/2014/main" id="{3ED467EF-C028-4376-B7C8-A8830D77CF76}"/>
              </a:ext>
            </a:extLst>
          </p:cNvPr>
          <p:cNvPicPr>
            <a:picLocks noChangeAspect="1"/>
          </p:cNvPicPr>
          <p:nvPr userDrawn="1"/>
        </p:nvPicPr>
        <p:blipFill>
          <a:blip r:embed="rId9"/>
          <a:stretch>
            <a:fillRect/>
          </a:stretch>
        </p:blipFill>
        <p:spPr>
          <a:xfrm>
            <a:off x="11323329" y="5965461"/>
            <a:ext cx="370332" cy="370332"/>
          </a:xfrm>
          <a:prstGeom prst="rect">
            <a:avLst/>
          </a:prstGeom>
        </p:spPr>
      </p:pic>
      <p:pic>
        <p:nvPicPr>
          <p:cNvPr id="32" name="Picture 31">
            <a:hlinkClick r:id="rId10"/>
            <a:extLst>
              <a:ext uri="{FF2B5EF4-FFF2-40B4-BE49-F238E27FC236}">
                <a16:creationId xmlns:a16="http://schemas.microsoft.com/office/drawing/2014/main" id="{3BF2889F-2FC0-49EE-9DAD-8868FC3BE522}"/>
              </a:ext>
            </a:extLst>
          </p:cNvPr>
          <p:cNvPicPr>
            <a:picLocks noChangeAspect="1"/>
          </p:cNvPicPr>
          <p:nvPr userDrawn="1"/>
        </p:nvPicPr>
        <p:blipFill>
          <a:blip r:embed="rId11"/>
          <a:stretch>
            <a:fillRect/>
          </a:stretch>
        </p:blipFill>
        <p:spPr>
          <a:xfrm>
            <a:off x="10825964" y="5965461"/>
            <a:ext cx="368808" cy="370332"/>
          </a:xfrm>
          <a:prstGeom prst="rect">
            <a:avLst/>
          </a:prstGeom>
        </p:spPr>
      </p:pic>
      <p:pic>
        <p:nvPicPr>
          <p:cNvPr id="34" name="Picture 33">
            <a:hlinkClick r:id="rId12"/>
            <a:extLst>
              <a:ext uri="{FF2B5EF4-FFF2-40B4-BE49-F238E27FC236}">
                <a16:creationId xmlns:a16="http://schemas.microsoft.com/office/drawing/2014/main" id="{96507CF0-D683-43B8-9352-634205E2EC2C}"/>
              </a:ext>
            </a:extLst>
          </p:cNvPr>
          <p:cNvPicPr>
            <a:picLocks noChangeAspect="1"/>
          </p:cNvPicPr>
          <p:nvPr userDrawn="1"/>
        </p:nvPicPr>
        <p:blipFill>
          <a:blip r:embed="rId13"/>
          <a:stretch>
            <a:fillRect/>
          </a:stretch>
        </p:blipFill>
        <p:spPr>
          <a:xfrm>
            <a:off x="10328599" y="5965461"/>
            <a:ext cx="368808" cy="370332"/>
          </a:xfrm>
          <a:prstGeom prst="rect">
            <a:avLst/>
          </a:prstGeom>
        </p:spPr>
      </p:pic>
    </p:spTree>
    <p:extLst>
      <p:ext uri="{BB962C8B-B14F-4D97-AF65-F5344CB8AC3E}">
        <p14:creationId xmlns:p14="http://schemas.microsoft.com/office/powerpoint/2010/main" val="84776485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Guides">
    <p:spTree>
      <p:nvGrpSpPr>
        <p:cNvPr id="1" name=""/>
        <p:cNvGrpSpPr/>
        <p:nvPr/>
      </p:nvGrpSpPr>
      <p:grpSpPr>
        <a:xfrm>
          <a:off x="0" y="0"/>
          <a:ext cx="0" cy="0"/>
          <a:chOff x="0" y="0"/>
          <a:chExt cx="0" cy="0"/>
        </a:xfrm>
      </p:grpSpPr>
      <p:graphicFrame>
        <p:nvGraphicFramePr>
          <p:cNvPr id="49" name="Object 48" hidden="1">
            <a:extLst>
              <a:ext uri="{FF2B5EF4-FFF2-40B4-BE49-F238E27FC236}">
                <a16:creationId xmlns:a16="http://schemas.microsoft.com/office/drawing/2014/main" id="{C7E8C095-69F2-4BC8-964E-A1BFE9309E4B}"/>
              </a:ext>
            </a:extLst>
          </p:cNvPr>
          <p:cNvGraphicFramePr>
            <a:graphicFrameLocks noChangeAspect="1"/>
          </p:cNvGraphicFramePr>
          <p:nvPr userDrawn="1">
            <p:custDataLst>
              <p:tags r:id="rId1"/>
            </p:custDataLst>
            <p:extLst>
              <p:ext uri="{D42A27DB-BD31-4B8C-83A1-F6EECF244321}">
                <p14:modId xmlns:p14="http://schemas.microsoft.com/office/powerpoint/2010/main" val="870154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9" name="Object 48" hidden="1">
                        <a:extLst>
                          <a:ext uri="{FF2B5EF4-FFF2-40B4-BE49-F238E27FC236}">
                            <a16:creationId xmlns:a16="http://schemas.microsoft.com/office/drawing/2014/main" id="{C7E8C095-69F2-4BC8-964E-A1BFE9309E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B5F11C0-1445-4182-AF87-C63E0DB6CE2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7" name="Freeform: Shape 95">
            <a:extLst>
              <a:ext uri="{FF2B5EF4-FFF2-40B4-BE49-F238E27FC236}">
                <a16:creationId xmlns:a16="http://schemas.microsoft.com/office/drawing/2014/main" id="{E5A08834-247C-4C9E-93E7-8514C051C060}"/>
              </a:ext>
            </a:extLst>
          </p:cNvPr>
          <p:cNvSpPr/>
          <p:nvPr userDrawn="1"/>
        </p:nvSpPr>
        <p:spPr>
          <a:xfrm>
            <a:off x="0" y="0"/>
            <a:ext cx="12193200" cy="6858000"/>
          </a:xfrm>
          <a:custGeom>
            <a:avLst/>
            <a:gdLst>
              <a:gd name="connsiteX0" fmla="*/ 566584 w 12193200"/>
              <a:gd name="connsiteY0" fmla="*/ 549276 h 6858000"/>
              <a:gd name="connsiteX1" fmla="*/ 566584 w 12193200"/>
              <a:gd name="connsiteY1" fmla="*/ 6308726 h 6858000"/>
              <a:gd name="connsiteX2" fmla="*/ 11641138 w 12193200"/>
              <a:gd name="connsiteY2" fmla="*/ 6308726 h 6858000"/>
              <a:gd name="connsiteX3" fmla="*/ 11641138 w 12193200"/>
              <a:gd name="connsiteY3" fmla="*/ 549276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5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50" name="Group 49">
            <a:extLst>
              <a:ext uri="{FF2B5EF4-FFF2-40B4-BE49-F238E27FC236}">
                <a16:creationId xmlns:a16="http://schemas.microsoft.com/office/drawing/2014/main" id="{D59B0D14-7DD8-45E2-B968-99300FF0D28D}"/>
              </a:ext>
            </a:extLst>
          </p:cNvPr>
          <p:cNvGrpSpPr/>
          <p:nvPr userDrawn="1"/>
        </p:nvGrpSpPr>
        <p:grpSpPr>
          <a:xfrm>
            <a:off x="-600" y="549275"/>
            <a:ext cx="12193200" cy="5759450"/>
            <a:chOff x="-600" y="549275"/>
            <a:chExt cx="12193200" cy="5759450"/>
          </a:xfrm>
        </p:grpSpPr>
        <p:cxnSp>
          <p:nvCxnSpPr>
            <p:cNvPr id="24" name="Straight Connector 23">
              <a:extLst>
                <a:ext uri="{FF2B5EF4-FFF2-40B4-BE49-F238E27FC236}">
                  <a16:creationId xmlns:a16="http://schemas.microsoft.com/office/drawing/2014/main" id="{EFD9771C-C32F-443B-97DA-AB808B787FCB}"/>
                </a:ext>
              </a:extLst>
            </p:cNvPr>
            <p:cNvCxnSpPr/>
            <p:nvPr/>
          </p:nvCxnSpPr>
          <p:spPr>
            <a:xfrm>
              <a:off x="-600" y="54927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FDCFA-8871-4375-9DD7-4FC5886280A9}"/>
                </a:ext>
              </a:extLst>
            </p:cNvPr>
            <p:cNvCxnSpPr/>
            <p:nvPr/>
          </p:nvCxnSpPr>
          <p:spPr>
            <a:xfrm>
              <a:off x="-600" y="107286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BCC4B7F-FEF1-4EA1-831D-C9AA6F5F064E}"/>
                </a:ext>
              </a:extLst>
            </p:cNvPr>
            <p:cNvCxnSpPr/>
            <p:nvPr/>
          </p:nvCxnSpPr>
          <p:spPr>
            <a:xfrm>
              <a:off x="-600" y="133465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1DCA16-8F73-4630-BDD0-2A70C4A58AB4}"/>
                </a:ext>
              </a:extLst>
            </p:cNvPr>
            <p:cNvCxnSpPr/>
            <p:nvPr/>
          </p:nvCxnSpPr>
          <p:spPr>
            <a:xfrm>
              <a:off x="-600" y="159644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C31EB1-B3A4-46CF-BFA4-063B67EE1C0D}"/>
                </a:ext>
              </a:extLst>
            </p:cNvPr>
            <p:cNvCxnSpPr/>
            <p:nvPr/>
          </p:nvCxnSpPr>
          <p:spPr>
            <a:xfrm>
              <a:off x="-600" y="185824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93E6A85-DDE0-4463-B476-9FA784357023}"/>
                </a:ext>
              </a:extLst>
            </p:cNvPr>
            <p:cNvCxnSpPr/>
            <p:nvPr/>
          </p:nvCxnSpPr>
          <p:spPr>
            <a:xfrm>
              <a:off x="-600" y="212003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A4D7F3C-5BD5-4AC2-88A1-966E801F5AED}"/>
                </a:ext>
              </a:extLst>
            </p:cNvPr>
            <p:cNvCxnSpPr/>
            <p:nvPr/>
          </p:nvCxnSpPr>
          <p:spPr>
            <a:xfrm>
              <a:off x="-600" y="238182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2775BB7-F520-4F81-AF6D-F59D1B76F55E}"/>
                </a:ext>
              </a:extLst>
            </p:cNvPr>
            <p:cNvCxnSpPr/>
            <p:nvPr/>
          </p:nvCxnSpPr>
          <p:spPr>
            <a:xfrm>
              <a:off x="-600" y="264361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CB72474-2AC2-420E-BDB5-E5A722B50684}"/>
                </a:ext>
              </a:extLst>
            </p:cNvPr>
            <p:cNvCxnSpPr/>
            <p:nvPr/>
          </p:nvCxnSpPr>
          <p:spPr>
            <a:xfrm>
              <a:off x="-600" y="290541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7F88338-30AC-49A0-A5C4-EC7BD34E1FA6}"/>
                </a:ext>
              </a:extLst>
            </p:cNvPr>
            <p:cNvCxnSpPr/>
            <p:nvPr/>
          </p:nvCxnSpPr>
          <p:spPr>
            <a:xfrm>
              <a:off x="-600" y="316720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A4A82DD-B8CC-462B-93E9-CBC87352521F}"/>
                </a:ext>
              </a:extLst>
            </p:cNvPr>
            <p:cNvCxnSpPr/>
            <p:nvPr/>
          </p:nvCxnSpPr>
          <p:spPr>
            <a:xfrm>
              <a:off x="-600" y="342899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86DFAD-90A1-4761-A1F6-2CECC9F3CEB8}"/>
                </a:ext>
              </a:extLst>
            </p:cNvPr>
            <p:cNvCxnSpPr/>
            <p:nvPr/>
          </p:nvCxnSpPr>
          <p:spPr>
            <a:xfrm>
              <a:off x="-600" y="369079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73AC16-3E18-48F7-97ED-8B5A48560A3B}"/>
                </a:ext>
              </a:extLst>
            </p:cNvPr>
            <p:cNvCxnSpPr/>
            <p:nvPr/>
          </p:nvCxnSpPr>
          <p:spPr>
            <a:xfrm>
              <a:off x="-600" y="395258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2B4CC9-D426-40F8-825B-C7E1196189B4}"/>
                </a:ext>
              </a:extLst>
            </p:cNvPr>
            <p:cNvCxnSpPr/>
            <p:nvPr/>
          </p:nvCxnSpPr>
          <p:spPr>
            <a:xfrm>
              <a:off x="-600" y="421437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DD5A36E-8435-4B1C-8462-1C956794FC17}"/>
                </a:ext>
              </a:extLst>
            </p:cNvPr>
            <p:cNvCxnSpPr/>
            <p:nvPr/>
          </p:nvCxnSpPr>
          <p:spPr>
            <a:xfrm>
              <a:off x="-600" y="447617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D85A532-653B-4FD3-A2B9-908071F117D2}"/>
                </a:ext>
              </a:extLst>
            </p:cNvPr>
            <p:cNvCxnSpPr/>
            <p:nvPr/>
          </p:nvCxnSpPr>
          <p:spPr>
            <a:xfrm>
              <a:off x="-600" y="473796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E1136A-6637-439F-89A7-D7F878D15199}"/>
                </a:ext>
              </a:extLst>
            </p:cNvPr>
            <p:cNvCxnSpPr/>
            <p:nvPr/>
          </p:nvCxnSpPr>
          <p:spPr>
            <a:xfrm>
              <a:off x="-600" y="499975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A0A4627-9F33-480E-B584-D2625F29AB95}"/>
                </a:ext>
              </a:extLst>
            </p:cNvPr>
            <p:cNvCxnSpPr/>
            <p:nvPr/>
          </p:nvCxnSpPr>
          <p:spPr>
            <a:xfrm>
              <a:off x="-600" y="526154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9037A92-0EC2-4FBA-A847-8D0F6C45AD99}"/>
                </a:ext>
              </a:extLst>
            </p:cNvPr>
            <p:cNvCxnSpPr/>
            <p:nvPr/>
          </p:nvCxnSpPr>
          <p:spPr>
            <a:xfrm>
              <a:off x="-600" y="552334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B45D501-68B8-4FBE-8794-3CDE530B5439}"/>
                </a:ext>
              </a:extLst>
            </p:cNvPr>
            <p:cNvCxnSpPr/>
            <p:nvPr userDrawn="1"/>
          </p:nvCxnSpPr>
          <p:spPr>
            <a:xfrm>
              <a:off x="-600" y="578513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C63DF98-DC31-4B0A-9A94-9B9C493BD0DD}"/>
                </a:ext>
              </a:extLst>
            </p:cNvPr>
            <p:cNvCxnSpPr/>
            <p:nvPr userDrawn="1"/>
          </p:nvCxnSpPr>
          <p:spPr>
            <a:xfrm>
              <a:off x="-600" y="81106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97F595-E8CD-4823-A296-F9B434149D35}"/>
                </a:ext>
              </a:extLst>
            </p:cNvPr>
            <p:cNvCxnSpPr/>
            <p:nvPr userDrawn="1"/>
          </p:nvCxnSpPr>
          <p:spPr>
            <a:xfrm>
              <a:off x="-600" y="630872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767E29-78AA-446B-8F14-50FFE81A75D5}"/>
                </a:ext>
              </a:extLst>
            </p:cNvPr>
            <p:cNvCxnSpPr/>
            <p:nvPr userDrawn="1"/>
          </p:nvCxnSpPr>
          <p:spPr>
            <a:xfrm>
              <a:off x="-600" y="604692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grpSp>
      <p:sp>
        <p:nvSpPr>
          <p:cNvPr id="9" name="Footnote measure">
            <a:extLst>
              <a:ext uri="{FF2B5EF4-FFF2-40B4-BE49-F238E27FC236}">
                <a16:creationId xmlns:a16="http://schemas.microsoft.com/office/drawing/2014/main" id="{FCB67C59-94A5-43D0-98F3-D2DF706BE603}"/>
              </a:ext>
            </a:extLst>
          </p:cNvPr>
          <p:cNvSpPr>
            <a:spLocks noChangeArrowheads="1"/>
          </p:cNvSpPr>
          <p:nvPr userDrawn="1"/>
        </p:nvSpPr>
        <p:spPr bwMode="auto">
          <a:xfrm>
            <a:off x="550263" y="6308721"/>
            <a:ext cx="11090873" cy="261799"/>
          </a:xfrm>
          <a:prstGeom prst="rect">
            <a:avLst/>
          </a:prstGeom>
          <a:solidFill>
            <a:srgbClr val="FF0000">
              <a:alpha val="10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pPr lv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0" name="Whitespace measure">
            <a:extLst>
              <a:ext uri="{FF2B5EF4-FFF2-40B4-BE49-F238E27FC236}">
                <a16:creationId xmlns:a16="http://schemas.microsoft.com/office/drawing/2014/main" id="{B9FA0CC8-4D85-4377-9762-D979C28385FB}"/>
              </a:ext>
            </a:extLst>
          </p:cNvPr>
          <p:cNvSpPr>
            <a:spLocks noChangeArrowheads="1"/>
          </p:cNvSpPr>
          <p:nvPr userDrawn="1"/>
        </p:nvSpPr>
        <p:spPr bwMode="auto">
          <a:xfrm>
            <a:off x="550864" y="1348221"/>
            <a:ext cx="11105556" cy="509202"/>
          </a:xfrm>
          <a:prstGeom prst="rect">
            <a:avLst/>
          </a:prstGeom>
          <a:solidFill>
            <a:srgbClr val="FF0000">
              <a:alpha val="5000"/>
            </a:srgbClr>
          </a:solidFill>
          <a:ln w="9525">
            <a:noFill/>
            <a:miter lim="800000"/>
            <a:headEnd/>
            <a:tailEnd/>
          </a:ln>
        </p:spPr>
        <p:txBody>
          <a:bodyPr vert="horz" wrap="square" lIns="91440" tIns="45720" rIns="91440" bIns="45720" numCol="1" anchor="t" anchorCtr="0" compatLnSpc="1">
            <a:prstTxWarp prst="textNoShape">
              <a:avLst/>
            </a:prstTxWarp>
            <a:noAutofit/>
          </a:bodyPr>
          <a:lstStyle/>
          <a:p>
            <a:pPr lvl="0"/>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1" name="Live area">
            <a:extLst>
              <a:ext uri="{FF2B5EF4-FFF2-40B4-BE49-F238E27FC236}">
                <a16:creationId xmlns:a16="http://schemas.microsoft.com/office/drawing/2014/main" id="{AA787823-C275-4031-9AC7-3513520EE759}"/>
              </a:ext>
            </a:extLst>
          </p:cNvPr>
          <p:cNvSpPr/>
          <p:nvPr userDrawn="1"/>
        </p:nvSpPr>
        <p:spPr>
          <a:xfrm>
            <a:off x="550863" y="2120033"/>
            <a:ext cx="11090275" cy="418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chemeClr val="tx2">
                <a:alpha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12" name="Group 11">
            <a:extLst>
              <a:ext uri="{FF2B5EF4-FFF2-40B4-BE49-F238E27FC236}">
                <a16:creationId xmlns:a16="http://schemas.microsoft.com/office/drawing/2014/main" id="{EF1AA03C-D537-4B50-8AA2-DE2B0859A9E0}"/>
              </a:ext>
            </a:extLst>
          </p:cNvPr>
          <p:cNvGrpSpPr/>
          <p:nvPr userDrawn="1"/>
        </p:nvGrpSpPr>
        <p:grpSpPr>
          <a:xfrm>
            <a:off x="1215339" y="1857423"/>
            <a:ext cx="9763000" cy="4458091"/>
            <a:chOff x="1215339" y="549274"/>
            <a:chExt cx="9763000" cy="5759450"/>
          </a:xfrm>
          <a:solidFill>
            <a:schemeClr val="tx2">
              <a:lumMod val="40000"/>
              <a:lumOff val="60000"/>
              <a:alpha val="10000"/>
            </a:schemeClr>
          </a:solidFill>
        </p:grpSpPr>
        <p:sp>
          <p:nvSpPr>
            <p:cNvPr id="13" name="Rectangle 34">
              <a:extLst>
                <a:ext uri="{FF2B5EF4-FFF2-40B4-BE49-F238E27FC236}">
                  <a16:creationId xmlns:a16="http://schemas.microsoft.com/office/drawing/2014/main" id="{CEBF00D2-4B24-426D-BD4A-087B43FE3715}"/>
                </a:ext>
              </a:extLst>
            </p:cNvPr>
            <p:cNvSpPr>
              <a:spLocks noChangeArrowheads="1"/>
            </p:cNvSpPr>
            <p:nvPr/>
          </p:nvSpPr>
          <p:spPr bwMode="auto">
            <a:xfrm>
              <a:off x="690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35">
              <a:extLst>
                <a:ext uri="{FF2B5EF4-FFF2-40B4-BE49-F238E27FC236}">
                  <a16:creationId xmlns:a16="http://schemas.microsoft.com/office/drawing/2014/main" id="{6BD82B4A-4BB0-4614-B13C-4CFCC7A227D9}"/>
                </a:ext>
              </a:extLst>
            </p:cNvPr>
            <p:cNvSpPr>
              <a:spLocks noChangeArrowheads="1"/>
            </p:cNvSpPr>
            <p:nvPr/>
          </p:nvSpPr>
          <p:spPr bwMode="auto">
            <a:xfrm>
              <a:off x="879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5" name="Rectangle 36">
              <a:extLst>
                <a:ext uri="{FF2B5EF4-FFF2-40B4-BE49-F238E27FC236}">
                  <a16:creationId xmlns:a16="http://schemas.microsoft.com/office/drawing/2014/main" id="{BF9ACD5F-BA8A-4218-BB75-6E90A13EF900}"/>
                </a:ext>
              </a:extLst>
            </p:cNvPr>
            <p:cNvSpPr>
              <a:spLocks noChangeArrowheads="1"/>
            </p:cNvSpPr>
            <p:nvPr/>
          </p:nvSpPr>
          <p:spPr bwMode="auto">
            <a:xfrm>
              <a:off x="784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6" name="Rectangle 37">
              <a:extLst>
                <a:ext uri="{FF2B5EF4-FFF2-40B4-BE49-F238E27FC236}">
                  <a16:creationId xmlns:a16="http://schemas.microsoft.com/office/drawing/2014/main" id="{379A22D2-DA96-41ED-9D9E-1155426DFFBD}"/>
                </a:ext>
              </a:extLst>
            </p:cNvPr>
            <p:cNvSpPr>
              <a:spLocks noChangeArrowheads="1"/>
            </p:cNvSpPr>
            <p:nvPr/>
          </p:nvSpPr>
          <p:spPr bwMode="auto">
            <a:xfrm>
              <a:off x="974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7" name="Rectangle 38">
              <a:extLst>
                <a:ext uri="{FF2B5EF4-FFF2-40B4-BE49-F238E27FC236}">
                  <a16:creationId xmlns:a16="http://schemas.microsoft.com/office/drawing/2014/main" id="{7EF7963D-A1E1-415D-8969-F027A75D12FE}"/>
                </a:ext>
              </a:extLst>
            </p:cNvPr>
            <p:cNvSpPr>
              <a:spLocks noChangeArrowheads="1"/>
            </p:cNvSpPr>
            <p:nvPr/>
          </p:nvSpPr>
          <p:spPr bwMode="auto">
            <a:xfrm>
              <a:off x="1069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8" name="Rectangle 39">
              <a:extLst>
                <a:ext uri="{FF2B5EF4-FFF2-40B4-BE49-F238E27FC236}">
                  <a16:creationId xmlns:a16="http://schemas.microsoft.com/office/drawing/2014/main" id="{BBE34D05-AF10-4FE9-A201-F9E2A8027014}"/>
                </a:ext>
              </a:extLst>
            </p:cNvPr>
            <p:cNvSpPr>
              <a:spLocks noChangeArrowheads="1"/>
            </p:cNvSpPr>
            <p:nvPr/>
          </p:nvSpPr>
          <p:spPr bwMode="auto">
            <a:xfrm>
              <a:off x="5952839" y="549274"/>
              <a:ext cx="288000" cy="5759450"/>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19" name="Rectangle 40">
              <a:extLst>
                <a:ext uri="{FF2B5EF4-FFF2-40B4-BE49-F238E27FC236}">
                  <a16:creationId xmlns:a16="http://schemas.microsoft.com/office/drawing/2014/main" id="{349BF860-A8A0-4AB9-B299-1AF8241953E9}"/>
                </a:ext>
              </a:extLst>
            </p:cNvPr>
            <p:cNvSpPr>
              <a:spLocks noChangeArrowheads="1"/>
            </p:cNvSpPr>
            <p:nvPr/>
          </p:nvSpPr>
          <p:spPr bwMode="auto">
            <a:xfrm>
              <a:off x="121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41">
              <a:extLst>
                <a:ext uri="{FF2B5EF4-FFF2-40B4-BE49-F238E27FC236}">
                  <a16:creationId xmlns:a16="http://schemas.microsoft.com/office/drawing/2014/main" id="{3E2A80A6-61F6-4E58-B43B-059CCD29CD23}"/>
                </a:ext>
              </a:extLst>
            </p:cNvPr>
            <p:cNvSpPr>
              <a:spLocks noChangeArrowheads="1"/>
            </p:cNvSpPr>
            <p:nvPr/>
          </p:nvSpPr>
          <p:spPr bwMode="auto">
            <a:xfrm>
              <a:off x="216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1" name="Rectangle 42">
              <a:extLst>
                <a:ext uri="{FF2B5EF4-FFF2-40B4-BE49-F238E27FC236}">
                  <a16:creationId xmlns:a16="http://schemas.microsoft.com/office/drawing/2014/main" id="{0F927BDE-7613-4A1B-9405-C18A0AA0230E}"/>
                </a:ext>
              </a:extLst>
            </p:cNvPr>
            <p:cNvSpPr>
              <a:spLocks noChangeArrowheads="1"/>
            </p:cNvSpPr>
            <p:nvPr/>
          </p:nvSpPr>
          <p:spPr bwMode="auto">
            <a:xfrm>
              <a:off x="311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2" name="Rectangle 43">
              <a:extLst>
                <a:ext uri="{FF2B5EF4-FFF2-40B4-BE49-F238E27FC236}">
                  <a16:creationId xmlns:a16="http://schemas.microsoft.com/office/drawing/2014/main" id="{9D0BF9DE-3D09-432F-B97F-D68AFE1C7D42}"/>
                </a:ext>
              </a:extLst>
            </p:cNvPr>
            <p:cNvSpPr>
              <a:spLocks noChangeArrowheads="1"/>
            </p:cNvSpPr>
            <p:nvPr/>
          </p:nvSpPr>
          <p:spPr bwMode="auto">
            <a:xfrm>
              <a:off x="405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sp>
          <p:nvSpPr>
            <p:cNvPr id="23" name="Rectangle 44">
              <a:extLst>
                <a:ext uri="{FF2B5EF4-FFF2-40B4-BE49-F238E27FC236}">
                  <a16:creationId xmlns:a16="http://schemas.microsoft.com/office/drawing/2014/main" id="{7807AD9B-3A59-4121-9F68-FB858FD6D2BC}"/>
                </a:ext>
              </a:extLst>
            </p:cNvPr>
            <p:cNvSpPr>
              <a:spLocks noChangeArrowheads="1"/>
            </p:cNvSpPr>
            <p:nvPr/>
          </p:nvSpPr>
          <p:spPr bwMode="auto">
            <a:xfrm>
              <a:off x="500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sym typeface="Calibri" panose="020F0502020204030204" pitchFamily="34" charset="0"/>
              </a:endParaRPr>
            </a:p>
          </p:txBody>
        </p:sp>
      </p:grpSp>
      <p:sp>
        <p:nvSpPr>
          <p:cNvPr id="47" name="Footnote example">
            <a:extLst>
              <a:ext uri="{FF2B5EF4-FFF2-40B4-BE49-F238E27FC236}">
                <a16:creationId xmlns:a16="http://schemas.microsoft.com/office/drawing/2014/main" id="{DBF27226-1CAE-4EC3-B7C2-CD7BFF212B2F}"/>
              </a:ext>
            </a:extLst>
          </p:cNvPr>
          <p:cNvSpPr txBox="1"/>
          <p:nvPr userDrawn="1"/>
        </p:nvSpPr>
        <p:spPr>
          <a:xfrm>
            <a:off x="550862" y="6309543"/>
            <a:ext cx="9030915" cy="277705"/>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Footnotes/Not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Source: Include a source here</a:t>
            </a:r>
          </a:p>
        </p:txBody>
      </p:sp>
      <p:sp>
        <p:nvSpPr>
          <p:cNvPr id="5" name="Slide Number Placeholder 4">
            <a:extLst>
              <a:ext uri="{FF2B5EF4-FFF2-40B4-BE49-F238E27FC236}">
                <a16:creationId xmlns:a16="http://schemas.microsoft.com/office/drawing/2014/main" id="{75491C5D-1CCA-4AD2-960D-E2D2520D37E4}"/>
              </a:ext>
            </a:extLst>
          </p:cNvPr>
          <p:cNvSpPr>
            <a:spLocks noGrp="1"/>
          </p:cNvSpPr>
          <p:nvPr userDrawn="1">
            <p:ph type="sldNum" sz="quarter" idx="12"/>
          </p:nvPr>
        </p:nvSpPr>
        <p:spPr>
          <a:xfrm>
            <a:off x="11490153" y="6450225"/>
            <a:ext cx="150682" cy="1538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2547BBBC-05CB-49BC-A9CC-2D869F0C1D2C}" type="slidenum">
              <a:rPr lang="en-IN" smtClean="0"/>
              <a:pPr/>
              <a:t>‹#›</a:t>
            </a:fld>
            <a:endParaRPr lang="en-IN"/>
          </a:p>
        </p:txBody>
      </p:sp>
      <p:sp>
        <p:nvSpPr>
          <p:cNvPr id="3" name="Title 2">
            <a:extLst>
              <a:ext uri="{FF2B5EF4-FFF2-40B4-BE49-F238E27FC236}">
                <a16:creationId xmlns:a16="http://schemas.microsoft.com/office/drawing/2014/main" id="{820E7A3A-8CB6-4833-8DE9-0C89242C0CE2}"/>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dirty="0"/>
              <a:t>Click to edit Master title style</a:t>
            </a:r>
            <a:endParaRPr lang="en-IN" dirty="0"/>
          </a:p>
        </p:txBody>
      </p:sp>
      <p:grpSp>
        <p:nvGrpSpPr>
          <p:cNvPr id="2" name="Group 1">
            <a:extLst>
              <a:ext uri="{FF2B5EF4-FFF2-40B4-BE49-F238E27FC236}">
                <a16:creationId xmlns:a16="http://schemas.microsoft.com/office/drawing/2014/main" id="{0A5092CC-99B7-42FA-B922-D9A469AA61A3}"/>
              </a:ext>
            </a:extLst>
          </p:cNvPr>
          <p:cNvGrpSpPr/>
          <p:nvPr userDrawn="1"/>
        </p:nvGrpSpPr>
        <p:grpSpPr>
          <a:xfrm>
            <a:off x="550864" y="6156603"/>
            <a:ext cx="11089971" cy="55199"/>
            <a:chOff x="550864" y="6156603"/>
            <a:chExt cx="11089971" cy="55199"/>
          </a:xfrm>
        </p:grpSpPr>
        <p:sp>
          <p:nvSpPr>
            <p:cNvPr id="51" name="Rectangle 50">
              <a:extLst>
                <a:ext uri="{FF2B5EF4-FFF2-40B4-BE49-F238E27FC236}">
                  <a16:creationId xmlns:a16="http://schemas.microsoft.com/office/drawing/2014/main" id="{C7D78F6B-68EA-4677-8270-E6CE44B4A9DC}"/>
                </a:ext>
              </a:extLst>
            </p:cNvPr>
            <p:cNvSpPr/>
            <p:nvPr userDrawn="1"/>
          </p:nvSpPr>
          <p:spPr>
            <a:xfrm>
              <a:off x="550864"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2" name="Rectangle 51">
              <a:extLst>
                <a:ext uri="{FF2B5EF4-FFF2-40B4-BE49-F238E27FC236}">
                  <a16:creationId xmlns:a16="http://schemas.microsoft.com/office/drawing/2014/main" id="{B6E6D155-C668-4620-947B-CD6756DB3E3F}"/>
                </a:ext>
              </a:extLst>
            </p:cNvPr>
            <p:cNvSpPr/>
            <p:nvPr userDrawn="1"/>
          </p:nvSpPr>
          <p:spPr>
            <a:xfrm>
              <a:off x="5104050"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3" name="Rectangle 52">
              <a:extLst>
                <a:ext uri="{FF2B5EF4-FFF2-40B4-BE49-F238E27FC236}">
                  <a16:creationId xmlns:a16="http://schemas.microsoft.com/office/drawing/2014/main" id="{53A33606-AE46-4272-A076-D6F1DEF2BE14}"/>
                </a:ext>
              </a:extLst>
            </p:cNvPr>
            <p:cNvSpPr/>
            <p:nvPr userDrawn="1"/>
          </p:nvSpPr>
          <p:spPr>
            <a:xfrm>
              <a:off x="7380643"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4" name="Rectangle 53">
              <a:extLst>
                <a:ext uri="{FF2B5EF4-FFF2-40B4-BE49-F238E27FC236}">
                  <a16:creationId xmlns:a16="http://schemas.microsoft.com/office/drawing/2014/main" id="{97AF00D4-2C2C-4B64-AC48-30E76E740B68}"/>
                </a:ext>
              </a:extLst>
            </p:cNvPr>
            <p:cNvSpPr/>
            <p:nvPr userDrawn="1"/>
          </p:nvSpPr>
          <p:spPr>
            <a:xfrm>
              <a:off x="9657235"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5" name="Rectangle 54">
              <a:extLst>
                <a:ext uri="{FF2B5EF4-FFF2-40B4-BE49-F238E27FC236}">
                  <a16:creationId xmlns:a16="http://schemas.microsoft.com/office/drawing/2014/main" id="{F53F07A3-100A-4285-8103-25EB4F518B92}"/>
                </a:ext>
              </a:extLst>
            </p:cNvPr>
            <p:cNvSpPr/>
            <p:nvPr userDrawn="1"/>
          </p:nvSpPr>
          <p:spPr>
            <a:xfrm>
              <a:off x="2827457"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spTree>
    <p:extLst>
      <p:ext uri="{BB962C8B-B14F-4D97-AF65-F5344CB8AC3E}">
        <p14:creationId xmlns:p14="http://schemas.microsoft.com/office/powerpoint/2010/main" val="26402530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EE13-6A4D-48C2-A4B1-30DA07094AC2}"/>
              </a:ext>
            </a:extLst>
          </p:cNvPr>
          <p:cNvGraphicFramePr>
            <a:graphicFrameLocks noChangeAspect="1"/>
          </p:cNvGraphicFramePr>
          <p:nvPr userDrawn="1">
            <p:custDataLst>
              <p:tags r:id="rId1"/>
            </p:custDataLst>
            <p:extLst>
              <p:ext uri="{D42A27DB-BD31-4B8C-83A1-F6EECF244321}">
                <p14:modId xmlns:p14="http://schemas.microsoft.com/office/powerpoint/2010/main" val="3399606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7215EE13-6A4D-48C2-A4B1-30DA07094A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A374107-D284-43FC-B1C8-16D4730570E9}"/>
              </a:ext>
            </a:extLst>
          </p:cNvPr>
          <p:cNvSpPr>
            <a:spLocks noGrp="1"/>
          </p:cNvSpPr>
          <p:nvPr>
            <p:ph type="ftr" sz="quarter" idx="11"/>
          </p:nvPr>
        </p:nvSpPr>
        <p:spPr>
          <a:xfrm>
            <a:off x="550862" y="6450225"/>
            <a:ext cx="6916738" cy="153888"/>
          </a:xfrm>
        </p:spPr>
        <p:txBody>
          <a:bodyPr/>
          <a:lstStyle/>
          <a:p>
            <a:endParaRPr lang="en-IN" dirty="0"/>
          </a:p>
        </p:txBody>
      </p:sp>
      <p:sp>
        <p:nvSpPr>
          <p:cNvPr id="5" name="Slide Number Placeholder 4">
            <a:extLst>
              <a:ext uri="{FF2B5EF4-FFF2-40B4-BE49-F238E27FC236}">
                <a16:creationId xmlns:a16="http://schemas.microsoft.com/office/drawing/2014/main" id="{1A089CAE-6B9C-4764-B552-4C492F022EB6}"/>
              </a:ext>
            </a:extLst>
          </p:cNvPr>
          <p:cNvSpPr>
            <a:spLocks noGrp="1"/>
          </p:cNvSpPr>
          <p:nvPr>
            <p:ph type="sldNum" sz="quarter" idx="12"/>
          </p:nvPr>
        </p:nvSpPr>
        <p:spPr/>
        <p:txBody>
          <a:bodyPr/>
          <a:lstStyle/>
          <a:p>
            <a:fld id="{2547BBBC-05CB-49BC-A9CC-2D869F0C1D2C}" type="slidenum">
              <a:rPr lang="en-IN" smtClean="0"/>
              <a:t>‹#›</a:t>
            </a:fld>
            <a:endParaRPr lang="en-IN"/>
          </a:p>
        </p:txBody>
      </p:sp>
      <p:sp>
        <p:nvSpPr>
          <p:cNvPr id="7" name="Title 6">
            <a:extLst>
              <a:ext uri="{FF2B5EF4-FFF2-40B4-BE49-F238E27FC236}">
                <a16:creationId xmlns:a16="http://schemas.microsoft.com/office/drawing/2014/main" id="{863ADCA1-24FF-455B-8752-27019761817C}"/>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dirty="0"/>
              <a:t>Click to edit Master title style</a:t>
            </a:r>
            <a:endParaRPr lang="en-IN" dirty="0"/>
          </a:p>
        </p:txBody>
      </p:sp>
      <p:sp>
        <p:nvSpPr>
          <p:cNvPr id="10" name="Text Placeholder 9">
            <a:extLst>
              <a:ext uri="{FF2B5EF4-FFF2-40B4-BE49-F238E27FC236}">
                <a16:creationId xmlns:a16="http://schemas.microsoft.com/office/drawing/2014/main" id="{B7DA5DEC-E51B-46CB-9299-877852868261}"/>
              </a:ext>
            </a:extLst>
          </p:cNvPr>
          <p:cNvSpPr>
            <a:spLocks noGrp="1"/>
          </p:cNvSpPr>
          <p:nvPr>
            <p:ph type="body" sz="quarter" idx="13"/>
          </p:nvPr>
        </p:nvSpPr>
        <p:spPr>
          <a:xfrm>
            <a:off x="550862" y="998828"/>
            <a:ext cx="11089972" cy="292388"/>
          </a:xfrm>
        </p:spPr>
        <p:txBody>
          <a:bodyPr>
            <a:spAutoFit/>
          </a:bodyPr>
          <a:lstStyle>
            <a:lvl1pPr>
              <a:defRPr sz="2000">
                <a:solidFill>
                  <a:schemeClr val="tx2"/>
                </a:solidFill>
                <a:latin typeface="Franklin Gothic Book" panose="020B05030201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59995260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38044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3" name="Footer Placeholder 2">
            <a:extLst>
              <a:ext uri="{FF2B5EF4-FFF2-40B4-BE49-F238E27FC236}">
                <a16:creationId xmlns:a16="http://schemas.microsoft.com/office/drawing/2014/main" id="{821A2FF9-94F4-4F68-B7EE-D99445194A74}"/>
              </a:ext>
            </a:extLst>
          </p:cNvPr>
          <p:cNvSpPr>
            <a:spLocks noGrp="1"/>
          </p:cNvSpPr>
          <p:nvPr>
            <p:ph type="ftr" sz="quarter" idx="10"/>
          </p:nvPr>
        </p:nvSpPr>
        <p:spPr/>
        <p:txBody>
          <a:bodyPr/>
          <a:lstStyle/>
          <a:p>
            <a:pPr>
              <a:lnSpc>
                <a:spcPct val="90000"/>
              </a:lnSpc>
            </a:pPr>
            <a:endParaRPr lang="en-US" dirty="0"/>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p>
            <a:pPr>
              <a:lnSpc>
                <a:spcPct val="90000"/>
              </a:lnSpc>
            </a:pPr>
            <a:fld id="{2547BBBC-05CB-49BC-A9CC-2D869F0C1D2C}" type="slidenum">
              <a:rPr lang="en-IN" smtClean="0"/>
              <a:pPr>
                <a:lnSpc>
                  <a:spcPct val="90000"/>
                </a:lnSpc>
              </a:pPr>
              <a:t>‹#›</a:t>
            </a:fld>
            <a:endParaRPr lang="en-IN" dirty="0"/>
          </a:p>
        </p:txBody>
      </p:sp>
    </p:spTree>
    <p:extLst>
      <p:ext uri="{BB962C8B-B14F-4D97-AF65-F5344CB8AC3E}">
        <p14:creationId xmlns:p14="http://schemas.microsoft.com/office/powerpoint/2010/main" val="87793645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Shape 29"/>
        <p:cNvGrpSpPr/>
        <p:nvPr/>
      </p:nvGrpSpPr>
      <p:grpSpPr>
        <a:xfrm>
          <a:off x="0" y="0"/>
          <a:ext cx="0" cy="0"/>
          <a:chOff x="0" y="0"/>
          <a:chExt cx="0" cy="0"/>
        </a:xfrm>
      </p:grpSpPr>
      <p:sp>
        <p:nvSpPr>
          <p:cNvPr id="30" name="Shape 30"/>
          <p:cNvSpPr txBox="1">
            <a:spLocks noGrp="1"/>
          </p:cNvSpPr>
          <p:nvPr>
            <p:ph type="title"/>
          </p:nvPr>
        </p:nvSpPr>
        <p:spPr>
          <a:xfrm>
            <a:off x="562708" y="130584"/>
            <a:ext cx="11066584" cy="627834"/>
          </a:xfrm>
          <a:prstGeom prst="rect">
            <a:avLst/>
          </a:prstGeom>
          <a:noFill/>
          <a:ln>
            <a:noFill/>
          </a:ln>
        </p:spPr>
        <p:txBody>
          <a:bodyPr lIns="91425" tIns="91425" rIns="91425" bIns="91425" anchor="ctr" anchorCtr="0"/>
          <a:lstStyle>
            <a:lvl1pPr algn="l" rtl="0">
              <a:lnSpc>
                <a:spcPct val="90000"/>
              </a:lnSpc>
              <a:spcBef>
                <a:spcPts val="0"/>
              </a:spcBef>
              <a:buClr>
                <a:schemeClr val="accent3"/>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1" name="Shape 31"/>
          <p:cNvSpPr txBox="1">
            <a:spLocks noGrp="1"/>
          </p:cNvSpPr>
          <p:nvPr>
            <p:ph type="body" idx="1"/>
          </p:nvPr>
        </p:nvSpPr>
        <p:spPr>
          <a:xfrm>
            <a:off x="562708" y="1556954"/>
            <a:ext cx="11066584" cy="455479"/>
          </a:xfrm>
          <a:prstGeom prst="rect">
            <a:avLst/>
          </a:prstGeom>
          <a:noFill/>
          <a:ln>
            <a:noFill/>
          </a:ln>
        </p:spPr>
        <p:txBody>
          <a:bodyPr lIns="91425" tIns="91425" rIns="91425" bIns="91425" anchor="t" anchorCtr="0"/>
          <a:lstStyle>
            <a:lvl1pPr marL="0" indent="0" algn="l" rtl="0">
              <a:lnSpc>
                <a:spcPct val="110000"/>
              </a:lnSpc>
              <a:spcBef>
                <a:spcPts val="0"/>
              </a:spcBef>
              <a:buClr>
                <a:schemeClr val="dk1"/>
              </a:buClr>
              <a:buFont typeface="Arial"/>
              <a:buNone/>
              <a:defRPr/>
            </a:lvl1pPr>
            <a:lvl2pPr marL="334116" indent="-134819" algn="l" rtl="0">
              <a:lnSpc>
                <a:spcPct val="110000"/>
              </a:lnSpc>
              <a:spcBef>
                <a:spcPts val="0"/>
              </a:spcBef>
              <a:buClr>
                <a:schemeClr val="accent3"/>
              </a:buClr>
              <a:buFont typeface="Arial"/>
              <a:buChar char="•"/>
              <a:defRPr/>
            </a:lvl2pPr>
            <a:lvl3pPr marL="577376" indent="-178781" algn="l" rtl="0">
              <a:lnSpc>
                <a:spcPct val="110000"/>
              </a:lnSpc>
              <a:spcBef>
                <a:spcPts val="0"/>
              </a:spcBef>
              <a:buClr>
                <a:srgbClr val="A9A9A9"/>
              </a:buClr>
              <a:buFont typeface="Arial"/>
              <a:buChar char="–"/>
              <a:defRPr/>
            </a:lvl3pPr>
            <a:lvl4pPr marL="820636" indent="-152404" algn="l" rtl="0">
              <a:lnSpc>
                <a:spcPct val="110000"/>
              </a:lnSpc>
              <a:spcBef>
                <a:spcPts val="0"/>
              </a:spcBef>
              <a:buClr>
                <a:srgbClr val="A9A9A9"/>
              </a:buClr>
              <a:buFont typeface="Arial"/>
              <a:buChar char="–"/>
              <a:defRPr/>
            </a:lvl4pPr>
            <a:lvl5pPr marL="1080016" indent="-177316" algn="l" rtl="0">
              <a:lnSpc>
                <a:spcPct val="110000"/>
              </a:lnSpc>
              <a:spcBef>
                <a:spcPts val="0"/>
              </a:spcBef>
              <a:buClr>
                <a:srgbClr val="A9A9A9"/>
              </a:buClr>
              <a:buFont typeface="Arial"/>
              <a:buChar char="–"/>
              <a:defRPr/>
            </a:lvl5pPr>
            <a:lvl6pPr marL="2321227" indent="-93787" algn="l" rtl="0">
              <a:spcBef>
                <a:spcPts val="369"/>
              </a:spcBef>
              <a:buClr>
                <a:schemeClr val="dk1"/>
              </a:buClr>
              <a:buFont typeface="Arial"/>
              <a:buChar char="•"/>
              <a:defRPr/>
            </a:lvl6pPr>
            <a:lvl7pPr marL="2743269" indent="-93787" algn="l" rtl="0">
              <a:spcBef>
                <a:spcPts val="369"/>
              </a:spcBef>
              <a:buClr>
                <a:schemeClr val="dk1"/>
              </a:buClr>
              <a:buFont typeface="Arial"/>
              <a:buChar char="•"/>
              <a:defRPr/>
            </a:lvl7pPr>
            <a:lvl8pPr marL="3165310" indent="-93787" algn="l" rtl="0">
              <a:spcBef>
                <a:spcPts val="369"/>
              </a:spcBef>
              <a:buClr>
                <a:schemeClr val="dk1"/>
              </a:buClr>
              <a:buFont typeface="Arial"/>
              <a:buChar char="•"/>
              <a:defRPr/>
            </a:lvl8pPr>
            <a:lvl9pPr marL="3587351" indent="-93787" algn="l" rtl="0">
              <a:spcBef>
                <a:spcPts val="369"/>
              </a:spcBef>
              <a:buClr>
                <a:schemeClr val="dk1"/>
              </a:buClr>
              <a:buFont typeface="Arial"/>
              <a:buChar char="•"/>
              <a:defRPr/>
            </a:lvl9pPr>
          </a:lstStyle>
          <a:p>
            <a:endParaRPr/>
          </a:p>
        </p:txBody>
      </p:sp>
    </p:spTree>
    <p:extLst>
      <p:ext uri="{BB962C8B-B14F-4D97-AF65-F5344CB8AC3E}">
        <p14:creationId xmlns:p14="http://schemas.microsoft.com/office/powerpoint/2010/main" val="160817312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9"/>
        <p:cNvGrpSpPr/>
        <p:nvPr/>
      </p:nvGrpSpPr>
      <p:grpSpPr>
        <a:xfrm>
          <a:off x="0" y="0"/>
          <a:ext cx="0" cy="0"/>
          <a:chOff x="0" y="0"/>
          <a:chExt cx="0" cy="0"/>
        </a:xfrm>
      </p:grpSpPr>
      <p:sp>
        <p:nvSpPr>
          <p:cNvPr id="40" name="Google Shape;40;p47"/>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2" name="Google Shape;42;p47"/>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2115309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82283165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matchingName="Title Slide (Option 2)" type="title">
  <p:cSld name="Title Slide (Option 2)">
    <p:spTree>
      <p:nvGrpSpPr>
        <p:cNvPr id="1" name="Shape 32"/>
        <p:cNvGrpSpPr/>
        <p:nvPr/>
      </p:nvGrpSpPr>
      <p:grpSpPr>
        <a:xfrm>
          <a:off x="0" y="0"/>
          <a:ext cx="0" cy="0"/>
          <a:chOff x="0" y="0"/>
          <a:chExt cx="0" cy="0"/>
        </a:xfrm>
      </p:grpSpPr>
      <p:pic>
        <p:nvPicPr>
          <p:cNvPr id="33" name="Google Shape;33;p46" descr="A large body of water with a city in the background&#10;&#10;Description automatically generated"/>
          <p:cNvPicPr preferRelativeResize="0"/>
          <p:nvPr/>
        </p:nvPicPr>
        <p:blipFill rotWithShape="1">
          <a:blip r:embed="rId2">
            <a:alphaModFix/>
          </a:blip>
          <a:srcRect/>
          <a:stretch/>
        </p:blipFill>
        <p:spPr>
          <a:xfrm>
            <a:off x="269998" y="270000"/>
            <a:ext cx="11652001" cy="6318000"/>
          </a:xfrm>
          <a:prstGeom prst="rect">
            <a:avLst/>
          </a:prstGeom>
          <a:noFill/>
          <a:ln>
            <a:noFill/>
          </a:ln>
        </p:spPr>
      </p:pic>
      <p:sp>
        <p:nvSpPr>
          <p:cNvPr id="34" name="Google Shape;34;p46"/>
          <p:cNvSpPr/>
          <p:nvPr/>
        </p:nvSpPr>
        <p:spPr>
          <a:xfrm>
            <a:off x="536448" y="540000"/>
            <a:ext cx="6363891" cy="6318000"/>
          </a:xfrm>
          <a:prstGeom prst="rect">
            <a:avLst/>
          </a:prstGeom>
          <a:gradFill>
            <a:gsLst>
              <a:gs pos="0">
                <a:srgbClr val="062379"/>
              </a:gs>
              <a:gs pos="26000">
                <a:srgbClr val="0934B6">
                  <a:alpha val="89411"/>
                </a:srgbClr>
              </a:gs>
              <a:gs pos="64000">
                <a:srgbClr val="036DFF">
                  <a:alpha val="80000"/>
                </a:srgbClr>
              </a:gs>
              <a:gs pos="100000">
                <a:srgbClr val="43E1D3">
                  <a:alpha val="89411"/>
                </a:srgbClr>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 name="Google Shape;35;p46"/>
          <p:cNvSpPr txBox="1">
            <a:spLocks noGrp="1"/>
          </p:cNvSpPr>
          <p:nvPr>
            <p:ph type="ctrTitle"/>
          </p:nvPr>
        </p:nvSpPr>
        <p:spPr>
          <a:xfrm>
            <a:off x="902896" y="3066686"/>
            <a:ext cx="5337943"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46"/>
          <p:cNvSpPr txBox="1">
            <a:spLocks noGrp="1"/>
          </p:cNvSpPr>
          <p:nvPr>
            <p:ph type="subTitle" idx="1"/>
          </p:nvPr>
        </p:nvSpPr>
        <p:spPr>
          <a:xfrm>
            <a:off x="902896" y="4348579"/>
            <a:ext cx="5337943"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7" name="Google Shape;37;p46"/>
          <p:cNvSpPr txBox="1">
            <a:spLocks noGrp="1"/>
          </p:cNvSpPr>
          <p:nvPr>
            <p:ph type="dt" idx="10"/>
          </p:nvPr>
        </p:nvSpPr>
        <p:spPr>
          <a:xfrm>
            <a:off x="902896" y="5923689"/>
            <a:ext cx="1599925" cy="1938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38" name="Google Shape;38;p46"/>
          <p:cNvPicPr preferRelativeResize="0"/>
          <p:nvPr/>
        </p:nvPicPr>
        <p:blipFill rotWithShape="1">
          <a:blip r:embed="rId3">
            <a:alphaModFix/>
          </a:blip>
          <a:srcRect/>
          <a:stretch/>
        </p:blipFill>
        <p:spPr>
          <a:xfrm>
            <a:off x="902896" y="901732"/>
            <a:ext cx="2497452" cy="574280"/>
          </a:xfrm>
          <a:prstGeom prst="rect">
            <a:avLst/>
          </a:prstGeom>
          <a:noFill/>
          <a:ln>
            <a:noFill/>
          </a:ln>
        </p:spPr>
      </p:pic>
    </p:spTree>
    <p:extLst>
      <p:ext uri="{BB962C8B-B14F-4D97-AF65-F5344CB8AC3E}">
        <p14:creationId xmlns:p14="http://schemas.microsoft.com/office/powerpoint/2010/main" val="404901141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9"/>
        <p:cNvGrpSpPr/>
        <p:nvPr/>
      </p:nvGrpSpPr>
      <p:grpSpPr>
        <a:xfrm>
          <a:off x="0" y="0"/>
          <a:ext cx="0" cy="0"/>
          <a:chOff x="0" y="0"/>
          <a:chExt cx="0" cy="0"/>
        </a:xfrm>
      </p:grpSpPr>
      <p:sp>
        <p:nvSpPr>
          <p:cNvPr id="40" name="Google Shape;40;p47"/>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2" name="Google Shape;42;p47"/>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358377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88000178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matchingName="Breaker Slide_1">
  <p:cSld name="Breaker Slide_1">
    <p:bg>
      <p:bgPr>
        <a:solidFill>
          <a:schemeClr val="lt2"/>
        </a:solidFill>
        <a:effectLst/>
      </p:bgPr>
    </p:bg>
    <p:spTree>
      <p:nvGrpSpPr>
        <p:cNvPr id="1" name="Shape 43"/>
        <p:cNvGrpSpPr/>
        <p:nvPr/>
      </p:nvGrpSpPr>
      <p:grpSpPr>
        <a:xfrm>
          <a:off x="0" y="0"/>
          <a:ext cx="0" cy="0"/>
          <a:chOff x="0" y="0"/>
          <a:chExt cx="0" cy="0"/>
        </a:xfrm>
      </p:grpSpPr>
      <p:pic>
        <p:nvPicPr>
          <p:cNvPr id="44" name="Google Shape;44;p6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45" name="Google Shape;45;p68"/>
          <p:cNvSpPr/>
          <p:nvPr/>
        </p:nvSpPr>
        <p:spPr>
          <a:xfrm>
            <a:off x="0" y="0"/>
            <a:ext cx="2682587" cy="6858000"/>
          </a:xfrm>
          <a:prstGeom prst="rect">
            <a:avLst/>
          </a:prstGeom>
          <a:solidFill>
            <a:schemeClr val="lt2">
              <a:alpha val="69411"/>
            </a:scheme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 name="Google Shape;46;p68"/>
          <p:cNvSpPr/>
          <p:nvPr/>
        </p:nvSpPr>
        <p:spPr>
          <a:xfrm>
            <a:off x="0" y="3700463"/>
            <a:ext cx="9412014" cy="2414587"/>
          </a:xfrm>
          <a:prstGeom prst="rect">
            <a:avLst/>
          </a:prstGeom>
          <a:gradFill>
            <a:gsLst>
              <a:gs pos="0">
                <a:srgbClr val="062379"/>
              </a:gs>
              <a:gs pos="55000">
                <a:srgbClr val="385ED2"/>
              </a:gs>
              <a:gs pos="76000">
                <a:srgbClr val="4873F5">
                  <a:alpha val="89411"/>
                </a:srgbClr>
              </a:gs>
              <a:gs pos="100000">
                <a:srgbClr val="43E1D3">
                  <a:alpha val="89411"/>
                </a:srgbClr>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 name="Google Shape;47;p68"/>
          <p:cNvSpPr txBox="1">
            <a:spLocks noGrp="1"/>
          </p:cNvSpPr>
          <p:nvPr>
            <p:ph type="title"/>
          </p:nvPr>
        </p:nvSpPr>
        <p:spPr>
          <a:xfrm>
            <a:off x="737591" y="4108436"/>
            <a:ext cx="8494899" cy="1569660"/>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 name="Google Shape;48;p68"/>
          <p:cNvGrpSpPr/>
          <p:nvPr/>
        </p:nvGrpSpPr>
        <p:grpSpPr>
          <a:xfrm>
            <a:off x="11998459" y="6162188"/>
            <a:ext cx="68500" cy="441925"/>
            <a:chOff x="11998459" y="6162188"/>
            <a:chExt cx="68500" cy="441925"/>
          </a:xfrm>
        </p:grpSpPr>
        <p:sp>
          <p:nvSpPr>
            <p:cNvPr id="49" name="Google Shape;49;p6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 name="Google Shape;50;p6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 name="Google Shape;51;p6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 name="Google Shape;52;p6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 name="Google Shape;53;p6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 name="Google Shape;54;p6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 name="Google Shape;55;p6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 name="Google Shape;56;p6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 name="Google Shape;57;p6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 name="Google Shape;58;p6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 name="Google Shape;59;p6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 name="Google Shape;60;p6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 name="Google Shape;61;p6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 name="Google Shape;62;p68"/>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63" name="Google Shape;63;p6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58499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matchingName="Last Page">
  <p:cSld name="Last Page">
    <p:spTree>
      <p:nvGrpSpPr>
        <p:cNvPr id="1" name="Shape 121"/>
        <p:cNvGrpSpPr/>
        <p:nvPr/>
      </p:nvGrpSpPr>
      <p:grpSpPr>
        <a:xfrm>
          <a:off x="0" y="0"/>
          <a:ext cx="0" cy="0"/>
          <a:chOff x="0" y="0"/>
          <a:chExt cx="0" cy="0"/>
        </a:xfrm>
      </p:grpSpPr>
      <p:sp>
        <p:nvSpPr>
          <p:cNvPr id="122" name="Google Shape;122;p57"/>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3" name="Google Shape;123;p57"/>
          <p:cNvSpPr txBox="1"/>
          <p:nvPr/>
        </p:nvSpPr>
        <p:spPr>
          <a:xfrm>
            <a:off x="550863" y="5965461"/>
            <a:ext cx="3028906"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sng" strike="noStrike" cap="none" dirty="0">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endParaRPr sz="1200" b="1" i="0" u="none" strike="noStrike" cap="none" dirty="0">
              <a:solidFill>
                <a:srgbClr val="43E1D3"/>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lt1"/>
                </a:solidFill>
                <a:latin typeface="Calibri"/>
                <a:ea typeface="Calibri"/>
                <a:cs typeface="Calibri"/>
                <a:sym typeface="Calibri"/>
              </a:rPr>
              <a:t>Infomineo Copyright © 2023. All rights reserved.</a:t>
            </a:r>
            <a:endParaRPr sz="1400" b="0" i="0" u="none" strike="noStrike" cap="none" dirty="0">
              <a:solidFill>
                <a:srgbClr val="000000"/>
              </a:solidFill>
              <a:latin typeface="Arial"/>
              <a:ea typeface="Arial"/>
              <a:cs typeface="Arial"/>
              <a:sym typeface="Arial"/>
            </a:endParaRPr>
          </a:p>
        </p:txBody>
      </p:sp>
      <p:pic>
        <p:nvPicPr>
          <p:cNvPr id="124" name="Google Shape;124;p57"/>
          <p:cNvPicPr preferRelativeResize="0"/>
          <p:nvPr/>
        </p:nvPicPr>
        <p:blipFill rotWithShape="1">
          <a:blip r:embed="rId3">
            <a:alphaModFix/>
          </a:blip>
          <a:srcRect/>
          <a:stretch/>
        </p:blipFill>
        <p:spPr>
          <a:xfrm>
            <a:off x="4256669" y="3006053"/>
            <a:ext cx="3678662" cy="845895"/>
          </a:xfrm>
          <a:prstGeom prst="rect">
            <a:avLst/>
          </a:prstGeom>
          <a:noFill/>
          <a:ln>
            <a:noFill/>
          </a:ln>
        </p:spPr>
      </p:pic>
      <p:pic>
        <p:nvPicPr>
          <p:cNvPr id="125" name="Google Shape;125;p57">
            <a:hlinkClick r:id="rId4"/>
          </p:cNvPr>
          <p:cNvPicPr preferRelativeResize="0"/>
          <p:nvPr/>
        </p:nvPicPr>
        <p:blipFill rotWithShape="1">
          <a:blip r:embed="rId5">
            <a:alphaModFix/>
          </a:blip>
          <a:srcRect/>
          <a:stretch/>
        </p:blipFill>
        <p:spPr>
          <a:xfrm>
            <a:off x="11323329" y="5965461"/>
            <a:ext cx="370332" cy="370332"/>
          </a:xfrm>
          <a:prstGeom prst="rect">
            <a:avLst/>
          </a:prstGeom>
          <a:noFill/>
          <a:ln>
            <a:noFill/>
          </a:ln>
        </p:spPr>
      </p:pic>
      <p:pic>
        <p:nvPicPr>
          <p:cNvPr id="126" name="Google Shape;126;p57">
            <a:hlinkClick r:id="rId6"/>
          </p:cNvPr>
          <p:cNvPicPr preferRelativeResize="0"/>
          <p:nvPr/>
        </p:nvPicPr>
        <p:blipFill rotWithShape="1">
          <a:blip r:embed="rId7">
            <a:alphaModFix/>
          </a:blip>
          <a:srcRect/>
          <a:stretch/>
        </p:blipFill>
        <p:spPr>
          <a:xfrm>
            <a:off x="10825964" y="5965461"/>
            <a:ext cx="368808" cy="370332"/>
          </a:xfrm>
          <a:prstGeom prst="rect">
            <a:avLst/>
          </a:prstGeom>
          <a:noFill/>
          <a:ln>
            <a:noFill/>
          </a:ln>
        </p:spPr>
      </p:pic>
      <p:pic>
        <p:nvPicPr>
          <p:cNvPr id="127" name="Google Shape;127;p57">
            <a:hlinkClick r:id="rId8"/>
          </p:cNvPr>
          <p:cNvPicPr preferRelativeResize="0"/>
          <p:nvPr/>
        </p:nvPicPr>
        <p:blipFill rotWithShape="1">
          <a:blip r:embed="rId9">
            <a:alphaModFix/>
          </a:blip>
          <a:srcRect/>
          <a:stretch/>
        </p:blipFill>
        <p:spPr>
          <a:xfrm>
            <a:off x="10328599" y="5965461"/>
            <a:ext cx="368808" cy="370332"/>
          </a:xfrm>
          <a:prstGeom prst="rect">
            <a:avLst/>
          </a:prstGeom>
          <a:noFill/>
          <a:ln>
            <a:noFill/>
          </a:ln>
        </p:spPr>
      </p:pic>
    </p:spTree>
    <p:extLst>
      <p:ext uri="{BB962C8B-B14F-4D97-AF65-F5344CB8AC3E}">
        <p14:creationId xmlns:p14="http://schemas.microsoft.com/office/powerpoint/2010/main" val="246896605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1_Title only (with background)">
  <p:cSld name="1_Title only (with background)">
    <p:bg>
      <p:bgPr>
        <a:solidFill>
          <a:schemeClr val="lt2"/>
        </a:solidFill>
        <a:effectLst/>
      </p:bgPr>
    </p:bg>
    <p:spTree>
      <p:nvGrpSpPr>
        <p:cNvPr id="1" name="Shape 128"/>
        <p:cNvGrpSpPr/>
        <p:nvPr/>
      </p:nvGrpSpPr>
      <p:grpSpPr>
        <a:xfrm>
          <a:off x="0" y="0"/>
          <a:ext cx="0" cy="0"/>
          <a:chOff x="0" y="0"/>
          <a:chExt cx="0" cy="0"/>
        </a:xfrm>
      </p:grpSpPr>
      <p:sp>
        <p:nvSpPr>
          <p:cNvPr id="129" name="Google Shape;129;p5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 name="Google Shape;130;p5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1" name="Google Shape;131;p50"/>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 name="Google Shape;132;p50"/>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9518411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matchingName="Without Title">
  <p:cSld name="Without Title">
    <p:spTree>
      <p:nvGrpSpPr>
        <p:cNvPr id="1" name="Shape 133"/>
        <p:cNvGrpSpPr/>
        <p:nvPr/>
      </p:nvGrpSpPr>
      <p:grpSpPr>
        <a:xfrm>
          <a:off x="0" y="0"/>
          <a:ext cx="0" cy="0"/>
          <a:chOff x="0" y="0"/>
          <a:chExt cx="0" cy="0"/>
        </a:xfrm>
      </p:grpSpPr>
      <p:sp>
        <p:nvSpPr>
          <p:cNvPr id="134" name="Google Shape;134;p5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135" name="Google Shape;135;p58"/>
          <p:cNvGrpSpPr/>
          <p:nvPr/>
        </p:nvGrpSpPr>
        <p:grpSpPr>
          <a:xfrm>
            <a:off x="11998459" y="6162188"/>
            <a:ext cx="68500" cy="441925"/>
            <a:chOff x="11998459" y="6162188"/>
            <a:chExt cx="68500" cy="441925"/>
          </a:xfrm>
        </p:grpSpPr>
        <p:sp>
          <p:nvSpPr>
            <p:cNvPr id="136" name="Google Shape;136;p5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7" name="Google Shape;137;p5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8" name="Google Shape;138;p5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9" name="Google Shape;139;p5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0" name="Google Shape;140;p5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1" name="Google Shape;141;p5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2" name="Google Shape;142;p5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3" name="Google Shape;143;p5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4" name="Google Shape;144;p5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5" name="Google Shape;145;p5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6" name="Google Shape;146;p5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7" name="Google Shape;147;p5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8" name="Google Shape;148;p5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149" name="Google Shape;149;p58"/>
          <p:cNvPicPr preferRelativeResize="0"/>
          <p:nvPr/>
        </p:nvPicPr>
        <p:blipFill rotWithShape="1">
          <a:blip r:embed="rId2">
            <a:alphaModFix/>
          </a:blip>
          <a:srcRect/>
          <a:stretch/>
        </p:blipFill>
        <p:spPr>
          <a:xfrm rot="-5400000">
            <a:off x="11811887" y="6349041"/>
            <a:ext cx="441438" cy="68706"/>
          </a:xfrm>
          <a:prstGeom prst="rect">
            <a:avLst/>
          </a:prstGeom>
          <a:noFill/>
          <a:ln>
            <a:noFill/>
          </a:ln>
        </p:spPr>
      </p:pic>
      <p:sp>
        <p:nvSpPr>
          <p:cNvPr id="150" name="Google Shape;150;p58"/>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rgbClr val="B4B4B4"/>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151" name="Google Shape;151;p58"/>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7159165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2 Column">
  <p:cSld name="2 Column">
    <p:spTree>
      <p:nvGrpSpPr>
        <p:cNvPr id="1" name="Shape 152"/>
        <p:cNvGrpSpPr/>
        <p:nvPr/>
      </p:nvGrpSpPr>
      <p:grpSpPr>
        <a:xfrm>
          <a:off x="0" y="0"/>
          <a:ext cx="0" cy="0"/>
          <a:chOff x="0" y="0"/>
          <a:chExt cx="0" cy="0"/>
        </a:xfrm>
      </p:grpSpPr>
      <p:sp>
        <p:nvSpPr>
          <p:cNvPr id="153" name="Google Shape;153;p59"/>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 name="Google Shape;154;p5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55" name="Google Shape;155;p59"/>
          <p:cNvSpPr txBox="1">
            <a:spLocks noGrp="1"/>
          </p:cNvSpPr>
          <p:nvPr>
            <p:ph type="body" idx="1"/>
          </p:nvPr>
        </p:nvSpPr>
        <p:spPr>
          <a:xfrm>
            <a:off x="550863"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 name="Google Shape;156;p59"/>
          <p:cNvSpPr txBox="1">
            <a:spLocks noGrp="1"/>
          </p:cNvSpPr>
          <p:nvPr>
            <p:ph type="body" idx="2"/>
          </p:nvPr>
        </p:nvSpPr>
        <p:spPr>
          <a:xfrm>
            <a:off x="550863"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 name="Google Shape;157;p59"/>
          <p:cNvSpPr txBox="1">
            <a:spLocks noGrp="1"/>
          </p:cNvSpPr>
          <p:nvPr>
            <p:ph type="body" idx="3"/>
          </p:nvPr>
        </p:nvSpPr>
        <p:spPr>
          <a:xfrm>
            <a:off x="6240464"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8" name="Google Shape;158;p59"/>
          <p:cNvSpPr txBox="1">
            <a:spLocks noGrp="1"/>
          </p:cNvSpPr>
          <p:nvPr>
            <p:ph type="body" idx="4"/>
          </p:nvPr>
        </p:nvSpPr>
        <p:spPr>
          <a:xfrm>
            <a:off x="6240464"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59"/>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2725535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3 Column">
  <p:cSld name="3 Column">
    <p:spTree>
      <p:nvGrpSpPr>
        <p:cNvPr id="1" name="Shape 160"/>
        <p:cNvGrpSpPr/>
        <p:nvPr/>
      </p:nvGrpSpPr>
      <p:grpSpPr>
        <a:xfrm>
          <a:off x="0" y="0"/>
          <a:ext cx="0" cy="0"/>
          <a:chOff x="0" y="0"/>
          <a:chExt cx="0" cy="0"/>
        </a:xfrm>
      </p:grpSpPr>
      <p:sp>
        <p:nvSpPr>
          <p:cNvPr id="161" name="Google Shape;161;p6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6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63" name="Google Shape;163;p60"/>
          <p:cNvSpPr txBox="1">
            <a:spLocks noGrp="1"/>
          </p:cNvSpPr>
          <p:nvPr>
            <p:ph type="body" idx="1"/>
          </p:nvPr>
        </p:nvSpPr>
        <p:spPr>
          <a:xfrm>
            <a:off x="550864" y="2175803"/>
            <a:ext cx="3506976"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 name="Google Shape;164;p60"/>
          <p:cNvSpPr txBox="1">
            <a:spLocks noGrp="1"/>
          </p:cNvSpPr>
          <p:nvPr>
            <p:ph type="body" idx="2"/>
          </p:nvPr>
        </p:nvSpPr>
        <p:spPr>
          <a:xfrm>
            <a:off x="550864" y="1857375"/>
            <a:ext cx="35069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60"/>
          <p:cNvSpPr txBox="1">
            <a:spLocks noGrp="1"/>
          </p:cNvSpPr>
          <p:nvPr>
            <p:ph type="body" idx="3"/>
          </p:nvPr>
        </p:nvSpPr>
        <p:spPr>
          <a:xfrm>
            <a:off x="8135839"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 name="Google Shape;166;p60"/>
          <p:cNvSpPr txBox="1">
            <a:spLocks noGrp="1"/>
          </p:cNvSpPr>
          <p:nvPr>
            <p:ph type="body" idx="4"/>
          </p:nvPr>
        </p:nvSpPr>
        <p:spPr>
          <a:xfrm>
            <a:off x="8135839"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 name="Google Shape;167;p60"/>
          <p:cNvSpPr txBox="1">
            <a:spLocks noGrp="1"/>
          </p:cNvSpPr>
          <p:nvPr>
            <p:ph type="body" idx="5"/>
          </p:nvPr>
        </p:nvSpPr>
        <p:spPr>
          <a:xfrm>
            <a:off x="4344162" y="2175803"/>
            <a:ext cx="35053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60"/>
          <p:cNvSpPr txBox="1">
            <a:spLocks noGrp="1"/>
          </p:cNvSpPr>
          <p:nvPr>
            <p:ph type="body" idx="6"/>
          </p:nvPr>
        </p:nvSpPr>
        <p:spPr>
          <a:xfrm>
            <a:off x="4344162"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 name="Google Shape;169;p60"/>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778040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5 Column">
  <p:cSld name="5 Column">
    <p:spTree>
      <p:nvGrpSpPr>
        <p:cNvPr id="1" name="Shape 182"/>
        <p:cNvGrpSpPr/>
        <p:nvPr/>
      </p:nvGrpSpPr>
      <p:grpSpPr>
        <a:xfrm>
          <a:off x="0" y="0"/>
          <a:ext cx="0" cy="0"/>
          <a:chOff x="0" y="0"/>
          <a:chExt cx="0" cy="0"/>
        </a:xfrm>
      </p:grpSpPr>
      <p:sp>
        <p:nvSpPr>
          <p:cNvPr id="183" name="Google Shape;183;p62"/>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 name="Google Shape;184;p6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5" name="Google Shape;185;p62"/>
          <p:cNvSpPr txBox="1">
            <a:spLocks noGrp="1"/>
          </p:cNvSpPr>
          <p:nvPr>
            <p:ph type="body" idx="1"/>
          </p:nvPr>
        </p:nvSpPr>
        <p:spPr>
          <a:xfrm>
            <a:off x="550864"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 name="Google Shape;186;p62"/>
          <p:cNvSpPr txBox="1">
            <a:spLocks noGrp="1"/>
          </p:cNvSpPr>
          <p:nvPr>
            <p:ph type="body" idx="2"/>
          </p:nvPr>
        </p:nvSpPr>
        <p:spPr>
          <a:xfrm>
            <a:off x="550864"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 name="Google Shape;187;p62"/>
          <p:cNvSpPr txBox="1">
            <a:spLocks noGrp="1"/>
          </p:cNvSpPr>
          <p:nvPr>
            <p:ph type="body" idx="3"/>
          </p:nvPr>
        </p:nvSpPr>
        <p:spPr>
          <a:xfrm>
            <a:off x="5104050"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 name="Google Shape;188;p62"/>
          <p:cNvSpPr txBox="1">
            <a:spLocks noGrp="1"/>
          </p:cNvSpPr>
          <p:nvPr>
            <p:ph type="body" idx="4"/>
          </p:nvPr>
        </p:nvSpPr>
        <p:spPr>
          <a:xfrm>
            <a:off x="5104050"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62"/>
          <p:cNvSpPr txBox="1">
            <a:spLocks noGrp="1"/>
          </p:cNvSpPr>
          <p:nvPr>
            <p:ph type="body" idx="5"/>
          </p:nvPr>
        </p:nvSpPr>
        <p:spPr>
          <a:xfrm>
            <a:off x="2827457" y="2175803"/>
            <a:ext cx="1983600"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228600" algn="l">
              <a:lnSpc>
                <a:spcPct val="95000"/>
              </a:lnSpc>
              <a:spcBef>
                <a:spcPts val="300"/>
              </a:spcBef>
              <a:spcAft>
                <a:spcPts val="0"/>
              </a:spcAft>
              <a:buSzPts val="1400"/>
              <a:buNone/>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 name="Google Shape;190;p62"/>
          <p:cNvSpPr txBox="1">
            <a:spLocks noGrp="1"/>
          </p:cNvSpPr>
          <p:nvPr>
            <p:ph type="body" idx="6"/>
          </p:nvPr>
        </p:nvSpPr>
        <p:spPr>
          <a:xfrm>
            <a:off x="2827457"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 name="Google Shape;191;p62"/>
          <p:cNvSpPr txBox="1">
            <a:spLocks noGrp="1"/>
          </p:cNvSpPr>
          <p:nvPr>
            <p:ph type="body" idx="7"/>
          </p:nvPr>
        </p:nvSpPr>
        <p:spPr>
          <a:xfrm>
            <a:off x="7380643"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 name="Google Shape;192;p62"/>
          <p:cNvSpPr txBox="1">
            <a:spLocks noGrp="1"/>
          </p:cNvSpPr>
          <p:nvPr>
            <p:ph type="body" idx="8"/>
          </p:nvPr>
        </p:nvSpPr>
        <p:spPr>
          <a:xfrm>
            <a:off x="7380643"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 name="Google Shape;193;p62"/>
          <p:cNvSpPr txBox="1">
            <a:spLocks noGrp="1"/>
          </p:cNvSpPr>
          <p:nvPr>
            <p:ph type="body" idx="9"/>
          </p:nvPr>
        </p:nvSpPr>
        <p:spPr>
          <a:xfrm>
            <a:off x="9660801" y="2175803"/>
            <a:ext cx="1980034"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0" lvl="1" indent="-308610" algn="l">
              <a:lnSpc>
                <a:spcPct val="95000"/>
              </a:lnSpc>
              <a:spcBef>
                <a:spcPts val="500"/>
              </a:spcBef>
              <a:spcAft>
                <a:spcPts val="0"/>
              </a:spcAft>
              <a:buSzPts val="1260"/>
              <a:buChar char="▪"/>
              <a:defRPr sz="1400">
                <a:latin typeface="Calibri"/>
                <a:ea typeface="Calibri"/>
                <a:cs typeface="Calibri"/>
                <a:sym typeface="Calibri"/>
              </a:defRPr>
            </a:lvl2pPr>
            <a:lvl3pPr marL="1371600" lvl="2" indent="-317500" algn="l">
              <a:lnSpc>
                <a:spcPct val="95000"/>
              </a:lnSpc>
              <a:spcBef>
                <a:spcPts val="300"/>
              </a:spcBef>
              <a:spcAft>
                <a:spcPts val="0"/>
              </a:spcAft>
              <a:buSzPts val="1400"/>
              <a:buChar char="−"/>
              <a:defRPr sz="1400">
                <a:latin typeface="Calibri"/>
                <a:ea typeface="Calibri"/>
                <a:cs typeface="Calibri"/>
                <a:sym typeface="Calibri"/>
              </a:defRPr>
            </a:lvl3pPr>
            <a:lvl4pPr marL="1828800" lvl="3" indent="-308610" algn="l">
              <a:lnSpc>
                <a:spcPct val="95000"/>
              </a:lnSpc>
              <a:spcBef>
                <a:spcPts val="100"/>
              </a:spcBef>
              <a:spcAft>
                <a:spcPts val="0"/>
              </a:spcAft>
              <a:buSzPts val="1260"/>
              <a:buChar char="▪"/>
              <a:defRPr sz="1400">
                <a:latin typeface="Calibri"/>
                <a:ea typeface="Calibri"/>
                <a:cs typeface="Calibri"/>
                <a:sym typeface="Calibri"/>
              </a:defRPr>
            </a:lvl4pPr>
            <a:lvl5pPr marL="2286000" lvl="4" indent="-317500" algn="l">
              <a:lnSpc>
                <a:spcPct val="95000"/>
              </a:lnSpc>
              <a:spcBef>
                <a:spcPts val="100"/>
              </a:spcBef>
              <a:spcAft>
                <a:spcPts val="0"/>
              </a:spcAft>
              <a:buSzPts val="1400"/>
              <a:buChar char="−"/>
              <a:defRPr sz="14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62"/>
          <p:cNvSpPr txBox="1">
            <a:spLocks noGrp="1"/>
          </p:cNvSpPr>
          <p:nvPr>
            <p:ph type="body" idx="13"/>
          </p:nvPr>
        </p:nvSpPr>
        <p:spPr>
          <a:xfrm>
            <a:off x="9660801"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 name="Google Shape;195;p62"/>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89368238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1/3 Blue on Left_2">
  <p:cSld name="1/3 Blue on Left_2">
    <p:spTree>
      <p:nvGrpSpPr>
        <p:cNvPr id="1" name="Shape 196"/>
        <p:cNvGrpSpPr/>
        <p:nvPr/>
      </p:nvGrpSpPr>
      <p:grpSpPr>
        <a:xfrm>
          <a:off x="0" y="0"/>
          <a:ext cx="0" cy="0"/>
          <a:chOff x="0" y="0"/>
          <a:chExt cx="0" cy="0"/>
        </a:xfrm>
      </p:grpSpPr>
      <p:sp>
        <p:nvSpPr>
          <p:cNvPr id="197" name="Google Shape;197;p63"/>
          <p:cNvSpPr/>
          <p:nvPr/>
        </p:nvSpPr>
        <p:spPr>
          <a:xfrm>
            <a:off x="0" y="-1"/>
            <a:ext cx="4059776" cy="6857999"/>
          </a:xfrm>
          <a:prstGeom prst="rect">
            <a:avLst/>
          </a:prstGeom>
          <a:gradFill>
            <a:gsLst>
              <a:gs pos="0">
                <a:srgbClr val="062379"/>
              </a:gs>
              <a:gs pos="55000">
                <a:srgbClr val="385ED2"/>
              </a:gs>
              <a:gs pos="76000">
                <a:srgbClr val="4873F5">
                  <a:alpha val="89411"/>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8" name="Google Shape;198;p63"/>
          <p:cNvSpPr txBox="1">
            <a:spLocks noGrp="1"/>
          </p:cNvSpPr>
          <p:nvPr>
            <p:ph type="title"/>
          </p:nvPr>
        </p:nvSpPr>
        <p:spPr>
          <a:xfrm>
            <a:off x="566141" y="2546064"/>
            <a:ext cx="3032465" cy="176586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500"/>
              <a:buFont typeface="Franklin Gothic"/>
              <a:buNone/>
              <a:defRPr sz="45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 name="Google Shape;199;p6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0" name="Google Shape;200;p63"/>
          <p:cNvSpPr txBox="1">
            <a:spLocks noGrp="1"/>
          </p:cNvSpPr>
          <p:nvPr>
            <p:ph type="ftr" idx="11"/>
          </p:nvPr>
        </p:nvSpPr>
        <p:spPr>
          <a:xfrm>
            <a:off x="436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920917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1/2 Blue on Left">
  <p:cSld name="1/2 Blue on Left">
    <p:spTree>
      <p:nvGrpSpPr>
        <p:cNvPr id="1" name="Shape 201"/>
        <p:cNvGrpSpPr/>
        <p:nvPr/>
      </p:nvGrpSpPr>
      <p:grpSpPr>
        <a:xfrm>
          <a:off x="0" y="0"/>
          <a:ext cx="0" cy="0"/>
          <a:chOff x="0" y="0"/>
          <a:chExt cx="0" cy="0"/>
        </a:xfrm>
      </p:grpSpPr>
      <p:sp>
        <p:nvSpPr>
          <p:cNvPr id="202" name="Google Shape;202;p64"/>
          <p:cNvSpPr/>
          <p:nvPr/>
        </p:nvSpPr>
        <p:spPr>
          <a:xfrm>
            <a:off x="0" y="-1"/>
            <a:ext cx="6098537" cy="6857999"/>
          </a:xfrm>
          <a:prstGeom prst="rect">
            <a:avLst/>
          </a:prstGeom>
          <a:gradFill>
            <a:gsLst>
              <a:gs pos="0">
                <a:srgbClr val="062379"/>
              </a:gs>
              <a:gs pos="55000">
                <a:srgbClr val="385ED2"/>
              </a:gs>
              <a:gs pos="76000">
                <a:srgbClr val="4873F5">
                  <a:alpha val="89411"/>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3" name="Google Shape;203;p64"/>
          <p:cNvSpPr txBox="1">
            <a:spLocks noGrp="1"/>
          </p:cNvSpPr>
          <p:nvPr>
            <p:ph type="title"/>
          </p:nvPr>
        </p:nvSpPr>
        <p:spPr>
          <a:xfrm>
            <a:off x="539400" y="562840"/>
            <a:ext cx="5074328"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6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5" name="Google Shape;205;p64"/>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06" name="Google Shape;206;p64"/>
          <p:cNvSpPr txBox="1">
            <a:spLocks noGrp="1"/>
          </p:cNvSpPr>
          <p:nvPr>
            <p:ph type="ftr" idx="11"/>
          </p:nvPr>
        </p:nvSpPr>
        <p:spPr>
          <a:xfrm>
            <a:off x="549232" y="6465614"/>
            <a:ext cx="507432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0984713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matchingName="Gradient BG (with Title)">
  <p:cSld name="Gradient BG (with Title)">
    <p:spTree>
      <p:nvGrpSpPr>
        <p:cNvPr id="1" name="Shape 207"/>
        <p:cNvGrpSpPr/>
        <p:nvPr/>
      </p:nvGrpSpPr>
      <p:grpSpPr>
        <a:xfrm>
          <a:off x="0" y="0"/>
          <a:ext cx="0" cy="0"/>
          <a:chOff x="0" y="0"/>
          <a:chExt cx="0" cy="0"/>
        </a:xfrm>
      </p:grpSpPr>
      <p:sp>
        <p:nvSpPr>
          <p:cNvPr id="208" name="Google Shape;208;p65"/>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 name="Google Shape;209;p65"/>
          <p:cNvSpPr txBox="1">
            <a:spLocks noGrp="1"/>
          </p:cNvSpPr>
          <p:nvPr>
            <p:ph type="title"/>
          </p:nvPr>
        </p:nvSpPr>
        <p:spPr>
          <a:xfrm>
            <a:off x="539400" y="560588"/>
            <a:ext cx="1108997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10" name="Google Shape;210;p6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11" name="Google Shape;211;p65"/>
          <p:cNvGrpSpPr/>
          <p:nvPr/>
        </p:nvGrpSpPr>
        <p:grpSpPr>
          <a:xfrm>
            <a:off x="11998459" y="6162188"/>
            <a:ext cx="68500" cy="441925"/>
            <a:chOff x="11998459" y="6162188"/>
            <a:chExt cx="68500" cy="441925"/>
          </a:xfrm>
        </p:grpSpPr>
        <p:sp>
          <p:nvSpPr>
            <p:cNvPr id="212" name="Google Shape;212;p6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3" name="Google Shape;213;p6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4" name="Google Shape;214;p6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 name="Google Shape;215;p6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 name="Google Shape;216;p6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7" name="Google Shape;217;p6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8" name="Google Shape;218;p6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9" name="Google Shape;219;p6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0" name="Google Shape;220;p6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1" name="Google Shape;221;p6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2" name="Google Shape;222;p6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 name="Google Shape;223;p6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4" name="Google Shape;224;p6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25" name="Google Shape;225;p6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26" name="Google Shape;226;p6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7" name="Google Shape;227;p65"/>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351652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with backgroun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620261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A3ACF9-E695-4094-9A16-A4F48EC9FF1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a:t>Click to edit Master title style</a:t>
            </a:r>
            <a:endParaRPr lang="en-IN" dirty="0"/>
          </a:p>
        </p:txBody>
      </p:sp>
      <p:sp>
        <p:nvSpPr>
          <p:cNvPr id="7" name="Footer Placeholder 4">
            <a:extLst>
              <a:ext uri="{FF2B5EF4-FFF2-40B4-BE49-F238E27FC236}">
                <a16:creationId xmlns:a16="http://schemas.microsoft.com/office/drawing/2014/main" id="{077D7FE3-E237-42E3-89BE-6BCC588B6C8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00437341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matchingName="1_Gradient BG (with Title)">
  <p:cSld name="1_Gradient BG (with Title)">
    <p:spTree>
      <p:nvGrpSpPr>
        <p:cNvPr id="1" name="Shape 228"/>
        <p:cNvGrpSpPr/>
        <p:nvPr/>
      </p:nvGrpSpPr>
      <p:grpSpPr>
        <a:xfrm>
          <a:off x="0" y="0"/>
          <a:ext cx="0" cy="0"/>
          <a:chOff x="0" y="0"/>
          <a:chExt cx="0" cy="0"/>
        </a:xfrm>
      </p:grpSpPr>
      <p:sp>
        <p:nvSpPr>
          <p:cNvPr id="229" name="Google Shape;229;p66"/>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230" name="Google Shape;230;p66"/>
          <p:cNvGrpSpPr/>
          <p:nvPr/>
        </p:nvGrpSpPr>
        <p:grpSpPr>
          <a:xfrm>
            <a:off x="11998459" y="6162188"/>
            <a:ext cx="68500" cy="441925"/>
            <a:chOff x="11998459" y="6162188"/>
            <a:chExt cx="68500" cy="441925"/>
          </a:xfrm>
        </p:grpSpPr>
        <p:sp>
          <p:nvSpPr>
            <p:cNvPr id="231" name="Google Shape;231;p6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2" name="Google Shape;232;p6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3" name="Google Shape;233;p6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4" name="Google Shape;234;p6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5" name="Google Shape;235;p6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6" name="Google Shape;236;p6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7" name="Google Shape;237;p6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8" name="Google Shape;238;p6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9" name="Google Shape;239;p6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0" name="Google Shape;240;p6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2" name="Google Shape;242;p6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 name="Google Shape;243;p6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4" name="Google Shape;244;p6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45" name="Google Shape;245;p6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46" name="Google Shape;246;p66"/>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6758246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1/3 Blue on Right">
  <p:cSld name="1/3 Blue on Right">
    <p:spTree>
      <p:nvGrpSpPr>
        <p:cNvPr id="1" name="Shape 247"/>
        <p:cNvGrpSpPr/>
        <p:nvPr/>
      </p:nvGrpSpPr>
      <p:grpSpPr>
        <a:xfrm>
          <a:off x="0" y="0"/>
          <a:ext cx="0" cy="0"/>
          <a:chOff x="0" y="0"/>
          <a:chExt cx="0" cy="0"/>
        </a:xfrm>
      </p:grpSpPr>
      <p:sp>
        <p:nvSpPr>
          <p:cNvPr id="248" name="Google Shape;248;p67"/>
          <p:cNvSpPr/>
          <p:nvPr/>
        </p:nvSpPr>
        <p:spPr>
          <a:xfrm>
            <a:off x="8134763" y="-1"/>
            <a:ext cx="4059776" cy="6858001"/>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p67"/>
          <p:cNvSpPr txBox="1">
            <a:spLocks noGrp="1"/>
          </p:cNvSpPr>
          <p:nvPr>
            <p:ph type="title"/>
          </p:nvPr>
        </p:nvSpPr>
        <p:spPr>
          <a:xfrm>
            <a:off x="539400" y="562841"/>
            <a:ext cx="726112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 name="Google Shape;250;p67"/>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67"/>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252" name="Google Shape;252;p67"/>
          <p:cNvGrpSpPr/>
          <p:nvPr/>
        </p:nvGrpSpPr>
        <p:grpSpPr>
          <a:xfrm>
            <a:off x="11998459" y="6162188"/>
            <a:ext cx="68500" cy="441925"/>
            <a:chOff x="11998459" y="6162188"/>
            <a:chExt cx="68500" cy="441925"/>
          </a:xfrm>
        </p:grpSpPr>
        <p:sp>
          <p:nvSpPr>
            <p:cNvPr id="253" name="Google Shape;253;p67"/>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 name="Google Shape;254;p67"/>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 name="Google Shape;255;p67"/>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6" name="Google Shape;256;p67"/>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 name="Google Shape;257;p67"/>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7"/>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9" name="Google Shape;259;p67"/>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0" name="Google Shape;260;p67"/>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1" name="Google Shape;261;p67"/>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2" name="Google Shape;262;p67"/>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3" name="Google Shape;263;p67"/>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4" name="Google Shape;264;p67"/>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5" name="Google Shape;265;p67"/>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66" name="Google Shape;266;p67"/>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67" name="Google Shape;267;p67"/>
          <p:cNvSpPr txBox="1">
            <a:spLocks noGrp="1"/>
          </p:cNvSpPr>
          <p:nvPr>
            <p:ph type="ftr" idx="11"/>
          </p:nvPr>
        </p:nvSpPr>
        <p:spPr>
          <a:xfrm>
            <a:off x="550862" y="6465614"/>
            <a:ext cx="7276401" cy="138499"/>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9206200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matchingName="Breaker Slide_2">
  <p:cSld name="Breaker Slide_2">
    <p:bg>
      <p:bgPr>
        <a:solidFill>
          <a:schemeClr val="lt2"/>
        </a:solidFill>
        <a:effectLst/>
      </p:bgPr>
    </p:bg>
    <p:spTree>
      <p:nvGrpSpPr>
        <p:cNvPr id="1" name="Shape 268"/>
        <p:cNvGrpSpPr/>
        <p:nvPr/>
      </p:nvGrpSpPr>
      <p:grpSpPr>
        <a:xfrm>
          <a:off x="0" y="0"/>
          <a:ext cx="0" cy="0"/>
          <a:chOff x="0" y="0"/>
          <a:chExt cx="0" cy="0"/>
        </a:xfrm>
      </p:grpSpPr>
      <p:pic>
        <p:nvPicPr>
          <p:cNvPr id="269" name="Google Shape;269;p6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70" name="Google Shape;270;p69"/>
          <p:cNvSpPr/>
          <p:nvPr/>
        </p:nvSpPr>
        <p:spPr>
          <a:xfrm>
            <a:off x="0" y="0"/>
            <a:ext cx="12192000" cy="6858000"/>
          </a:xfrm>
          <a:prstGeom prst="rect">
            <a:avLst/>
          </a:prstGeom>
          <a:gradFill>
            <a:gsLst>
              <a:gs pos="0">
                <a:srgbClr val="062379"/>
              </a:gs>
              <a:gs pos="16000">
                <a:srgbClr val="062379"/>
              </a:gs>
              <a:gs pos="55000">
                <a:srgbClr val="0934B6">
                  <a:alpha val="89411"/>
                </a:srgbClr>
              </a:gs>
              <a:gs pos="85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1" name="Google Shape;271;p69"/>
          <p:cNvSpPr txBox="1">
            <a:spLocks noGrp="1"/>
          </p:cNvSpPr>
          <p:nvPr>
            <p:ph type="title"/>
          </p:nvPr>
        </p:nvSpPr>
        <p:spPr>
          <a:xfrm>
            <a:off x="992390" y="4026897"/>
            <a:ext cx="6785798" cy="1569660"/>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2" name="Google Shape;272;p69"/>
          <p:cNvGrpSpPr/>
          <p:nvPr/>
        </p:nvGrpSpPr>
        <p:grpSpPr>
          <a:xfrm>
            <a:off x="11998459" y="6162188"/>
            <a:ext cx="68500" cy="441925"/>
            <a:chOff x="11998459" y="6162188"/>
            <a:chExt cx="68500" cy="441925"/>
          </a:xfrm>
        </p:grpSpPr>
        <p:sp>
          <p:nvSpPr>
            <p:cNvPr id="273" name="Google Shape;273;p69"/>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4" name="Google Shape;274;p69"/>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5" name="Google Shape;275;p69"/>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6" name="Google Shape;276;p69"/>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7" name="Google Shape;277;p69"/>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8" name="Google Shape;278;p69"/>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 name="Google Shape;279;p69"/>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0" name="Google Shape;280;p69"/>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1" name="Google Shape;281;p69"/>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2" name="Google Shape;282;p69"/>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3" name="Google Shape;283;p69"/>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4" name="Google Shape;284;p69"/>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5" name="Google Shape;285;p69"/>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86" name="Google Shape;286;p69"/>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87" name="Google Shape;287;p6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8" name="Google Shape;288;p69"/>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3226171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89"/>
        <p:cNvGrpSpPr/>
        <p:nvPr/>
      </p:nvGrpSpPr>
      <p:grpSpPr>
        <a:xfrm>
          <a:off x="0" y="0"/>
          <a:ext cx="0" cy="0"/>
          <a:chOff x="0" y="0"/>
          <a:chExt cx="0" cy="0"/>
        </a:xfrm>
      </p:grpSpPr>
      <p:sp>
        <p:nvSpPr>
          <p:cNvPr id="290" name="Google Shape;290;p70"/>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431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291" name="Google Shape;291;p70"/>
          <p:cNvGrpSpPr/>
          <p:nvPr/>
        </p:nvGrpSpPr>
        <p:grpSpPr>
          <a:xfrm>
            <a:off x="-600" y="549275"/>
            <a:ext cx="12193201" cy="5759450"/>
            <a:chOff x="-600" y="549275"/>
            <a:chExt cx="12193201" cy="5759450"/>
          </a:xfrm>
        </p:grpSpPr>
        <p:cxnSp>
          <p:nvCxnSpPr>
            <p:cNvPr id="292" name="Google Shape;292;p70"/>
            <p:cNvCxnSpPr/>
            <p:nvPr/>
          </p:nvCxnSpPr>
          <p:spPr>
            <a:xfrm>
              <a:off x="-600" y="54927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3" name="Google Shape;293;p70"/>
            <p:cNvCxnSpPr/>
            <p:nvPr/>
          </p:nvCxnSpPr>
          <p:spPr>
            <a:xfrm>
              <a:off x="-600" y="107286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4" name="Google Shape;294;p70"/>
            <p:cNvCxnSpPr/>
            <p:nvPr/>
          </p:nvCxnSpPr>
          <p:spPr>
            <a:xfrm>
              <a:off x="-600" y="133465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5" name="Google Shape;295;p70"/>
            <p:cNvCxnSpPr/>
            <p:nvPr/>
          </p:nvCxnSpPr>
          <p:spPr>
            <a:xfrm>
              <a:off x="-600" y="159644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70"/>
            <p:cNvCxnSpPr/>
            <p:nvPr/>
          </p:nvCxnSpPr>
          <p:spPr>
            <a:xfrm>
              <a:off x="-600" y="185824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70"/>
            <p:cNvCxnSpPr/>
            <p:nvPr/>
          </p:nvCxnSpPr>
          <p:spPr>
            <a:xfrm>
              <a:off x="-600" y="212003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70"/>
            <p:cNvCxnSpPr/>
            <p:nvPr/>
          </p:nvCxnSpPr>
          <p:spPr>
            <a:xfrm>
              <a:off x="-600" y="238182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70"/>
            <p:cNvCxnSpPr/>
            <p:nvPr/>
          </p:nvCxnSpPr>
          <p:spPr>
            <a:xfrm>
              <a:off x="-600" y="264361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70"/>
            <p:cNvCxnSpPr/>
            <p:nvPr/>
          </p:nvCxnSpPr>
          <p:spPr>
            <a:xfrm>
              <a:off x="-600" y="290541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70"/>
            <p:cNvCxnSpPr/>
            <p:nvPr/>
          </p:nvCxnSpPr>
          <p:spPr>
            <a:xfrm>
              <a:off x="-600" y="316720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70"/>
            <p:cNvCxnSpPr/>
            <p:nvPr/>
          </p:nvCxnSpPr>
          <p:spPr>
            <a:xfrm>
              <a:off x="-600" y="342899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70"/>
            <p:cNvCxnSpPr/>
            <p:nvPr/>
          </p:nvCxnSpPr>
          <p:spPr>
            <a:xfrm>
              <a:off x="-600" y="369079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70"/>
            <p:cNvCxnSpPr/>
            <p:nvPr/>
          </p:nvCxnSpPr>
          <p:spPr>
            <a:xfrm>
              <a:off x="-600" y="395258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70"/>
            <p:cNvCxnSpPr/>
            <p:nvPr/>
          </p:nvCxnSpPr>
          <p:spPr>
            <a:xfrm>
              <a:off x="-600" y="421437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70"/>
            <p:cNvCxnSpPr/>
            <p:nvPr/>
          </p:nvCxnSpPr>
          <p:spPr>
            <a:xfrm>
              <a:off x="-600" y="447617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70"/>
            <p:cNvCxnSpPr/>
            <p:nvPr/>
          </p:nvCxnSpPr>
          <p:spPr>
            <a:xfrm>
              <a:off x="-600" y="473796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70"/>
            <p:cNvCxnSpPr/>
            <p:nvPr/>
          </p:nvCxnSpPr>
          <p:spPr>
            <a:xfrm>
              <a:off x="-600" y="499975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70"/>
            <p:cNvCxnSpPr/>
            <p:nvPr/>
          </p:nvCxnSpPr>
          <p:spPr>
            <a:xfrm>
              <a:off x="-600" y="526154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70"/>
            <p:cNvCxnSpPr/>
            <p:nvPr/>
          </p:nvCxnSpPr>
          <p:spPr>
            <a:xfrm>
              <a:off x="-600" y="552334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70"/>
            <p:cNvCxnSpPr/>
            <p:nvPr/>
          </p:nvCxnSpPr>
          <p:spPr>
            <a:xfrm>
              <a:off x="-600" y="578513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70"/>
            <p:cNvCxnSpPr/>
            <p:nvPr/>
          </p:nvCxnSpPr>
          <p:spPr>
            <a:xfrm>
              <a:off x="-600" y="81106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70"/>
            <p:cNvCxnSpPr/>
            <p:nvPr/>
          </p:nvCxnSpPr>
          <p:spPr>
            <a:xfrm>
              <a:off x="-600" y="630872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4" name="Google Shape;314;p70"/>
            <p:cNvCxnSpPr/>
            <p:nvPr/>
          </p:nvCxnSpPr>
          <p:spPr>
            <a:xfrm>
              <a:off x="-600" y="604692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5" name="Google Shape;315;p70"/>
          <p:cNvSpPr/>
          <p:nvPr/>
        </p:nvSpPr>
        <p:spPr>
          <a:xfrm>
            <a:off x="550263" y="6308721"/>
            <a:ext cx="11090873" cy="261799"/>
          </a:xfrm>
          <a:prstGeom prst="rect">
            <a:avLst/>
          </a:prstGeom>
          <a:solidFill>
            <a:srgbClr val="FF0000">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6" name="Google Shape;316;p70"/>
          <p:cNvSpPr/>
          <p:nvPr/>
        </p:nvSpPr>
        <p:spPr>
          <a:xfrm>
            <a:off x="550864" y="1348221"/>
            <a:ext cx="11105556" cy="509202"/>
          </a:xfrm>
          <a:prstGeom prst="rect">
            <a:avLst/>
          </a:prstGeom>
          <a:solidFill>
            <a:srgbClr val="FF0000">
              <a:alpha val="4313"/>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70"/>
          <p:cNvSpPr/>
          <p:nvPr/>
        </p:nvSpPr>
        <p:spPr>
          <a:xfrm>
            <a:off x="550863" y="2120033"/>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4509"/>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Calibri"/>
              <a:ea typeface="Calibri"/>
              <a:cs typeface="Calibri"/>
              <a:sym typeface="Calibri"/>
            </a:endParaRPr>
          </a:p>
        </p:txBody>
      </p:sp>
      <p:grpSp>
        <p:nvGrpSpPr>
          <p:cNvPr id="318" name="Google Shape;318;p70"/>
          <p:cNvGrpSpPr/>
          <p:nvPr/>
        </p:nvGrpSpPr>
        <p:grpSpPr>
          <a:xfrm>
            <a:off x="1215339" y="1857423"/>
            <a:ext cx="9763000" cy="4458091"/>
            <a:chOff x="1215339" y="549274"/>
            <a:chExt cx="9763000" cy="5759450"/>
          </a:xfrm>
        </p:grpSpPr>
        <p:sp>
          <p:nvSpPr>
            <p:cNvPr id="319" name="Google Shape;319;p70"/>
            <p:cNvSpPr/>
            <p:nvPr/>
          </p:nvSpPr>
          <p:spPr>
            <a:xfrm>
              <a:off x="690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0" name="Google Shape;320;p70"/>
            <p:cNvSpPr/>
            <p:nvPr/>
          </p:nvSpPr>
          <p:spPr>
            <a:xfrm>
              <a:off x="879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1" name="Google Shape;321;p70"/>
            <p:cNvSpPr/>
            <p:nvPr/>
          </p:nvSpPr>
          <p:spPr>
            <a:xfrm>
              <a:off x="784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2" name="Google Shape;322;p70"/>
            <p:cNvSpPr/>
            <p:nvPr/>
          </p:nvSpPr>
          <p:spPr>
            <a:xfrm>
              <a:off x="974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3" name="Google Shape;323;p70"/>
            <p:cNvSpPr/>
            <p:nvPr/>
          </p:nvSpPr>
          <p:spPr>
            <a:xfrm>
              <a:off x="1069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4" name="Google Shape;324;p70"/>
            <p:cNvSpPr/>
            <p:nvPr/>
          </p:nvSpPr>
          <p:spPr>
            <a:xfrm>
              <a:off x="5952839" y="549274"/>
              <a:ext cx="288000" cy="5759450"/>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 name="Google Shape;325;p70"/>
            <p:cNvSpPr/>
            <p:nvPr/>
          </p:nvSpPr>
          <p:spPr>
            <a:xfrm>
              <a:off x="121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6" name="Google Shape;326;p70"/>
            <p:cNvSpPr/>
            <p:nvPr/>
          </p:nvSpPr>
          <p:spPr>
            <a:xfrm>
              <a:off x="216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7" name="Google Shape;327;p70"/>
            <p:cNvSpPr/>
            <p:nvPr/>
          </p:nvSpPr>
          <p:spPr>
            <a:xfrm>
              <a:off x="311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8" name="Google Shape;328;p70"/>
            <p:cNvSpPr/>
            <p:nvPr/>
          </p:nvSpPr>
          <p:spPr>
            <a:xfrm>
              <a:off x="405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9" name="Google Shape;329;p70"/>
            <p:cNvSpPr/>
            <p:nvPr/>
          </p:nvSpPr>
          <p:spPr>
            <a:xfrm>
              <a:off x="500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30" name="Google Shape;330;p70"/>
          <p:cNvSpPr txBox="1"/>
          <p:nvPr/>
        </p:nvSpPr>
        <p:spPr>
          <a:xfrm>
            <a:off x="550862" y="6309543"/>
            <a:ext cx="9030915" cy="27770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Footnotes/Note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Source: Include a source here</a:t>
            </a:r>
            <a:endParaRPr sz="1400" b="0" i="0" u="none" strike="noStrike" cap="none">
              <a:solidFill>
                <a:srgbClr val="000000"/>
              </a:solidFill>
              <a:latin typeface="Arial"/>
              <a:ea typeface="Arial"/>
              <a:cs typeface="Arial"/>
              <a:sym typeface="Arial"/>
            </a:endParaRPr>
          </a:p>
        </p:txBody>
      </p:sp>
      <p:sp>
        <p:nvSpPr>
          <p:cNvPr id="331" name="Google Shape;331;p70"/>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32" name="Google Shape;332;p70"/>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3" name="Google Shape;333;p70"/>
          <p:cNvGrpSpPr/>
          <p:nvPr/>
        </p:nvGrpSpPr>
        <p:grpSpPr>
          <a:xfrm>
            <a:off x="550864" y="6156603"/>
            <a:ext cx="11089971" cy="55199"/>
            <a:chOff x="550864" y="6156603"/>
            <a:chExt cx="11089971" cy="55199"/>
          </a:xfrm>
        </p:grpSpPr>
        <p:sp>
          <p:nvSpPr>
            <p:cNvPr id="334" name="Google Shape;334;p70"/>
            <p:cNvSpPr/>
            <p:nvPr/>
          </p:nvSpPr>
          <p:spPr>
            <a:xfrm>
              <a:off x="550864"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5" name="Google Shape;335;p70"/>
            <p:cNvSpPr/>
            <p:nvPr/>
          </p:nvSpPr>
          <p:spPr>
            <a:xfrm>
              <a:off x="5104050"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6" name="Google Shape;336;p70"/>
            <p:cNvSpPr/>
            <p:nvPr/>
          </p:nvSpPr>
          <p:spPr>
            <a:xfrm>
              <a:off x="7380643"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0"/>
            <p:cNvSpPr/>
            <p:nvPr/>
          </p:nvSpPr>
          <p:spPr>
            <a:xfrm>
              <a:off x="9657235"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8" name="Google Shape;338;p70"/>
            <p:cNvSpPr/>
            <p:nvPr/>
          </p:nvSpPr>
          <p:spPr>
            <a:xfrm>
              <a:off x="2827457"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138422764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5_Full-width Page">
  <p:cSld name="5_Full-width Page">
    <p:spTree>
      <p:nvGrpSpPr>
        <p:cNvPr id="1" name="Shape 33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B3274E-F45F-3FF5-DFA6-4C4852FA3CA3}"/>
              </a:ext>
            </a:extLst>
          </p:cNvPr>
          <p:cNvGraphicFramePr>
            <a:graphicFrameLocks noChangeAspect="1"/>
          </p:cNvGraphicFramePr>
          <p:nvPr userDrawn="1">
            <p:custDataLst>
              <p:tags r:id="rId1"/>
            </p:custDataLst>
            <p:extLst>
              <p:ext uri="{D42A27DB-BD31-4B8C-83A1-F6EECF244321}">
                <p14:modId xmlns:p14="http://schemas.microsoft.com/office/powerpoint/2010/main" val="272567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80B3274E-F45F-3FF5-DFA6-4C4852FA3C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0" name="Google Shape;340;p71"/>
          <p:cNvPicPr preferRelativeResize="0"/>
          <p:nvPr/>
        </p:nvPicPr>
        <p:blipFill rotWithShape="1">
          <a:blip r:embed="rId5">
            <a:alphaModFix/>
          </a:blip>
          <a:srcRect/>
          <a:stretch/>
        </p:blipFill>
        <p:spPr>
          <a:xfrm>
            <a:off x="2" y="0"/>
            <a:ext cx="3492498" cy="6858000"/>
          </a:xfrm>
          <a:prstGeom prst="rect">
            <a:avLst/>
          </a:prstGeom>
          <a:noFill/>
          <a:ln>
            <a:noFill/>
          </a:ln>
        </p:spPr>
      </p:pic>
      <p:sp>
        <p:nvSpPr>
          <p:cNvPr id="341" name="Google Shape;341;p71"/>
          <p:cNvSpPr/>
          <p:nvPr/>
        </p:nvSpPr>
        <p:spPr>
          <a:xfrm>
            <a:off x="0" y="-1"/>
            <a:ext cx="3492497" cy="6857999"/>
          </a:xfrm>
          <a:prstGeom prst="rect">
            <a:avLst/>
          </a:prstGeom>
          <a:gradFill>
            <a:gsLst>
              <a:gs pos="0">
                <a:schemeClr val="dk2"/>
              </a:gs>
              <a:gs pos="76000">
                <a:srgbClr val="4873F5">
                  <a:alpha val="84313"/>
                </a:srgbClr>
              </a:gs>
              <a:gs pos="100000">
                <a:srgbClr val="00B9FF">
                  <a:alpha val="80000"/>
                </a:srgbClr>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2" name="Google Shape;342;p71"/>
          <p:cNvSpPr txBox="1">
            <a:spLocks noGrp="1"/>
          </p:cNvSpPr>
          <p:nvPr>
            <p:ph type="title"/>
          </p:nvPr>
        </p:nvSpPr>
        <p:spPr>
          <a:xfrm>
            <a:off x="376385" y="3013500"/>
            <a:ext cx="3023598" cy="830997"/>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cxnSp>
        <p:nvCxnSpPr>
          <p:cNvPr id="343" name="Google Shape;343;p71"/>
          <p:cNvCxnSpPr>
            <a:cxnSpLocks/>
          </p:cNvCxnSpPr>
          <p:nvPr/>
        </p:nvCxnSpPr>
        <p:spPr>
          <a:xfrm>
            <a:off x="362847" y="2738541"/>
            <a:ext cx="540000"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33118950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2650357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3" y="6465614"/>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76709282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Sub-Section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B52237-4F8A-4F28-B2AF-5014C898F7F8}"/>
              </a:ext>
            </a:extLst>
          </p:cNvPr>
          <p:cNvSpPr/>
          <p:nvPr userDrawn="1"/>
        </p:nvSpPr>
        <p:spPr>
          <a:xfrm>
            <a:off x="0" y="1"/>
            <a:ext cx="12192000" cy="69246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3" name="Rectangle 2">
            <a:extLst>
              <a:ext uri="{FF2B5EF4-FFF2-40B4-BE49-F238E27FC236}">
                <a16:creationId xmlns:a16="http://schemas.microsoft.com/office/drawing/2014/main" id="{06C46470-6B85-42AC-858F-07BE622DF338}"/>
              </a:ext>
            </a:extLst>
          </p:cNvPr>
          <p:cNvSpPr/>
          <p:nvPr userDrawn="1"/>
        </p:nvSpPr>
        <p:spPr>
          <a:xfrm>
            <a:off x="0" y="2600325"/>
            <a:ext cx="12192000" cy="34861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13" name="Text Placeholder 1">
            <a:extLst>
              <a:ext uri="{FF2B5EF4-FFF2-40B4-BE49-F238E27FC236}">
                <a16:creationId xmlns:a16="http://schemas.microsoft.com/office/drawing/2014/main" id="{9EE6E236-101E-42EB-81FB-302691A30ACD}"/>
              </a:ext>
            </a:extLst>
          </p:cNvPr>
          <p:cNvSpPr>
            <a:spLocks noGrp="1"/>
          </p:cNvSpPr>
          <p:nvPr>
            <p:ph type="body" sz="quarter" idx="10" hasCustomPrompt="1"/>
          </p:nvPr>
        </p:nvSpPr>
        <p:spPr>
          <a:xfrm>
            <a:off x="568801" y="4090490"/>
            <a:ext cx="6467475" cy="435247"/>
          </a:xfrm>
          <a:prstGeom prst="rect">
            <a:avLst/>
          </a:prstGeom>
        </p:spPr>
        <p:txBody>
          <a:bodyPr/>
          <a:lstStyle>
            <a:lvl1pPr>
              <a:defRPr sz="2100">
                <a:solidFill>
                  <a:schemeClr val="bg1"/>
                </a:solidFill>
                <a:latin typeface="+mj-lt"/>
              </a:defRPr>
            </a:lvl1pPr>
          </a:lstStyle>
          <a:p>
            <a:r>
              <a:rPr lang="en-US" dirty="0"/>
              <a:t>Sub-Section in Report Title</a:t>
            </a:r>
          </a:p>
        </p:txBody>
      </p:sp>
      <p:sp>
        <p:nvSpPr>
          <p:cNvPr id="14" name="Text Placeholder 2">
            <a:extLst>
              <a:ext uri="{FF2B5EF4-FFF2-40B4-BE49-F238E27FC236}">
                <a16:creationId xmlns:a16="http://schemas.microsoft.com/office/drawing/2014/main" id="{F8AB815C-183A-4AED-B7E8-6684B137AD19}"/>
              </a:ext>
            </a:extLst>
          </p:cNvPr>
          <p:cNvSpPr>
            <a:spLocks noGrp="1"/>
          </p:cNvSpPr>
          <p:nvPr>
            <p:ph type="body" sz="quarter" idx="11" hasCustomPrompt="1"/>
          </p:nvPr>
        </p:nvSpPr>
        <p:spPr>
          <a:xfrm>
            <a:off x="568801" y="4841549"/>
            <a:ext cx="6467475" cy="362150"/>
          </a:xfrm>
          <a:prstGeom prst="rect">
            <a:avLst/>
          </a:prstGeom>
        </p:spPr>
        <p:txBody>
          <a:bodyPr/>
          <a:lstStyle>
            <a:lvl1pPr>
              <a:defRPr>
                <a:solidFill>
                  <a:schemeClr val="bg1"/>
                </a:solidFill>
                <a:latin typeface="+mj-lt"/>
              </a:defRPr>
            </a:lvl1pPr>
          </a:lstStyle>
          <a:p>
            <a:r>
              <a:rPr lang="en-US" dirty="0"/>
              <a:t>Add Text Here</a:t>
            </a:r>
          </a:p>
        </p:txBody>
      </p:sp>
    </p:spTree>
    <p:extLst>
      <p:ext uri="{BB962C8B-B14F-4D97-AF65-F5344CB8AC3E}">
        <p14:creationId xmlns:p14="http://schemas.microsoft.com/office/powerpoint/2010/main" val="339411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Shape 29"/>
        <p:cNvGrpSpPr/>
        <p:nvPr/>
      </p:nvGrpSpPr>
      <p:grpSpPr>
        <a:xfrm>
          <a:off x="0" y="0"/>
          <a:ext cx="0" cy="0"/>
          <a:chOff x="0" y="0"/>
          <a:chExt cx="0" cy="0"/>
        </a:xfrm>
      </p:grpSpPr>
      <p:sp>
        <p:nvSpPr>
          <p:cNvPr id="30" name="Shape 30"/>
          <p:cNvSpPr txBox="1">
            <a:spLocks noGrp="1"/>
          </p:cNvSpPr>
          <p:nvPr>
            <p:ph type="title"/>
          </p:nvPr>
        </p:nvSpPr>
        <p:spPr>
          <a:xfrm>
            <a:off x="562708" y="130584"/>
            <a:ext cx="11066584" cy="627834"/>
          </a:xfrm>
          <a:prstGeom prst="rect">
            <a:avLst/>
          </a:prstGeom>
          <a:noFill/>
          <a:ln>
            <a:noFill/>
          </a:ln>
        </p:spPr>
        <p:txBody>
          <a:bodyPr lIns="91425" tIns="91425" rIns="91425" bIns="91425" anchor="ctr" anchorCtr="0"/>
          <a:lstStyle>
            <a:lvl1pPr algn="l" rtl="0">
              <a:lnSpc>
                <a:spcPct val="90000"/>
              </a:lnSpc>
              <a:spcBef>
                <a:spcPts val="0"/>
              </a:spcBef>
              <a:buClr>
                <a:schemeClr val="accent3"/>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1" name="Shape 31"/>
          <p:cNvSpPr txBox="1">
            <a:spLocks noGrp="1"/>
          </p:cNvSpPr>
          <p:nvPr>
            <p:ph type="body" idx="1"/>
          </p:nvPr>
        </p:nvSpPr>
        <p:spPr>
          <a:xfrm>
            <a:off x="562708" y="1556954"/>
            <a:ext cx="11066584" cy="455479"/>
          </a:xfrm>
          <a:prstGeom prst="rect">
            <a:avLst/>
          </a:prstGeom>
          <a:noFill/>
          <a:ln>
            <a:noFill/>
          </a:ln>
        </p:spPr>
        <p:txBody>
          <a:bodyPr lIns="91425" tIns="91425" rIns="91425" bIns="91425" anchor="t" anchorCtr="0"/>
          <a:lstStyle>
            <a:lvl1pPr marL="0" indent="0" algn="l" rtl="0">
              <a:lnSpc>
                <a:spcPct val="110000"/>
              </a:lnSpc>
              <a:spcBef>
                <a:spcPts val="0"/>
              </a:spcBef>
              <a:buClr>
                <a:schemeClr val="dk1"/>
              </a:buClr>
              <a:buFont typeface="Arial"/>
              <a:buNone/>
              <a:defRPr/>
            </a:lvl1pPr>
            <a:lvl2pPr marL="334116" indent="-134819" algn="l" rtl="0">
              <a:lnSpc>
                <a:spcPct val="110000"/>
              </a:lnSpc>
              <a:spcBef>
                <a:spcPts val="0"/>
              </a:spcBef>
              <a:buClr>
                <a:schemeClr val="accent3"/>
              </a:buClr>
              <a:buFont typeface="Arial"/>
              <a:buChar char="•"/>
              <a:defRPr/>
            </a:lvl2pPr>
            <a:lvl3pPr marL="577376" indent="-178781" algn="l" rtl="0">
              <a:lnSpc>
                <a:spcPct val="110000"/>
              </a:lnSpc>
              <a:spcBef>
                <a:spcPts val="0"/>
              </a:spcBef>
              <a:buClr>
                <a:srgbClr val="A9A9A9"/>
              </a:buClr>
              <a:buFont typeface="Arial"/>
              <a:buChar char="–"/>
              <a:defRPr/>
            </a:lvl3pPr>
            <a:lvl4pPr marL="820636" indent="-152404" algn="l" rtl="0">
              <a:lnSpc>
                <a:spcPct val="110000"/>
              </a:lnSpc>
              <a:spcBef>
                <a:spcPts val="0"/>
              </a:spcBef>
              <a:buClr>
                <a:srgbClr val="A9A9A9"/>
              </a:buClr>
              <a:buFont typeface="Arial"/>
              <a:buChar char="–"/>
              <a:defRPr/>
            </a:lvl4pPr>
            <a:lvl5pPr marL="1080016" indent="-177316" algn="l" rtl="0">
              <a:lnSpc>
                <a:spcPct val="110000"/>
              </a:lnSpc>
              <a:spcBef>
                <a:spcPts val="0"/>
              </a:spcBef>
              <a:buClr>
                <a:srgbClr val="A9A9A9"/>
              </a:buClr>
              <a:buFont typeface="Arial"/>
              <a:buChar char="–"/>
              <a:defRPr/>
            </a:lvl5pPr>
            <a:lvl6pPr marL="2321227" indent="-93787" algn="l" rtl="0">
              <a:spcBef>
                <a:spcPts val="369"/>
              </a:spcBef>
              <a:buClr>
                <a:schemeClr val="dk1"/>
              </a:buClr>
              <a:buFont typeface="Arial"/>
              <a:buChar char="•"/>
              <a:defRPr/>
            </a:lvl6pPr>
            <a:lvl7pPr marL="2743269" indent="-93787" algn="l" rtl="0">
              <a:spcBef>
                <a:spcPts val="369"/>
              </a:spcBef>
              <a:buClr>
                <a:schemeClr val="dk1"/>
              </a:buClr>
              <a:buFont typeface="Arial"/>
              <a:buChar char="•"/>
              <a:defRPr/>
            </a:lvl7pPr>
            <a:lvl8pPr marL="3165310" indent="-93787" algn="l" rtl="0">
              <a:spcBef>
                <a:spcPts val="369"/>
              </a:spcBef>
              <a:buClr>
                <a:schemeClr val="dk1"/>
              </a:buClr>
              <a:buFont typeface="Arial"/>
              <a:buChar char="•"/>
              <a:defRPr/>
            </a:lvl8pPr>
            <a:lvl9pPr marL="3587351" indent="-93787" algn="l" rtl="0">
              <a:spcBef>
                <a:spcPts val="369"/>
              </a:spcBef>
              <a:buClr>
                <a:schemeClr val="dk1"/>
              </a:buClr>
              <a:buFont typeface="Arial"/>
              <a:buChar char="•"/>
              <a:defRPr/>
            </a:lvl9pPr>
          </a:lstStyle>
          <a:p>
            <a:endParaRPr/>
          </a:p>
        </p:txBody>
      </p:sp>
    </p:spTree>
    <p:extLst>
      <p:ext uri="{BB962C8B-B14F-4D97-AF65-F5344CB8AC3E}">
        <p14:creationId xmlns:p14="http://schemas.microsoft.com/office/powerpoint/2010/main" val="330782250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750450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529006" y="448574"/>
            <a:ext cx="11133991" cy="276999"/>
          </a:xfrm>
          <a:prstGeom prst="rect">
            <a:avLst/>
          </a:prstGeom>
        </p:spPr>
        <p:txBody>
          <a:bodyPr lIns="0" rIns="0"/>
          <a:lstStyle>
            <a:lvl1pPr>
              <a:defRPr sz="2000">
                <a:solidFill>
                  <a:schemeClr val="accent1"/>
                </a:solidFill>
              </a:defRPr>
            </a:lvl1pPr>
          </a:lstStyle>
          <a:p>
            <a:r>
              <a:rPr lang="en-US" dirty="0"/>
              <a:t>Click to edit Master title style</a:t>
            </a:r>
          </a:p>
        </p:txBody>
      </p:sp>
      <p:sp>
        <p:nvSpPr>
          <p:cNvPr id="3" name="Content Placeholder 2"/>
          <p:cNvSpPr>
            <a:spLocks noGrp="1"/>
          </p:cNvSpPr>
          <p:nvPr>
            <p:ph idx="1" hasCustomPrompt="1"/>
          </p:nvPr>
        </p:nvSpPr>
        <p:spPr>
          <a:xfrm>
            <a:off x="529006" y="1628781"/>
            <a:ext cx="11133991" cy="932563"/>
          </a:xfrm>
          <a:prstGeom prst="rect">
            <a:avLst/>
          </a:prstGeom>
        </p:spPr>
        <p:txBody>
          <a:bodyPr lIns="0" rIns="0"/>
          <a:lstStyle>
            <a:lvl1pPr>
              <a:defRPr sz="1600">
                <a:solidFill>
                  <a:schemeClr val="tx1"/>
                </a:solidFill>
              </a:defRPr>
            </a:lvl1pPr>
            <a:lvl2pPr marL="304800" indent="-209550">
              <a:buClr>
                <a:schemeClr val="accent3"/>
              </a:buClr>
              <a:buFont typeface="Wingdings 2" panose="05020102010507070707" pitchFamily="18" charset="2"/>
              <a:buChar char=""/>
              <a:defRPr sz="1600">
                <a:solidFill>
                  <a:schemeClr val="tx1"/>
                </a:solidFill>
              </a:defRPr>
            </a:lvl2pPr>
            <a:lvl3pPr marL="647700" indent="-203200">
              <a:buClr>
                <a:schemeClr val="bg1">
                  <a:lumMod val="50000"/>
                </a:schemeClr>
              </a:buClr>
              <a:buFont typeface="Arial" panose="020B0604020202020204" pitchFamily="34" charset="0"/>
              <a:buChar cha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2133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834826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5"/>
        <p:cNvGrpSpPr/>
        <p:nvPr/>
      </p:nvGrpSpPr>
      <p:grpSpPr>
        <a:xfrm>
          <a:off x="0" y="0"/>
          <a:ext cx="0" cy="0"/>
          <a:chOff x="0" y="0"/>
          <a:chExt cx="0" cy="0"/>
        </a:xfrm>
      </p:grpSpPr>
      <p:sp>
        <p:nvSpPr>
          <p:cNvPr id="26" name="Google Shape;26;p47"/>
          <p:cNvSpPr txBox="1">
            <a:spLocks noGrp="1"/>
          </p:cNvSpPr>
          <p:nvPr>
            <p:ph type="title"/>
          </p:nvPr>
        </p:nvSpPr>
        <p:spPr>
          <a:xfrm>
            <a:off x="539400" y="560588"/>
            <a:ext cx="11089972"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 name="Google Shape;27;p4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8" name="Google Shape;28;p47"/>
          <p:cNvSpPr txBox="1">
            <a:spLocks noGrp="1"/>
          </p:cNvSpPr>
          <p:nvPr>
            <p:ph type="ftr" idx="11"/>
          </p:nvPr>
        </p:nvSpPr>
        <p:spPr>
          <a:xfrm>
            <a:off x="550863" y="6450225"/>
            <a:ext cx="5545138" cy="153888"/>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ithout 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117851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24" name="Footer Placeholder 4">
            <a:extLst>
              <a:ext uri="{FF2B5EF4-FFF2-40B4-BE49-F238E27FC236}">
                <a16:creationId xmlns:a16="http://schemas.microsoft.com/office/drawing/2014/main" id="{3EF22FF7-C1AC-4F2A-9E98-236284660846}"/>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 name="Group 1">
            <a:extLst>
              <a:ext uri="{FF2B5EF4-FFF2-40B4-BE49-F238E27FC236}">
                <a16:creationId xmlns:a16="http://schemas.microsoft.com/office/drawing/2014/main" id="{C4D4977A-6637-4106-96DA-BDAAC2518559}"/>
              </a:ext>
            </a:extLst>
          </p:cNvPr>
          <p:cNvGrpSpPr/>
          <p:nvPr userDrawn="1"/>
        </p:nvGrpSpPr>
        <p:grpSpPr>
          <a:xfrm>
            <a:off x="11979364" y="4535495"/>
            <a:ext cx="110800" cy="2041949"/>
            <a:chOff x="11979441" y="4535494"/>
            <a:chExt cx="110801" cy="2041949"/>
          </a:xfrm>
        </p:grpSpPr>
        <p:grpSp>
          <p:nvGrpSpPr>
            <p:cNvPr id="25" name="Group 24">
              <a:extLst>
                <a:ext uri="{FF2B5EF4-FFF2-40B4-BE49-F238E27FC236}">
                  <a16:creationId xmlns:a16="http://schemas.microsoft.com/office/drawing/2014/main" id="{674D7535-DD55-4BCD-A913-9F98A80E2AAD}"/>
                </a:ext>
              </a:extLst>
            </p:cNvPr>
            <p:cNvGrpSpPr/>
            <p:nvPr userDrawn="1"/>
          </p:nvGrpSpPr>
          <p:grpSpPr>
            <a:xfrm>
              <a:off x="11998460" y="6135518"/>
              <a:ext cx="68500" cy="441924"/>
              <a:chOff x="11998459" y="6162188"/>
              <a:chExt cx="68500" cy="441924"/>
            </a:xfrm>
          </p:grpSpPr>
          <p:sp>
            <p:nvSpPr>
              <p:cNvPr id="26" name="Freeform: Shape 25">
                <a:extLst>
                  <a:ext uri="{FF2B5EF4-FFF2-40B4-BE49-F238E27FC236}">
                    <a16:creationId xmlns:a16="http://schemas.microsoft.com/office/drawing/2014/main" id="{25BE1D1D-5C46-42D6-AA46-FD5902FDE024}"/>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7" name="Freeform: Shape 26">
                <a:extLst>
                  <a:ext uri="{FF2B5EF4-FFF2-40B4-BE49-F238E27FC236}">
                    <a16:creationId xmlns:a16="http://schemas.microsoft.com/office/drawing/2014/main" id="{A7F7D663-CB75-456D-911A-BD2A8F59B130}"/>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8" name="Freeform: Shape 27">
                <a:extLst>
                  <a:ext uri="{FF2B5EF4-FFF2-40B4-BE49-F238E27FC236}">
                    <a16:creationId xmlns:a16="http://schemas.microsoft.com/office/drawing/2014/main" id="{A97E6936-7A47-4E85-B003-37AE13A73F22}"/>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Freeform: Shape 28">
                <a:extLst>
                  <a:ext uri="{FF2B5EF4-FFF2-40B4-BE49-F238E27FC236}">
                    <a16:creationId xmlns:a16="http://schemas.microsoft.com/office/drawing/2014/main" id="{B6F6AB7C-E8B0-4611-A905-F86C05FEC940}"/>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504CE7F7-478B-4DFB-A021-80071B529493}"/>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9522A9F9-C26A-4B72-93CD-9528636133FE}"/>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7D674410-4755-485D-BEA6-A9EE31599080}"/>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C52F1A2D-9FF5-49A3-B11A-A842CB94EEE7}"/>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B7660309-3ECC-487F-9D6C-08DE732EEA92}"/>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29373EC6-22EE-4AE8-A986-A3662C2AF607}"/>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EF08C567-10B3-494B-8347-38E808F75B2A}"/>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107EA0CD-BF40-4B85-88B1-06D5221EA25F}"/>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1580E308-C62A-4BCD-993B-AFE1C3E57E94}"/>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39" name="Graphic 38">
              <a:extLst>
                <a:ext uri="{FF2B5EF4-FFF2-40B4-BE49-F238E27FC236}">
                  <a16:creationId xmlns:a16="http://schemas.microsoft.com/office/drawing/2014/main" id="{836F53DC-0C00-4681-ADA4-58AABB9FD02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11811888" y="6322371"/>
              <a:ext cx="441438" cy="68706"/>
            </a:xfrm>
            <a:prstGeom prst="rect">
              <a:avLst/>
            </a:prstGeom>
          </p:spPr>
        </p:pic>
        <p:sp>
          <p:nvSpPr>
            <p:cNvPr id="40" name="Copyright">
              <a:extLst>
                <a:ext uri="{FF2B5EF4-FFF2-40B4-BE49-F238E27FC236}">
                  <a16:creationId xmlns:a16="http://schemas.microsoft.com/office/drawing/2014/main" id="{36107045-99BA-4480-99BA-1F7D50690723}"/>
                </a:ext>
              </a:extLst>
            </p:cNvPr>
            <p:cNvSpPr txBox="1"/>
            <p:nvPr userDrawn="1"/>
          </p:nvSpPr>
          <p:spPr>
            <a:xfrm rot="16200000">
              <a:off x="11250973" y="5263962"/>
              <a:ext cx="1567737"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0. All rights reserved.</a:t>
              </a:r>
            </a:p>
          </p:txBody>
        </p:sp>
      </p:grpSp>
    </p:spTree>
    <p:extLst>
      <p:ext uri="{BB962C8B-B14F-4D97-AF65-F5344CB8AC3E}">
        <p14:creationId xmlns:p14="http://schemas.microsoft.com/office/powerpoint/2010/main" val="14361463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2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8262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4"/>
            <a:ext cx="5400675"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6"/>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4"/>
            <a:ext cx="54006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6"/>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1" name="Footer Placeholder 4">
            <a:extLst>
              <a:ext uri="{FF2B5EF4-FFF2-40B4-BE49-F238E27FC236}">
                <a16:creationId xmlns:a16="http://schemas.microsoft.com/office/drawing/2014/main" id="{456E97DD-069F-4133-A109-0593CB969E3F}"/>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8672870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8262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4"/>
            <a:ext cx="5400675"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6"/>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4"/>
            <a:ext cx="54006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6"/>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1" name="Footer Placeholder 4">
            <a:extLst>
              <a:ext uri="{FF2B5EF4-FFF2-40B4-BE49-F238E27FC236}">
                <a16:creationId xmlns:a16="http://schemas.microsoft.com/office/drawing/2014/main" id="{456E97DD-069F-4133-A109-0593CB969E3F}"/>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9869122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99817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476173-BEA2-49BD-B5FE-C9602A2A7D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5" y="2175804"/>
            <a:ext cx="3506976" cy="1177245"/>
          </a:xfrm>
        </p:spPr>
        <p:txBody>
          <a:bodyPr vert="horz" lIns="0" tIns="0" rIns="0" bIns="0" rtlCol="0">
            <a:spAutoFit/>
          </a:bodyPr>
          <a:lstStyle>
            <a:lvl1pPr>
              <a:defRPr lang="en-US" sz="1400" dirty="0"/>
            </a:lvl1pPr>
            <a:lvl2pPr>
              <a:defRPr lang="en-US" sz="1400" dirty="0" smtClean="0"/>
            </a:lvl2pPr>
            <a:lvl3pPr marL="179388" indent="0">
              <a:buNone/>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5" y="1857376"/>
            <a:ext cx="35069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8135839" y="2175804"/>
            <a:ext cx="3505300"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8135839" y="1857376"/>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59121794-F5DD-4A31-9CFD-38DDBBCF1C7C}"/>
              </a:ext>
            </a:extLst>
          </p:cNvPr>
          <p:cNvSpPr>
            <a:spLocks noGrp="1"/>
          </p:cNvSpPr>
          <p:nvPr>
            <p:ph type="body" sz="quarter" idx="17" hasCustomPrompt="1"/>
          </p:nvPr>
        </p:nvSpPr>
        <p:spPr>
          <a:xfrm>
            <a:off x="4344162" y="2175804"/>
            <a:ext cx="3505300"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3143DD43-CBE6-4068-87AB-C994C1891565}"/>
              </a:ext>
            </a:extLst>
          </p:cNvPr>
          <p:cNvSpPr>
            <a:spLocks noGrp="1"/>
          </p:cNvSpPr>
          <p:nvPr>
            <p:ph type="body" sz="quarter" idx="18" hasCustomPrompt="1"/>
          </p:nvPr>
        </p:nvSpPr>
        <p:spPr>
          <a:xfrm>
            <a:off x="4344162" y="1857376"/>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3" name="Footer Placeholder 4">
            <a:extLst>
              <a:ext uri="{FF2B5EF4-FFF2-40B4-BE49-F238E27FC236}">
                <a16:creationId xmlns:a16="http://schemas.microsoft.com/office/drawing/2014/main" id="{F9CDC1BE-F1D3-4AAB-9527-98835405BADA}"/>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5287173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87911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314B796-0A71-42E1-B6EB-B6B2B794121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4"/>
            <a:ext cx="2559476"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6"/>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4"/>
            <a:ext cx="25548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6"/>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3395664" y="2175804"/>
            <a:ext cx="2559476"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3395664" y="1857376"/>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9086263" y="2175804"/>
            <a:ext cx="25548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9086263" y="1857376"/>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6" name="Footer Placeholder 4">
            <a:extLst>
              <a:ext uri="{FF2B5EF4-FFF2-40B4-BE49-F238E27FC236}">
                <a16:creationId xmlns:a16="http://schemas.microsoft.com/office/drawing/2014/main" id="{60B9447C-186B-4C6F-929F-503046B2C31C}"/>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2690407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643416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F80F200-6A77-426D-879D-7C93BD8B9FB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5" y="2175804"/>
            <a:ext cx="1983600"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5" y="1857376"/>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5104050" y="2175804"/>
            <a:ext cx="1980034"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5104050" y="1857376"/>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2827458" y="2175804"/>
            <a:ext cx="1983600"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2827458" y="1857376"/>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7380643" y="2175804"/>
            <a:ext cx="1980034"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7380643" y="1857376"/>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37" name="Text Placeholder 14">
            <a:extLst>
              <a:ext uri="{FF2B5EF4-FFF2-40B4-BE49-F238E27FC236}">
                <a16:creationId xmlns:a16="http://schemas.microsoft.com/office/drawing/2014/main" id="{ADA6637A-F017-4396-B239-B80ED2F97B37}"/>
              </a:ext>
            </a:extLst>
          </p:cNvPr>
          <p:cNvSpPr>
            <a:spLocks noGrp="1"/>
          </p:cNvSpPr>
          <p:nvPr>
            <p:ph type="body" sz="quarter" idx="21" hasCustomPrompt="1"/>
          </p:nvPr>
        </p:nvSpPr>
        <p:spPr>
          <a:xfrm>
            <a:off x="9660801" y="2175804"/>
            <a:ext cx="1980034"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8" name="Text Placeholder 14">
            <a:extLst>
              <a:ext uri="{FF2B5EF4-FFF2-40B4-BE49-F238E27FC236}">
                <a16:creationId xmlns:a16="http://schemas.microsoft.com/office/drawing/2014/main" id="{7B295F18-5030-4811-B6C7-29EE7444BC70}"/>
              </a:ext>
            </a:extLst>
          </p:cNvPr>
          <p:cNvSpPr>
            <a:spLocks noGrp="1"/>
          </p:cNvSpPr>
          <p:nvPr>
            <p:ph type="body" sz="quarter" idx="22" hasCustomPrompt="1"/>
          </p:nvPr>
        </p:nvSpPr>
        <p:spPr>
          <a:xfrm>
            <a:off x="9660801" y="1857376"/>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8" name="Footer Placeholder 4">
            <a:extLst>
              <a:ext uri="{FF2B5EF4-FFF2-40B4-BE49-F238E27FC236}">
                <a16:creationId xmlns:a16="http://schemas.microsoft.com/office/drawing/2014/main" id="{9E372659-0669-485A-8EB1-D45CE8B0FC43}"/>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6766546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 Grey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88769024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1C34F18-9238-4944-9751-DBBFCD9E3CC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4059776"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E039D39E-8FE8-4C3F-AE18-8C3DCD3BA4D0}"/>
              </a:ext>
            </a:extLst>
          </p:cNvPr>
          <p:cNvSpPr>
            <a:spLocks noGrp="1"/>
          </p:cNvSpPr>
          <p:nvPr>
            <p:ph type="ftr" sz="quarter" idx="3"/>
          </p:nvPr>
        </p:nvSpPr>
        <p:spPr>
          <a:xfrm>
            <a:off x="436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4" name="Title 3">
            <a:extLst>
              <a:ext uri="{FF2B5EF4-FFF2-40B4-BE49-F238E27FC236}">
                <a16:creationId xmlns:a16="http://schemas.microsoft.com/office/drawing/2014/main" id="{0E004E42-DB15-49F0-9906-81D60B6E8171}"/>
              </a:ext>
            </a:extLst>
          </p:cNvPr>
          <p:cNvSpPr>
            <a:spLocks noGrp="1"/>
          </p:cNvSpPr>
          <p:nvPr>
            <p:ph type="title"/>
          </p:nvPr>
        </p:nvSpPr>
        <p:spPr>
          <a:xfrm>
            <a:off x="531814" y="560588"/>
            <a:ext cx="3235117" cy="837152"/>
          </a:xfrm>
        </p:spPr>
        <p:txBody>
          <a:bodyPr>
            <a:spAutoFit/>
          </a:bodyPr>
          <a:lstStyle>
            <a:lvl1pPr>
              <a:lnSpc>
                <a:spcPct val="85000"/>
              </a:lnSpc>
              <a:defRPr/>
            </a:lvl1pPr>
          </a:lstStyle>
          <a:p>
            <a:r>
              <a:rPr lang="en-US"/>
              <a:t>Click to edit Master title style</a:t>
            </a:r>
            <a:endParaRPr lang="en-IN" dirty="0"/>
          </a:p>
        </p:txBody>
      </p:sp>
    </p:spTree>
    <p:extLst>
      <p:ext uri="{BB962C8B-B14F-4D97-AF65-F5344CB8AC3E}">
        <p14:creationId xmlns:p14="http://schemas.microsoft.com/office/powerpoint/2010/main" val="24799476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06925261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727F30D-9242-4A88-9322-2EDE74F75B38}"/>
              </a:ext>
            </a:extLst>
          </p:cNvPr>
          <p:cNvSpPr>
            <a:spLocks noGrp="1"/>
          </p:cNvSpPr>
          <p:nvPr>
            <p:ph type="ftr" sz="quarter" idx="3"/>
          </p:nvPr>
        </p:nvSpPr>
        <p:spPr>
          <a:xfrm>
            <a:off x="436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4" name="Title 3">
            <a:extLst>
              <a:ext uri="{FF2B5EF4-FFF2-40B4-BE49-F238E27FC236}">
                <a16:creationId xmlns:a16="http://schemas.microsoft.com/office/drawing/2014/main" id="{CE1BEDEA-6CDE-421B-87A1-0632A5F947FD}"/>
              </a:ext>
            </a:extLst>
          </p:cNvPr>
          <p:cNvSpPr>
            <a:spLocks noGrp="1"/>
          </p:cNvSpPr>
          <p:nvPr>
            <p:ph type="title"/>
          </p:nvPr>
        </p:nvSpPr>
        <p:spPr>
          <a:xfrm>
            <a:off x="531813" y="560588"/>
            <a:ext cx="3135726" cy="837046"/>
          </a:xfrm>
        </p:spPr>
        <p:txBody>
          <a:bodyPr vert="horz" wrap="square" lIns="0" tIns="0" rIns="0" bIns="0" rtlCol="0" anchor="t">
            <a:spAutoFit/>
          </a:bodyPr>
          <a:lstStyle>
            <a:lvl1pPr>
              <a:defRPr lang="en-IN" dirty="0">
                <a:solidFill>
                  <a:schemeClr val="bg1"/>
                </a:solidFill>
              </a:defRPr>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30638867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 Blue on Left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55517025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8FBABF1-7718-43F6-B247-8269F95D220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5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2" y="2546064"/>
            <a:ext cx="3032465" cy="1765868"/>
          </a:xfrm>
        </p:spPr>
        <p:txBody>
          <a:bodyPr vert="horz" wrap="square" lIns="0" tIns="0" rIns="0" bIns="0" rtlCol="0" anchor="ctr">
            <a:spAutoFit/>
          </a:bodyPr>
          <a:lstStyle>
            <a:lvl1pPr>
              <a:defRPr lang="en-US" sz="4500" dirty="0">
                <a:solidFill>
                  <a:schemeClr val="bg1"/>
                </a:solidFill>
              </a:defRPr>
            </a:lvl1pPr>
          </a:lstStyle>
          <a:p>
            <a:pPr lvl="0">
              <a:lnSpc>
                <a:spcPct val="85000"/>
              </a:lnSpc>
            </a:pPr>
            <a:r>
              <a:rPr lang="en-US"/>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
        <p:nvSpPr>
          <p:cNvPr id="8" name="Footer Placeholder 4">
            <a:extLst>
              <a:ext uri="{FF2B5EF4-FFF2-40B4-BE49-F238E27FC236}">
                <a16:creationId xmlns:a16="http://schemas.microsoft.com/office/drawing/2014/main" id="{2FE6F1C9-C479-4E50-B466-BBB81EB0E192}"/>
              </a:ext>
            </a:extLst>
          </p:cNvPr>
          <p:cNvSpPr>
            <a:spLocks noGrp="1"/>
          </p:cNvSpPr>
          <p:nvPr>
            <p:ph type="ftr" sz="quarter" idx="3"/>
          </p:nvPr>
        </p:nvSpPr>
        <p:spPr>
          <a:xfrm>
            <a:off x="436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6318063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44157473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AAE3F72-88DF-4B4D-99C2-2DFE1EFB169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6098537"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6B7F38A5-E451-48CD-9B09-4D22AB98C63C}"/>
              </a:ext>
            </a:extLst>
          </p:cNvPr>
          <p:cNvSpPr>
            <a:spLocks noGrp="1"/>
          </p:cNvSpPr>
          <p:nvPr>
            <p:ph type="ftr" sz="quarter" idx="3"/>
          </p:nvPr>
        </p:nvSpPr>
        <p:spPr>
          <a:xfrm>
            <a:off x="54923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4" name="Title 3">
            <a:extLst>
              <a:ext uri="{FF2B5EF4-FFF2-40B4-BE49-F238E27FC236}">
                <a16:creationId xmlns:a16="http://schemas.microsoft.com/office/drawing/2014/main" id="{7E2586D8-6C60-41B6-B276-7BF701FEAA10}"/>
              </a:ext>
            </a:extLst>
          </p:cNvPr>
          <p:cNvSpPr>
            <a:spLocks noGrp="1"/>
          </p:cNvSpPr>
          <p:nvPr>
            <p:ph type="title"/>
          </p:nvPr>
        </p:nvSpPr>
        <p:spPr>
          <a:xfrm>
            <a:off x="531814" y="560588"/>
            <a:ext cx="5163309" cy="837046"/>
          </a:xfrm>
        </p:spPr>
        <p:txBody>
          <a:bodyPr vert="horz" wrap="square" lIns="0" tIns="0" rIns="0" bIns="0" rtlCol="0" anchor="t">
            <a:spAutoFit/>
          </a:bodyPr>
          <a:lstStyle>
            <a:lvl1pPr>
              <a:defRPr lang="en-IN" dirty="0">
                <a:solidFill>
                  <a:schemeClr val="bg1"/>
                </a:solidFill>
              </a:defRPr>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37514468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adient 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1453882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
        <p:nvSpPr>
          <p:cNvPr id="26" name="Footer Placeholder 4">
            <a:extLst>
              <a:ext uri="{FF2B5EF4-FFF2-40B4-BE49-F238E27FC236}">
                <a16:creationId xmlns:a16="http://schemas.microsoft.com/office/drawing/2014/main" id="{50D61507-3612-4ECE-96B7-0F9C15D34247}"/>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7" name="Group 26">
            <a:extLst>
              <a:ext uri="{FF2B5EF4-FFF2-40B4-BE49-F238E27FC236}">
                <a16:creationId xmlns:a16="http://schemas.microsoft.com/office/drawing/2014/main" id="{5CE9086E-00AC-4525-B7C4-F51B01FEA197}"/>
              </a:ext>
            </a:extLst>
          </p:cNvPr>
          <p:cNvGrpSpPr/>
          <p:nvPr userDrawn="1"/>
        </p:nvGrpSpPr>
        <p:grpSpPr>
          <a:xfrm>
            <a:off x="11979362" y="4535497"/>
            <a:ext cx="110800" cy="2041948"/>
            <a:chOff x="11979439" y="4535495"/>
            <a:chExt cx="110801" cy="2041947"/>
          </a:xfrm>
        </p:grpSpPr>
        <p:grpSp>
          <p:nvGrpSpPr>
            <p:cNvPr id="28" name="Group 27">
              <a:extLst>
                <a:ext uri="{FF2B5EF4-FFF2-40B4-BE49-F238E27FC236}">
                  <a16:creationId xmlns:a16="http://schemas.microsoft.com/office/drawing/2014/main" id="{5F2864F8-CE03-42D9-A1C6-49C13A909289}"/>
                </a:ext>
              </a:extLst>
            </p:cNvPr>
            <p:cNvGrpSpPr/>
            <p:nvPr userDrawn="1"/>
          </p:nvGrpSpPr>
          <p:grpSpPr>
            <a:xfrm>
              <a:off x="11998460" y="6135518"/>
              <a:ext cx="68500" cy="441924"/>
              <a:chOff x="11998459" y="6162188"/>
              <a:chExt cx="68500" cy="441924"/>
            </a:xfrm>
          </p:grpSpPr>
          <p:sp>
            <p:nvSpPr>
              <p:cNvPr id="30" name="Freeform: Shape 29">
                <a:extLst>
                  <a:ext uri="{FF2B5EF4-FFF2-40B4-BE49-F238E27FC236}">
                    <a16:creationId xmlns:a16="http://schemas.microsoft.com/office/drawing/2014/main" id="{8DDB86A9-D96F-4924-9B1A-50C360C15742}"/>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86074501-3762-407F-A74D-3799FEAFBD37}"/>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73D29F00-385D-4638-BD08-A8B98A323401}"/>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E2A3DD6C-1362-40F5-A7B3-2E963C5D94FF}"/>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6616E241-6E09-4071-B657-CE4E7BB5CD37}"/>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6A9939C2-C1A3-49F7-A69F-F2E83814F06B}"/>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4C6484D2-FDEB-453B-ACAB-605BDF0437F1}"/>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E626162E-D8C5-4F77-A6A1-E2B6C7CABFC3}"/>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16446D18-F2A6-4A1D-9193-2C1738C1053D}"/>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86A74D8F-C94B-4FE0-9FED-86918ACD7711}"/>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FE130351-367D-46DC-AEF2-11BF681D6F21}"/>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1295B187-375A-4BC1-8930-8B6FB7B25415}"/>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2" name="Freeform: Shape 41">
                <a:extLst>
                  <a:ext uri="{FF2B5EF4-FFF2-40B4-BE49-F238E27FC236}">
                    <a16:creationId xmlns:a16="http://schemas.microsoft.com/office/drawing/2014/main" id="{D987C9E7-CE53-4EC9-8C60-48477925BADC}"/>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9" name="Copyright">
              <a:extLst>
                <a:ext uri="{FF2B5EF4-FFF2-40B4-BE49-F238E27FC236}">
                  <a16:creationId xmlns:a16="http://schemas.microsoft.com/office/drawing/2014/main" id="{7F3EFBBF-8F6E-4F95-970D-289D95FB3EDE}"/>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Tree>
    <p:extLst>
      <p:ext uri="{BB962C8B-B14F-4D97-AF65-F5344CB8AC3E}">
        <p14:creationId xmlns:p14="http://schemas.microsoft.com/office/powerpoint/2010/main" val="297319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Breaker Slide_2">
  <p:cSld name="1_Breaker Slide_2">
    <p:bg>
      <p:bgPr>
        <a:solidFill>
          <a:schemeClr val="lt2"/>
        </a:solidFill>
        <a:effectLst/>
      </p:bgPr>
    </p:bg>
    <p:spTree>
      <p:nvGrpSpPr>
        <p:cNvPr id="1" name="Shape 53"/>
        <p:cNvGrpSpPr/>
        <p:nvPr/>
      </p:nvGrpSpPr>
      <p:grpSpPr>
        <a:xfrm>
          <a:off x="0" y="0"/>
          <a:ext cx="0" cy="0"/>
          <a:chOff x="0" y="0"/>
          <a:chExt cx="0" cy="0"/>
        </a:xfrm>
      </p:grpSpPr>
      <p:pic>
        <p:nvPicPr>
          <p:cNvPr id="54" name="Google Shape;54;p71"/>
          <p:cNvPicPr preferRelativeResize="0"/>
          <p:nvPr/>
        </p:nvPicPr>
        <p:blipFill rotWithShape="1">
          <a:blip r:embed="rId2">
            <a:alphaModFix/>
          </a:blip>
          <a:srcRect/>
          <a:stretch/>
        </p:blipFill>
        <p:spPr>
          <a:xfrm>
            <a:off x="1" y="0"/>
            <a:ext cx="12192000" cy="6827520"/>
          </a:xfrm>
          <a:prstGeom prst="rect">
            <a:avLst/>
          </a:prstGeom>
          <a:noFill/>
          <a:ln>
            <a:noFill/>
          </a:ln>
        </p:spPr>
      </p:pic>
      <p:sp>
        <p:nvSpPr>
          <p:cNvPr id="55" name="Google Shape;55;p71"/>
          <p:cNvSpPr/>
          <p:nvPr/>
        </p:nvSpPr>
        <p:spPr>
          <a:xfrm>
            <a:off x="0" y="0"/>
            <a:ext cx="12192000" cy="6858000"/>
          </a:xfrm>
          <a:prstGeom prst="rect">
            <a:avLst/>
          </a:prstGeom>
          <a:gradFill>
            <a:gsLst>
              <a:gs pos="0">
                <a:srgbClr val="062379"/>
              </a:gs>
              <a:gs pos="16000">
                <a:srgbClr val="062379"/>
              </a:gs>
              <a:gs pos="55000">
                <a:srgbClr val="0934B6">
                  <a:alpha val="87058"/>
                </a:srgbClr>
              </a:gs>
              <a:gs pos="85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 name="Google Shape;56;p71"/>
          <p:cNvSpPr txBox="1">
            <a:spLocks noGrp="1"/>
          </p:cNvSpPr>
          <p:nvPr>
            <p:ph type="title"/>
          </p:nvPr>
        </p:nvSpPr>
        <p:spPr>
          <a:xfrm>
            <a:off x="992390" y="4396228"/>
            <a:ext cx="6785798" cy="830997"/>
          </a:xfrm>
          <a:prstGeom prst="rect">
            <a:avLst/>
          </a:prstGeom>
          <a:noFill/>
          <a:ln>
            <a:noFill/>
          </a:ln>
          <a:effectLst>
            <a:outerShdw blurRad="190500" algn="tl" rotWithShape="0">
              <a:srgbClr val="000000">
                <a:alpha val="27058"/>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b="1">
                <a:solidFill>
                  <a:schemeClr val="lt1"/>
                </a:solidFill>
                <a:latin typeface="Libre Franklin"/>
                <a:ea typeface="Libre Franklin"/>
                <a:cs typeface="Libre Franklin"/>
                <a:sym typeface="Libre Frankl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7" name="Google Shape;57;p71"/>
          <p:cNvGrpSpPr/>
          <p:nvPr/>
        </p:nvGrpSpPr>
        <p:grpSpPr>
          <a:xfrm>
            <a:off x="11998459" y="6162188"/>
            <a:ext cx="68500" cy="441925"/>
            <a:chOff x="11998459" y="6162188"/>
            <a:chExt cx="68500" cy="441925"/>
          </a:xfrm>
        </p:grpSpPr>
        <p:sp>
          <p:nvSpPr>
            <p:cNvPr id="58" name="Google Shape;58;p7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 name="Google Shape;59;p7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 name="Google Shape;60;p7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 name="Google Shape;61;p7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 name="Google Shape;62;p7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 name="Google Shape;63;p7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 name="Google Shape;64;p7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5" name="Google Shape;65;p7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 name="Google Shape;66;p7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 name="Google Shape;67;p7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 name="Google Shape;68;p7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 name="Google Shape;69;p7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 name="Google Shape;70;p7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1" name="Google Shape;71;p7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3. All rights reserved.</a:t>
            </a:r>
            <a:endParaRPr sz="1400" b="0" i="0" u="none" strike="noStrike" cap="none">
              <a:solidFill>
                <a:srgbClr val="000000"/>
              </a:solidFill>
              <a:latin typeface="Calibri"/>
              <a:ea typeface="Calibri"/>
              <a:cs typeface="Calibri"/>
              <a:sym typeface="Calibri"/>
            </a:endParaRPr>
          </a:p>
        </p:txBody>
      </p:sp>
      <p:sp>
        <p:nvSpPr>
          <p:cNvPr id="72" name="Google Shape;72;p7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 name="Google Shape;73;p71"/>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adient BG (with Titl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64008331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cxnSp>
        <p:nvCxnSpPr>
          <p:cNvPr id="6" name="Straight Connector 5">
            <a:extLst>
              <a:ext uri="{FF2B5EF4-FFF2-40B4-BE49-F238E27FC236}">
                <a16:creationId xmlns:a16="http://schemas.microsoft.com/office/drawing/2014/main" id="{AC27F5F1-6E1A-43D9-B04D-DEEBA03354E7}"/>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878A702-A86E-4356-99F5-6CC007B3A84C}"/>
              </a:ext>
            </a:extLst>
          </p:cNvPr>
          <p:cNvGrpSpPr/>
          <p:nvPr userDrawn="1"/>
        </p:nvGrpSpPr>
        <p:grpSpPr>
          <a:xfrm>
            <a:off x="11998459" y="6162188"/>
            <a:ext cx="68500" cy="441924"/>
            <a:chOff x="11998459" y="6162188"/>
            <a:chExt cx="68500" cy="441924"/>
          </a:xfrm>
          <a:solidFill>
            <a:schemeClr val="bg1"/>
          </a:solidFill>
        </p:grpSpPr>
        <p:sp>
          <p:nvSpPr>
            <p:cNvPr id="8" name="Freeform: Shape 7">
              <a:extLst>
                <a:ext uri="{FF2B5EF4-FFF2-40B4-BE49-F238E27FC236}">
                  <a16:creationId xmlns:a16="http://schemas.microsoft.com/office/drawing/2014/main" id="{E75A2218-59DA-4B99-8DEE-5DF1044A636F}"/>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7E8F166A-EB8B-4235-A114-5C9D062319D5}"/>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E2FC6C6B-C81D-4FE7-9F3B-65F6B734168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EB88EBE5-A780-49FB-9EAB-A8F48E23FAC5}"/>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ADB921C-741F-494D-9C24-2E06B3F237E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2CBAA18-CC04-464C-B2DA-F60F1DFE63B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B7D25102-BF68-4480-830D-1A1BE174C73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2EE8638F-0CD8-4C03-9847-FAF25CBB620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8A481A8A-8F5D-40BC-B59F-D4CEF2254BB7}"/>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350965BC-1532-45A0-8F0A-37DAEC7BBE6F}"/>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C1AF2FC-06E9-481D-AAD4-A185594C60F4}"/>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A1342B2-AEC9-4B66-9503-4CFC2ED0B897}"/>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41AC723-9EBC-48CA-B1C7-D2D5419421B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4" name="Copyright">
            <a:extLst>
              <a:ext uri="{FF2B5EF4-FFF2-40B4-BE49-F238E27FC236}">
                <a16:creationId xmlns:a16="http://schemas.microsoft.com/office/drawing/2014/main" id="{2B7A128F-26DE-473C-95DA-CCAF4D373141}"/>
              </a:ext>
            </a:extLst>
          </p:cNvPr>
          <p:cNvSpPr txBox="1"/>
          <p:nvPr userDrawn="1"/>
        </p:nvSpPr>
        <p:spPr>
          <a:xfrm rot="16200000">
            <a:off x="11250972"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
        <p:nvSpPr>
          <p:cNvPr id="26" name="Footer Placeholder 4">
            <a:extLst>
              <a:ext uri="{FF2B5EF4-FFF2-40B4-BE49-F238E27FC236}">
                <a16:creationId xmlns:a16="http://schemas.microsoft.com/office/drawing/2014/main" id="{50D61507-3612-4ECE-96B7-0F9C15D34247}"/>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3" name="Title 2">
            <a:extLst>
              <a:ext uri="{FF2B5EF4-FFF2-40B4-BE49-F238E27FC236}">
                <a16:creationId xmlns:a16="http://schemas.microsoft.com/office/drawing/2014/main" id="{22EDF673-966E-4DCD-9A9F-89CC749ED8A0}"/>
              </a:ext>
            </a:extLst>
          </p:cNvPr>
          <p:cNvSpPr>
            <a:spLocks noGrp="1"/>
          </p:cNvSpPr>
          <p:nvPr>
            <p:ph type="title"/>
          </p:nvPr>
        </p:nvSpPr>
        <p:spPr>
          <a:xfrm>
            <a:off x="531814" y="560588"/>
            <a:ext cx="11089972" cy="418576"/>
          </a:xfrm>
        </p:spPr>
        <p:txBody>
          <a:bodyPr/>
          <a:lstStyle>
            <a:lvl1pPr>
              <a:lnSpc>
                <a:spcPct val="85000"/>
              </a:lnSpc>
              <a:defRPr>
                <a:solidFill>
                  <a:schemeClr val="bg1"/>
                </a:solidFill>
              </a:defRPr>
            </a:lvl1pPr>
          </a:lstStyle>
          <a:p>
            <a:r>
              <a:rPr lang="en-US"/>
              <a:t>Click to edit Master title style</a:t>
            </a:r>
            <a:endParaRPr lang="en-IN" dirty="0"/>
          </a:p>
        </p:txBody>
      </p:sp>
    </p:spTree>
    <p:extLst>
      <p:ext uri="{BB962C8B-B14F-4D97-AF65-F5344CB8AC3E}">
        <p14:creationId xmlns:p14="http://schemas.microsoft.com/office/powerpoint/2010/main" val="9485664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Blue on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43384101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7E2B9A3-0AB0-4FA9-BE30-99B8A88EB12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8134763" y="-1"/>
            <a:ext cx="4059776"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4" y="6445295"/>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747BD8F9-1D4E-4291-8770-E69192472F2F}"/>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ooter Placeholder 4">
            <a:extLst>
              <a:ext uri="{FF2B5EF4-FFF2-40B4-BE49-F238E27FC236}">
                <a16:creationId xmlns:a16="http://schemas.microsoft.com/office/drawing/2014/main" id="{767490F9-4012-46F8-ABED-EB2AEB970D53}"/>
              </a:ext>
            </a:extLst>
          </p:cNvPr>
          <p:cNvSpPr>
            <a:spLocks noGrp="1"/>
          </p:cNvSpPr>
          <p:nvPr>
            <p:ph type="ftr" sz="quarter" idx="3"/>
          </p:nvPr>
        </p:nvSpPr>
        <p:spPr>
          <a:xfrm>
            <a:off x="55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4" name="Group 23">
            <a:extLst>
              <a:ext uri="{FF2B5EF4-FFF2-40B4-BE49-F238E27FC236}">
                <a16:creationId xmlns:a16="http://schemas.microsoft.com/office/drawing/2014/main" id="{9BFAF012-FF52-4660-B1EB-E3DAD4E5D0D9}"/>
              </a:ext>
            </a:extLst>
          </p:cNvPr>
          <p:cNvGrpSpPr/>
          <p:nvPr userDrawn="1"/>
        </p:nvGrpSpPr>
        <p:grpSpPr>
          <a:xfrm>
            <a:off x="11979362" y="4535497"/>
            <a:ext cx="110800" cy="2041948"/>
            <a:chOff x="11979439" y="4535495"/>
            <a:chExt cx="110801" cy="2041947"/>
          </a:xfrm>
        </p:grpSpPr>
        <p:grpSp>
          <p:nvGrpSpPr>
            <p:cNvPr id="26" name="Group 25">
              <a:extLst>
                <a:ext uri="{FF2B5EF4-FFF2-40B4-BE49-F238E27FC236}">
                  <a16:creationId xmlns:a16="http://schemas.microsoft.com/office/drawing/2014/main" id="{563A8AA3-AFD6-4F1D-95AB-D3C5F7E6A748}"/>
                </a:ext>
              </a:extLst>
            </p:cNvPr>
            <p:cNvGrpSpPr/>
            <p:nvPr userDrawn="1"/>
          </p:nvGrpSpPr>
          <p:grpSpPr>
            <a:xfrm>
              <a:off x="11998460" y="6135518"/>
              <a:ext cx="68500" cy="441924"/>
              <a:chOff x="11998459" y="6162188"/>
              <a:chExt cx="68500" cy="441924"/>
            </a:xfrm>
          </p:grpSpPr>
          <p:sp>
            <p:nvSpPr>
              <p:cNvPr id="28" name="Freeform: Shape 27">
                <a:extLst>
                  <a:ext uri="{FF2B5EF4-FFF2-40B4-BE49-F238E27FC236}">
                    <a16:creationId xmlns:a16="http://schemas.microsoft.com/office/drawing/2014/main" id="{781A09B8-B6D7-496D-AC8E-E2CC99E1F047}"/>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Freeform: Shape 28">
                <a:extLst>
                  <a:ext uri="{FF2B5EF4-FFF2-40B4-BE49-F238E27FC236}">
                    <a16:creationId xmlns:a16="http://schemas.microsoft.com/office/drawing/2014/main" id="{77B1E538-1876-4C5E-8612-52D93329CC93}"/>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BEB775BB-2E5F-4B32-9B48-8DE1DD506FB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FDF313EF-4694-4121-BF30-C1139E1F9D1C}"/>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6F3BB4C7-5441-4DAF-B428-07833129A3C4}"/>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4ADF2282-0F9C-41BD-8919-3F118F7AFA19}"/>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107EBF3C-B087-4F18-8637-DB3F73785049}"/>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FE95DEE8-DE4E-456F-B56B-0D9C34409112}"/>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34E317DF-5709-4B5E-A764-DBE2AC16DCAC}"/>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ABAA8A11-8055-4872-829E-9B4ACFB0448C}"/>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F3D0752F-4BE1-4DEA-9A91-C12628B9D905}"/>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227F6B00-C84C-430B-B7C2-DFB7384C7332}"/>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C86C1E6A-A2B0-4B52-82F6-EA7C2BB679FC}"/>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7" name="Copyright">
              <a:extLst>
                <a:ext uri="{FF2B5EF4-FFF2-40B4-BE49-F238E27FC236}">
                  <a16:creationId xmlns:a16="http://schemas.microsoft.com/office/drawing/2014/main" id="{6F9ADEBF-B227-47BA-9FFB-3881EE358DB3}"/>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
        <p:nvSpPr>
          <p:cNvPr id="4" name="Title 3">
            <a:extLst>
              <a:ext uri="{FF2B5EF4-FFF2-40B4-BE49-F238E27FC236}">
                <a16:creationId xmlns:a16="http://schemas.microsoft.com/office/drawing/2014/main" id="{D6CAC9C2-9DC0-4151-8814-3516E0ADB8BC}"/>
              </a:ext>
            </a:extLst>
          </p:cNvPr>
          <p:cNvSpPr>
            <a:spLocks noGrp="1"/>
          </p:cNvSpPr>
          <p:nvPr>
            <p:ph type="title"/>
          </p:nvPr>
        </p:nvSpPr>
        <p:spPr>
          <a:xfrm>
            <a:off x="531813" y="560588"/>
            <a:ext cx="7061683" cy="422295"/>
          </a:xfrm>
        </p:spPr>
        <p:txBody>
          <a:bodyPr vert="horz" wrap="square" lIns="0" tIns="0" rIns="0" bIns="0" rtlCol="0" anchor="t">
            <a:spAutoFit/>
          </a:bodyPr>
          <a:lstStyle>
            <a:lvl1pPr>
              <a:defRPr lang="en-IN" dirty="0">
                <a:solidFill>
                  <a:schemeClr val="tx2"/>
                </a:solidFill>
              </a:defRPr>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26058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 Blue on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78811140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DC2C367-8056-426B-81B2-4B2C7238E5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6096000" y="-1"/>
            <a:ext cx="6098539"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4" y="6445295"/>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9" name="Straight Connector 8">
            <a:extLst>
              <a:ext uri="{FF2B5EF4-FFF2-40B4-BE49-F238E27FC236}">
                <a16:creationId xmlns:a16="http://schemas.microsoft.com/office/drawing/2014/main" id="{C8C5468B-3210-455B-960F-ACC92937B434}"/>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Footer Placeholder 4">
            <a:extLst>
              <a:ext uri="{FF2B5EF4-FFF2-40B4-BE49-F238E27FC236}">
                <a16:creationId xmlns:a16="http://schemas.microsoft.com/office/drawing/2014/main" id="{D9F423ED-15C9-4DBA-A5CC-A74A55A44E25}"/>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5" name="Group 24">
            <a:extLst>
              <a:ext uri="{FF2B5EF4-FFF2-40B4-BE49-F238E27FC236}">
                <a16:creationId xmlns:a16="http://schemas.microsoft.com/office/drawing/2014/main" id="{8623CBF1-457C-4491-90EE-6DE3BD9C2B8C}"/>
              </a:ext>
            </a:extLst>
          </p:cNvPr>
          <p:cNvGrpSpPr/>
          <p:nvPr userDrawn="1"/>
        </p:nvGrpSpPr>
        <p:grpSpPr>
          <a:xfrm>
            <a:off x="11979362" y="4535497"/>
            <a:ext cx="110800" cy="2041948"/>
            <a:chOff x="11979439" y="4535495"/>
            <a:chExt cx="110801" cy="2041947"/>
          </a:xfrm>
        </p:grpSpPr>
        <p:grpSp>
          <p:nvGrpSpPr>
            <p:cNvPr id="27" name="Group 26">
              <a:extLst>
                <a:ext uri="{FF2B5EF4-FFF2-40B4-BE49-F238E27FC236}">
                  <a16:creationId xmlns:a16="http://schemas.microsoft.com/office/drawing/2014/main" id="{8C5D61D5-4D53-4B2F-830C-7C2D09806F89}"/>
                </a:ext>
              </a:extLst>
            </p:cNvPr>
            <p:cNvGrpSpPr/>
            <p:nvPr userDrawn="1"/>
          </p:nvGrpSpPr>
          <p:grpSpPr>
            <a:xfrm>
              <a:off x="11998460" y="6135518"/>
              <a:ext cx="68500" cy="441924"/>
              <a:chOff x="11998459" y="6162188"/>
              <a:chExt cx="68500" cy="441924"/>
            </a:xfrm>
          </p:grpSpPr>
          <p:sp>
            <p:nvSpPr>
              <p:cNvPr id="29" name="Freeform: Shape 28">
                <a:extLst>
                  <a:ext uri="{FF2B5EF4-FFF2-40B4-BE49-F238E27FC236}">
                    <a16:creationId xmlns:a16="http://schemas.microsoft.com/office/drawing/2014/main" id="{1E4918B8-A176-47C4-9264-39A91C78CD7E}"/>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3201241E-6654-4B58-A757-746A35947F4F}"/>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AC0D2E0D-CECA-462E-BAF3-CF92D72544E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A50CAD15-5BF3-4472-BDB9-3E3E4742DD6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3C3511C1-3179-44B4-BB52-D2B10DA8A6E2}"/>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07DD1BCC-9230-417B-A5CC-E1D3F6F61041}"/>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E7A77373-FE9B-46C2-BEB4-F8B0A94BD53E}"/>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CB8ABB54-E991-461F-9791-D895B90E6700}"/>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F773B4D2-2297-4AFE-A952-85F190728CC5}"/>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E052044D-7360-4930-ACEF-75B0996C9E40}"/>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78EE721A-1842-4613-97C0-83F42E192EFE}"/>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E04EC6AA-4D0D-4D6B-A317-D59028CD1190}"/>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33B47ABB-E212-4C3A-93F4-8ECF298B2F14}"/>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8" name="Copyright">
              <a:extLst>
                <a:ext uri="{FF2B5EF4-FFF2-40B4-BE49-F238E27FC236}">
                  <a16:creationId xmlns:a16="http://schemas.microsoft.com/office/drawing/2014/main" id="{63A391B4-F2D4-4CEA-BB2D-6FE9C17F564E}"/>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
        <p:nvSpPr>
          <p:cNvPr id="4" name="Title 3">
            <a:extLst>
              <a:ext uri="{FF2B5EF4-FFF2-40B4-BE49-F238E27FC236}">
                <a16:creationId xmlns:a16="http://schemas.microsoft.com/office/drawing/2014/main" id="{93E1D190-1D55-4D58-B05F-8B0C78FE1DC0}"/>
              </a:ext>
            </a:extLst>
          </p:cNvPr>
          <p:cNvSpPr>
            <a:spLocks noGrp="1"/>
          </p:cNvSpPr>
          <p:nvPr>
            <p:ph type="title"/>
          </p:nvPr>
        </p:nvSpPr>
        <p:spPr>
          <a:xfrm>
            <a:off x="531813" y="560588"/>
            <a:ext cx="5123552" cy="837046"/>
          </a:xfrm>
        </p:spPr>
        <p:txBody>
          <a:bodyPr vert="horz" wrap="square" lIns="0" tIns="0" rIns="0" bIns="0" rtlCol="0" anchor="t">
            <a:spAutoFit/>
          </a:bodyPr>
          <a:lstStyle>
            <a:lvl1pPr>
              <a:defRPr lang="en-IN" dirty="0"/>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3337599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Breaker Slide_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194811257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6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8" name="Picture 7">
            <a:extLst>
              <a:ext uri="{FF2B5EF4-FFF2-40B4-BE49-F238E27FC236}">
                <a16:creationId xmlns:a16="http://schemas.microsoft.com/office/drawing/2014/main" id="{F99A2C76-32EA-4992-A965-D9260A5D160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482E60DA-1F02-9A45-8CE9-6CC78A3380F0}"/>
              </a:ext>
            </a:extLst>
          </p:cNvPr>
          <p:cNvSpPr/>
          <p:nvPr userDrawn="1"/>
        </p:nvSpPr>
        <p:spPr>
          <a:xfrm>
            <a:off x="1"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1" y="3700464"/>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2" y="4108436"/>
            <a:ext cx="8494899" cy="1569660"/>
          </a:xfrm>
          <a:effectLst>
            <a:outerShdw blurRad="190500" dir="2700000" algn="tl" rotWithShape="0">
              <a:prstClr val="black">
                <a:alpha val="30000"/>
              </a:prstClr>
            </a:outerShdw>
          </a:effectLst>
        </p:spPr>
        <p:txBody>
          <a:bodyPr vert="horz" wrap="square" lIns="0" tIns="0" rIns="0" bIns="0" rtlCol="0" anchor="ctr">
            <a:spAutoFit/>
          </a:bodyPr>
          <a:lstStyle>
            <a:lvl1pPr>
              <a:lnSpc>
                <a:spcPct val="80000"/>
              </a:lnSpc>
              <a:defRPr lang="en-US" sz="6000" dirty="0">
                <a:solidFill>
                  <a:schemeClr val="bg1"/>
                </a:solidFill>
              </a:defRPr>
            </a:lvl1pPr>
          </a:lstStyle>
          <a:p>
            <a:pPr lvl="0">
              <a:lnSpc>
                <a:spcPct val="85000"/>
              </a:lnSpc>
            </a:pPr>
            <a:r>
              <a:rPr lang="en-US"/>
              <a:t>Click to edit Master title style</a:t>
            </a:r>
            <a:endParaRPr lang="en-US" dirty="0"/>
          </a:p>
        </p:txBody>
      </p:sp>
      <p:grpSp>
        <p:nvGrpSpPr>
          <p:cNvPr id="12" name="Group 11">
            <a:extLst>
              <a:ext uri="{FF2B5EF4-FFF2-40B4-BE49-F238E27FC236}">
                <a16:creationId xmlns:a16="http://schemas.microsoft.com/office/drawing/2014/main" id="{1A4D7170-2B51-4AFC-B047-0F5B3A69E471}"/>
              </a:ext>
            </a:extLst>
          </p:cNvPr>
          <p:cNvGrpSpPr/>
          <p:nvPr userDrawn="1"/>
        </p:nvGrpSpPr>
        <p:grpSpPr>
          <a:xfrm>
            <a:off x="11998459" y="6162188"/>
            <a:ext cx="68500" cy="441924"/>
            <a:chOff x="11998459" y="6162188"/>
            <a:chExt cx="68500" cy="441924"/>
          </a:xfrm>
          <a:solidFill>
            <a:schemeClr val="bg1"/>
          </a:solidFill>
        </p:grpSpPr>
        <p:sp>
          <p:nvSpPr>
            <p:cNvPr id="13" name="Freeform: Shape 12">
              <a:extLst>
                <a:ext uri="{FF2B5EF4-FFF2-40B4-BE49-F238E27FC236}">
                  <a16:creationId xmlns:a16="http://schemas.microsoft.com/office/drawing/2014/main" id="{DDD1615D-0D55-4B48-87A2-0F30A4E3D8E7}"/>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C8D3D7F-D19B-49DE-9CB3-221A0639516B}"/>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E30BC6AD-EFFB-4263-A0EB-5A8265D4385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A341753F-E8F7-47E2-8A08-516073C6B573}"/>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F3E2B82A-AA52-459B-A885-2C9E46A7CA08}"/>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BDCD4539-FE2A-4741-BBEF-2BADE6F5B99D}"/>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63FB79E5-53C4-46E5-AAF3-BCDBDA5A2D1D}"/>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09CEBDE-5D0C-41B5-85C2-CBC9DA810EFB}"/>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0887E364-69C8-42A1-811A-4726514CBCE3}"/>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18A0E0BB-B67F-4B6F-A66E-3D42CC14F9E7}"/>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Freeform: Shape 23">
              <a:extLst>
                <a:ext uri="{FF2B5EF4-FFF2-40B4-BE49-F238E27FC236}">
                  <a16:creationId xmlns:a16="http://schemas.microsoft.com/office/drawing/2014/main" id="{797C39D0-A99F-467C-9FAD-1FEC939449C9}"/>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Freeform: Shape 24">
              <a:extLst>
                <a:ext uri="{FF2B5EF4-FFF2-40B4-BE49-F238E27FC236}">
                  <a16:creationId xmlns:a16="http://schemas.microsoft.com/office/drawing/2014/main" id="{FB512C9A-2B27-4460-B3C8-AA6460E8DA65}"/>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Freeform: Shape 25">
              <a:extLst>
                <a:ext uri="{FF2B5EF4-FFF2-40B4-BE49-F238E27FC236}">
                  <a16:creationId xmlns:a16="http://schemas.microsoft.com/office/drawing/2014/main" id="{6A1FA1F5-B76B-4B98-99DC-DD1D17B7F23E}"/>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7" name="Copyright">
            <a:extLst>
              <a:ext uri="{FF2B5EF4-FFF2-40B4-BE49-F238E27FC236}">
                <a16:creationId xmlns:a16="http://schemas.microsoft.com/office/drawing/2014/main" id="{EB60B0AE-F9C0-4FBF-9FE6-F8CE2ED57C40}"/>
              </a:ext>
            </a:extLst>
          </p:cNvPr>
          <p:cNvSpPr txBox="1"/>
          <p:nvPr userDrawn="1"/>
        </p:nvSpPr>
        <p:spPr>
          <a:xfrm rot="16200000">
            <a:off x="11250972"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sp>
        <p:nvSpPr>
          <p:cNvPr id="28" name="Slide Number Placeholder 5">
            <a:extLst>
              <a:ext uri="{FF2B5EF4-FFF2-40B4-BE49-F238E27FC236}">
                <a16:creationId xmlns:a16="http://schemas.microsoft.com/office/drawing/2014/main" id="{4B037CC6-E5CE-4CBE-B183-A4AF78E15EC6}"/>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Tree>
    <p:extLst>
      <p:ext uri="{BB962C8B-B14F-4D97-AF65-F5344CB8AC3E}">
        <p14:creationId xmlns:p14="http://schemas.microsoft.com/office/powerpoint/2010/main" val="984849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reaker Slide_2">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200457384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6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6" name="Picture 5">
            <a:extLst>
              <a:ext uri="{FF2B5EF4-FFF2-40B4-BE49-F238E27FC236}">
                <a16:creationId xmlns:a16="http://schemas.microsoft.com/office/drawing/2014/main" id="{92E076F7-2F5B-46F9-A7D4-BCD4A1BF4FBE}"/>
              </a:ext>
            </a:extLst>
          </p:cNvPr>
          <p:cNvPicPr>
            <a:picLocks noChangeAspect="1"/>
          </p:cNvPicPr>
          <p:nvPr userDrawn="1"/>
        </p:nvPicPr>
        <p:blipFill>
          <a:blip r:embed="rId6">
            <a:grayscl/>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9" name="Rectangle 28">
            <a:extLst>
              <a:ext uri="{FF2B5EF4-FFF2-40B4-BE49-F238E27FC236}">
                <a16:creationId xmlns:a16="http://schemas.microsoft.com/office/drawing/2014/main" id="{05571307-B5A1-49FA-8B2A-10157FD7593A}"/>
              </a:ext>
            </a:extLst>
          </p:cNvPr>
          <p:cNvSpPr/>
          <p:nvPr userDrawn="1"/>
        </p:nvSpPr>
        <p:spPr>
          <a:xfrm>
            <a:off x="0" y="0"/>
            <a:ext cx="12192000" cy="6858000"/>
          </a:xfrm>
          <a:prstGeom prst="rect">
            <a:avLst/>
          </a:prstGeom>
          <a:gradFill flip="none" rotWithShape="1">
            <a:gsLst>
              <a:gs pos="16000">
                <a:schemeClr val="tx2">
                  <a:lumMod val="50000"/>
                </a:schemeClr>
              </a:gs>
              <a:gs pos="55000">
                <a:schemeClr val="tx2">
                  <a:lumMod val="75000"/>
                  <a:alpha val="90000"/>
                </a:schemeClr>
              </a:gs>
              <a:gs pos="85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992390" y="4026897"/>
            <a:ext cx="6785798" cy="1569660"/>
          </a:xfrm>
          <a:effectLst>
            <a:outerShdw blurRad="190500" dir="2700000" algn="tl" rotWithShape="0">
              <a:prstClr val="black">
                <a:alpha val="30000"/>
              </a:prstClr>
            </a:outerShdw>
          </a:effectLst>
        </p:spPr>
        <p:txBody>
          <a:bodyPr vert="horz" wrap="square" lIns="0" tIns="0" rIns="0" bIns="0" rtlCol="0" anchor="b">
            <a:spAutoFit/>
          </a:bodyPr>
          <a:lstStyle>
            <a:lvl1pPr>
              <a:lnSpc>
                <a:spcPct val="80000"/>
              </a:lnSpc>
              <a:defRPr lang="en-US" sz="6000" dirty="0">
                <a:solidFill>
                  <a:schemeClr val="bg1"/>
                </a:solidFill>
              </a:defRPr>
            </a:lvl1pPr>
          </a:lstStyle>
          <a:p>
            <a:pPr lvl="0">
              <a:lnSpc>
                <a:spcPct val="85000"/>
              </a:lnSpc>
            </a:pPr>
            <a:r>
              <a:rPr lang="en-US"/>
              <a:t>Click to edit Master title style</a:t>
            </a:r>
            <a:endParaRPr lang="en-US" dirty="0"/>
          </a:p>
        </p:txBody>
      </p:sp>
      <p:sp>
        <p:nvSpPr>
          <p:cNvPr id="28" name="Slide Number Placeholder 5">
            <a:extLst>
              <a:ext uri="{FF2B5EF4-FFF2-40B4-BE49-F238E27FC236}">
                <a16:creationId xmlns:a16="http://schemas.microsoft.com/office/drawing/2014/main" id="{4B037CC6-E5CE-4CBE-B183-A4AF78E15EC6}"/>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30" name="Straight Connector 29">
            <a:extLst>
              <a:ext uri="{FF2B5EF4-FFF2-40B4-BE49-F238E27FC236}">
                <a16:creationId xmlns:a16="http://schemas.microsoft.com/office/drawing/2014/main" id="{5B1B01B0-505C-4864-BC9B-FBCE18D02D9C}"/>
              </a:ext>
            </a:extLst>
          </p:cNvPr>
          <p:cNvCxnSpPr>
            <a:cxnSpLocks/>
          </p:cNvCxnSpPr>
          <p:nvPr userDrawn="1"/>
        </p:nvCxnSpPr>
        <p:spPr>
          <a:xfrm>
            <a:off x="992389" y="5712304"/>
            <a:ext cx="154246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95DDDC21-5EC0-4BC6-A759-2D861F3A42C0}"/>
              </a:ext>
            </a:extLst>
          </p:cNvPr>
          <p:cNvGrpSpPr/>
          <p:nvPr userDrawn="1"/>
        </p:nvGrpSpPr>
        <p:grpSpPr>
          <a:xfrm>
            <a:off x="11979362" y="4535497"/>
            <a:ext cx="110800" cy="2041948"/>
            <a:chOff x="11979439" y="4535495"/>
            <a:chExt cx="110801" cy="2041947"/>
          </a:xfrm>
        </p:grpSpPr>
        <p:grpSp>
          <p:nvGrpSpPr>
            <p:cNvPr id="32" name="Group 31">
              <a:extLst>
                <a:ext uri="{FF2B5EF4-FFF2-40B4-BE49-F238E27FC236}">
                  <a16:creationId xmlns:a16="http://schemas.microsoft.com/office/drawing/2014/main" id="{6CE34071-C191-4EA0-879B-938D0D7FB2DC}"/>
                </a:ext>
              </a:extLst>
            </p:cNvPr>
            <p:cNvGrpSpPr/>
            <p:nvPr userDrawn="1"/>
          </p:nvGrpSpPr>
          <p:grpSpPr>
            <a:xfrm>
              <a:off x="11998460" y="6135518"/>
              <a:ext cx="68500" cy="441924"/>
              <a:chOff x="11998459" y="6162188"/>
              <a:chExt cx="68500" cy="441924"/>
            </a:xfrm>
          </p:grpSpPr>
          <p:sp>
            <p:nvSpPr>
              <p:cNvPr id="35" name="Freeform: Shape 34">
                <a:extLst>
                  <a:ext uri="{FF2B5EF4-FFF2-40B4-BE49-F238E27FC236}">
                    <a16:creationId xmlns:a16="http://schemas.microsoft.com/office/drawing/2014/main" id="{86C589D3-2A68-47B4-A186-DCD2A83FCFC8}"/>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4BB41610-46EC-428B-835A-19794F87B288}"/>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335B418E-1CF7-49D6-9410-F4E0F9CA8FD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75874F1C-8BBD-43D9-9576-2326771CDA5E}"/>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41BF7ED0-D40C-414C-A361-03E0EC0CA1B8}"/>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B0A1FE6F-2C49-4E56-BBB6-F7F2308FE7A5}"/>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8FE97711-BCB1-4A87-B444-FE49A24C954C}"/>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2" name="Freeform: Shape 41">
                <a:extLst>
                  <a:ext uri="{FF2B5EF4-FFF2-40B4-BE49-F238E27FC236}">
                    <a16:creationId xmlns:a16="http://schemas.microsoft.com/office/drawing/2014/main" id="{DC90751F-BC28-4C38-9AEE-4FE522001DE3}"/>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3" name="Freeform: Shape 42">
                <a:extLst>
                  <a:ext uri="{FF2B5EF4-FFF2-40B4-BE49-F238E27FC236}">
                    <a16:creationId xmlns:a16="http://schemas.microsoft.com/office/drawing/2014/main" id="{4759EB0F-4722-48F9-98B5-35600B2F5F54}"/>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4" name="Freeform: Shape 43">
                <a:extLst>
                  <a:ext uri="{FF2B5EF4-FFF2-40B4-BE49-F238E27FC236}">
                    <a16:creationId xmlns:a16="http://schemas.microsoft.com/office/drawing/2014/main" id="{1E9ED425-DEE8-4FE5-B40D-E5D7FC3B173C}"/>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5" name="Freeform: Shape 44">
                <a:extLst>
                  <a:ext uri="{FF2B5EF4-FFF2-40B4-BE49-F238E27FC236}">
                    <a16:creationId xmlns:a16="http://schemas.microsoft.com/office/drawing/2014/main" id="{6FED47B5-7813-41FF-82AD-062C1EBA79EB}"/>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6" name="Freeform: Shape 45">
                <a:extLst>
                  <a:ext uri="{FF2B5EF4-FFF2-40B4-BE49-F238E27FC236}">
                    <a16:creationId xmlns:a16="http://schemas.microsoft.com/office/drawing/2014/main" id="{3412D8B3-B39C-4308-9921-278312CC9BDA}"/>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7" name="Freeform: Shape 46">
                <a:extLst>
                  <a:ext uri="{FF2B5EF4-FFF2-40B4-BE49-F238E27FC236}">
                    <a16:creationId xmlns:a16="http://schemas.microsoft.com/office/drawing/2014/main" id="{279E12B4-9493-4742-A8EB-9E495955EF01}"/>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34" name="Copyright">
              <a:extLst>
                <a:ext uri="{FF2B5EF4-FFF2-40B4-BE49-F238E27FC236}">
                  <a16:creationId xmlns:a16="http://schemas.microsoft.com/office/drawing/2014/main" id="{063EE5AF-0F23-4E4D-946B-2EF723C73A98}"/>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Tree>
    <p:extLst>
      <p:ext uri="{BB962C8B-B14F-4D97-AF65-F5344CB8AC3E}">
        <p14:creationId xmlns:p14="http://schemas.microsoft.com/office/powerpoint/2010/main" val="340672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6702073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2" name="Graphic 1">
            <a:extLst>
              <a:ext uri="{FF2B5EF4-FFF2-40B4-BE49-F238E27FC236}">
                <a16:creationId xmlns:a16="http://schemas.microsoft.com/office/drawing/2014/main" id="{63E76732-5A5F-B03D-320E-52CD6F1CBCF5}"/>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43457" y="2592164"/>
            <a:ext cx="4386551" cy="1640232"/>
          </a:xfrm>
          <a:prstGeom prst="rect">
            <a:avLst/>
          </a:prstGeom>
        </p:spPr>
      </p:pic>
      <p:sp>
        <p:nvSpPr>
          <p:cNvPr id="6" name="TextBox 5">
            <a:extLst>
              <a:ext uri="{FF2B5EF4-FFF2-40B4-BE49-F238E27FC236}">
                <a16:creationId xmlns:a16="http://schemas.microsoft.com/office/drawing/2014/main" id="{8106A152-DC8B-0C47-8CFD-D99759D28F81}"/>
              </a:ext>
            </a:extLst>
          </p:cNvPr>
          <p:cNvSpPr txBox="1"/>
          <p:nvPr userDrawn="1"/>
        </p:nvSpPr>
        <p:spPr>
          <a:xfrm>
            <a:off x="550863" y="5965461"/>
            <a:ext cx="3039294" cy="369332"/>
          </a:xfrm>
          <a:prstGeom prst="rect">
            <a:avLst/>
          </a:prstGeom>
          <a:noFill/>
        </p:spPr>
        <p:txBody>
          <a:bodyPr wrap="none" lIns="0" tIns="0" rIns="0" bIns="0" rtlCol="0">
            <a:spAutoFit/>
          </a:bodyPr>
          <a:lstStyle/>
          <a:p>
            <a:pPr algn="l"/>
            <a:r>
              <a:rPr lang="en-GB" sz="1200" b="1" i="0" u="none" dirty="0">
                <a:solidFill>
                  <a:schemeClr val="accent3">
                    <a:lumMod val="60000"/>
                    <a:lumOff val="40000"/>
                  </a:schemeClr>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www.infomineo.com</a:t>
            </a:r>
          </a:p>
          <a:p>
            <a:pPr algn="l"/>
            <a:r>
              <a:rPr lang="en-GB" sz="1200" b="0" i="0" dirty="0">
                <a:solidFill>
                  <a:schemeClr val="bg1"/>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Infomineo Copyright © 2023. All rights reserved.</a:t>
            </a:r>
          </a:p>
        </p:txBody>
      </p:sp>
      <p:pic>
        <p:nvPicPr>
          <p:cNvPr id="30" name="Picture 29">
            <a:hlinkClick r:id="rId7"/>
            <a:extLst>
              <a:ext uri="{FF2B5EF4-FFF2-40B4-BE49-F238E27FC236}">
                <a16:creationId xmlns:a16="http://schemas.microsoft.com/office/drawing/2014/main" id="{3ED467EF-C028-4376-B7C8-A8830D77CF7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323329" y="5965461"/>
            <a:ext cx="370332" cy="370332"/>
          </a:xfrm>
          <a:prstGeom prst="rect">
            <a:avLst/>
          </a:prstGeom>
        </p:spPr>
      </p:pic>
      <p:pic>
        <p:nvPicPr>
          <p:cNvPr id="32" name="Picture 31">
            <a:hlinkClick r:id="rId9"/>
            <a:extLst>
              <a:ext uri="{FF2B5EF4-FFF2-40B4-BE49-F238E27FC236}">
                <a16:creationId xmlns:a16="http://schemas.microsoft.com/office/drawing/2014/main" id="{3BF2889F-2FC0-49EE-9DAD-8868FC3BE52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825965" y="5965461"/>
            <a:ext cx="368808" cy="370332"/>
          </a:xfrm>
          <a:prstGeom prst="rect">
            <a:avLst/>
          </a:prstGeom>
        </p:spPr>
      </p:pic>
      <p:pic>
        <p:nvPicPr>
          <p:cNvPr id="34" name="Picture 33">
            <a:hlinkClick r:id="rId11"/>
            <a:extLst>
              <a:ext uri="{FF2B5EF4-FFF2-40B4-BE49-F238E27FC236}">
                <a16:creationId xmlns:a16="http://schemas.microsoft.com/office/drawing/2014/main" id="{96507CF0-D683-43B8-9352-634205E2EC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328600" y="5965461"/>
            <a:ext cx="368808" cy="370332"/>
          </a:xfrm>
          <a:prstGeom prst="rect">
            <a:avLst/>
          </a:prstGeom>
        </p:spPr>
      </p:pic>
    </p:spTree>
    <p:extLst>
      <p:ext uri="{BB962C8B-B14F-4D97-AF65-F5344CB8AC3E}">
        <p14:creationId xmlns:p14="http://schemas.microsoft.com/office/powerpoint/2010/main" val="28255751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uides">
    <p:spTree>
      <p:nvGrpSpPr>
        <p:cNvPr id="1" name=""/>
        <p:cNvGrpSpPr/>
        <p:nvPr/>
      </p:nvGrpSpPr>
      <p:grpSpPr>
        <a:xfrm>
          <a:off x="0" y="0"/>
          <a:ext cx="0" cy="0"/>
          <a:chOff x="0" y="0"/>
          <a:chExt cx="0" cy="0"/>
        </a:xfrm>
      </p:grpSpPr>
      <p:graphicFrame>
        <p:nvGraphicFramePr>
          <p:cNvPr id="49" name="Object 48" hidden="1">
            <a:extLst>
              <a:ext uri="{FF2B5EF4-FFF2-40B4-BE49-F238E27FC236}">
                <a16:creationId xmlns:a16="http://schemas.microsoft.com/office/drawing/2014/main" id="{C7E8C095-69F2-4BC8-964E-A1BFE9309E4B}"/>
              </a:ext>
            </a:extLst>
          </p:cNvPr>
          <p:cNvGraphicFramePr>
            <a:graphicFrameLocks noChangeAspect="1"/>
          </p:cNvGraphicFramePr>
          <p:nvPr userDrawn="1">
            <p:custDataLst>
              <p:tags r:id="rId1"/>
            </p:custDataLst>
            <p:extLst>
              <p:ext uri="{D42A27DB-BD31-4B8C-83A1-F6EECF244321}">
                <p14:modId xmlns:p14="http://schemas.microsoft.com/office/powerpoint/2010/main" val="3613833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9" name="Object 48" hidden="1">
                        <a:extLst>
                          <a:ext uri="{FF2B5EF4-FFF2-40B4-BE49-F238E27FC236}">
                            <a16:creationId xmlns:a16="http://schemas.microsoft.com/office/drawing/2014/main" id="{C7E8C095-69F2-4BC8-964E-A1BFE9309E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B5F11C0-1445-4182-AF87-C63E0DB6CE2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7" name="Freeform: Shape 95">
            <a:extLst>
              <a:ext uri="{FF2B5EF4-FFF2-40B4-BE49-F238E27FC236}">
                <a16:creationId xmlns:a16="http://schemas.microsoft.com/office/drawing/2014/main" id="{E5A08834-247C-4C9E-93E7-8514C051C060}"/>
              </a:ext>
            </a:extLst>
          </p:cNvPr>
          <p:cNvSpPr/>
          <p:nvPr userDrawn="1"/>
        </p:nvSpPr>
        <p:spPr>
          <a:xfrm>
            <a:off x="0" y="0"/>
            <a:ext cx="12193200" cy="6858000"/>
          </a:xfrm>
          <a:custGeom>
            <a:avLst/>
            <a:gdLst>
              <a:gd name="connsiteX0" fmla="*/ 566584 w 12193200"/>
              <a:gd name="connsiteY0" fmla="*/ 549276 h 6858000"/>
              <a:gd name="connsiteX1" fmla="*/ 566584 w 12193200"/>
              <a:gd name="connsiteY1" fmla="*/ 6308726 h 6858000"/>
              <a:gd name="connsiteX2" fmla="*/ 11641138 w 12193200"/>
              <a:gd name="connsiteY2" fmla="*/ 6308726 h 6858000"/>
              <a:gd name="connsiteX3" fmla="*/ 11641138 w 12193200"/>
              <a:gd name="connsiteY3" fmla="*/ 549276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5000"/>
            </a:srgbClr>
          </a:solidFill>
          <a:ln w="9525">
            <a:noFill/>
            <a:miter lim="800000"/>
            <a:headEnd/>
            <a:tailEnd/>
          </a:ln>
        </p:spPr>
        <p:txBody>
          <a:bodyPr vert="horz" wrap="square" lIns="91438" tIns="45719" rIns="91438" bIns="45719" numCol="1" anchor="t" anchorCtr="0" compatLnSpc="1">
            <a:prstTxWarp prst="textNoShape">
              <a:avLst/>
            </a:prstTxWarp>
            <a:noAutofit/>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50" name="Group 49">
            <a:extLst>
              <a:ext uri="{FF2B5EF4-FFF2-40B4-BE49-F238E27FC236}">
                <a16:creationId xmlns:a16="http://schemas.microsoft.com/office/drawing/2014/main" id="{D59B0D14-7DD8-45E2-B968-99300FF0D28D}"/>
              </a:ext>
            </a:extLst>
          </p:cNvPr>
          <p:cNvGrpSpPr/>
          <p:nvPr userDrawn="1"/>
        </p:nvGrpSpPr>
        <p:grpSpPr>
          <a:xfrm>
            <a:off x="-600" y="549275"/>
            <a:ext cx="12193200" cy="5759450"/>
            <a:chOff x="-600" y="549275"/>
            <a:chExt cx="12193200" cy="5759450"/>
          </a:xfrm>
        </p:grpSpPr>
        <p:cxnSp>
          <p:nvCxnSpPr>
            <p:cNvPr id="24" name="Straight Connector 23">
              <a:extLst>
                <a:ext uri="{FF2B5EF4-FFF2-40B4-BE49-F238E27FC236}">
                  <a16:creationId xmlns:a16="http://schemas.microsoft.com/office/drawing/2014/main" id="{EFD9771C-C32F-443B-97DA-AB808B787FCB}"/>
                </a:ext>
              </a:extLst>
            </p:cNvPr>
            <p:cNvCxnSpPr/>
            <p:nvPr/>
          </p:nvCxnSpPr>
          <p:spPr>
            <a:xfrm>
              <a:off x="-600" y="54927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FDCFA-8871-4375-9DD7-4FC5886280A9}"/>
                </a:ext>
              </a:extLst>
            </p:cNvPr>
            <p:cNvCxnSpPr/>
            <p:nvPr/>
          </p:nvCxnSpPr>
          <p:spPr>
            <a:xfrm>
              <a:off x="-600" y="107286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BCC4B7F-FEF1-4EA1-831D-C9AA6F5F064E}"/>
                </a:ext>
              </a:extLst>
            </p:cNvPr>
            <p:cNvCxnSpPr/>
            <p:nvPr/>
          </p:nvCxnSpPr>
          <p:spPr>
            <a:xfrm>
              <a:off x="-600" y="133465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1DCA16-8F73-4630-BDD0-2A70C4A58AB4}"/>
                </a:ext>
              </a:extLst>
            </p:cNvPr>
            <p:cNvCxnSpPr/>
            <p:nvPr/>
          </p:nvCxnSpPr>
          <p:spPr>
            <a:xfrm>
              <a:off x="-600" y="159644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C31EB1-B3A4-46CF-BFA4-063B67EE1C0D}"/>
                </a:ext>
              </a:extLst>
            </p:cNvPr>
            <p:cNvCxnSpPr/>
            <p:nvPr/>
          </p:nvCxnSpPr>
          <p:spPr>
            <a:xfrm>
              <a:off x="-600" y="185824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93E6A85-DDE0-4463-B476-9FA784357023}"/>
                </a:ext>
              </a:extLst>
            </p:cNvPr>
            <p:cNvCxnSpPr/>
            <p:nvPr/>
          </p:nvCxnSpPr>
          <p:spPr>
            <a:xfrm>
              <a:off x="-600" y="212003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A4D7F3C-5BD5-4AC2-88A1-966E801F5AED}"/>
                </a:ext>
              </a:extLst>
            </p:cNvPr>
            <p:cNvCxnSpPr/>
            <p:nvPr/>
          </p:nvCxnSpPr>
          <p:spPr>
            <a:xfrm>
              <a:off x="-600" y="238182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2775BB7-F520-4F81-AF6D-F59D1B76F55E}"/>
                </a:ext>
              </a:extLst>
            </p:cNvPr>
            <p:cNvCxnSpPr/>
            <p:nvPr/>
          </p:nvCxnSpPr>
          <p:spPr>
            <a:xfrm>
              <a:off x="-600" y="264361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CB72474-2AC2-420E-BDB5-E5A722B50684}"/>
                </a:ext>
              </a:extLst>
            </p:cNvPr>
            <p:cNvCxnSpPr/>
            <p:nvPr/>
          </p:nvCxnSpPr>
          <p:spPr>
            <a:xfrm>
              <a:off x="-600" y="290541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7F88338-30AC-49A0-A5C4-EC7BD34E1FA6}"/>
                </a:ext>
              </a:extLst>
            </p:cNvPr>
            <p:cNvCxnSpPr/>
            <p:nvPr/>
          </p:nvCxnSpPr>
          <p:spPr>
            <a:xfrm>
              <a:off x="-600" y="316720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A4A82DD-B8CC-462B-93E9-CBC87352521F}"/>
                </a:ext>
              </a:extLst>
            </p:cNvPr>
            <p:cNvCxnSpPr/>
            <p:nvPr/>
          </p:nvCxnSpPr>
          <p:spPr>
            <a:xfrm>
              <a:off x="-600" y="342899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86DFAD-90A1-4761-A1F6-2CECC9F3CEB8}"/>
                </a:ext>
              </a:extLst>
            </p:cNvPr>
            <p:cNvCxnSpPr/>
            <p:nvPr/>
          </p:nvCxnSpPr>
          <p:spPr>
            <a:xfrm>
              <a:off x="-600" y="369079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73AC16-3E18-48F7-97ED-8B5A48560A3B}"/>
                </a:ext>
              </a:extLst>
            </p:cNvPr>
            <p:cNvCxnSpPr/>
            <p:nvPr/>
          </p:nvCxnSpPr>
          <p:spPr>
            <a:xfrm>
              <a:off x="-600" y="395258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2B4CC9-D426-40F8-825B-C7E1196189B4}"/>
                </a:ext>
              </a:extLst>
            </p:cNvPr>
            <p:cNvCxnSpPr/>
            <p:nvPr/>
          </p:nvCxnSpPr>
          <p:spPr>
            <a:xfrm>
              <a:off x="-600" y="421437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DD5A36E-8435-4B1C-8462-1C956794FC17}"/>
                </a:ext>
              </a:extLst>
            </p:cNvPr>
            <p:cNvCxnSpPr/>
            <p:nvPr/>
          </p:nvCxnSpPr>
          <p:spPr>
            <a:xfrm>
              <a:off x="-600" y="447617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D85A532-653B-4FD3-A2B9-908071F117D2}"/>
                </a:ext>
              </a:extLst>
            </p:cNvPr>
            <p:cNvCxnSpPr/>
            <p:nvPr/>
          </p:nvCxnSpPr>
          <p:spPr>
            <a:xfrm>
              <a:off x="-600" y="473796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E1136A-6637-439F-89A7-D7F878D15199}"/>
                </a:ext>
              </a:extLst>
            </p:cNvPr>
            <p:cNvCxnSpPr/>
            <p:nvPr/>
          </p:nvCxnSpPr>
          <p:spPr>
            <a:xfrm>
              <a:off x="-600" y="499975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A0A4627-9F33-480E-B584-D2625F29AB95}"/>
                </a:ext>
              </a:extLst>
            </p:cNvPr>
            <p:cNvCxnSpPr/>
            <p:nvPr/>
          </p:nvCxnSpPr>
          <p:spPr>
            <a:xfrm>
              <a:off x="-600" y="526154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9037A92-0EC2-4FBA-A847-8D0F6C45AD99}"/>
                </a:ext>
              </a:extLst>
            </p:cNvPr>
            <p:cNvCxnSpPr/>
            <p:nvPr/>
          </p:nvCxnSpPr>
          <p:spPr>
            <a:xfrm>
              <a:off x="-600" y="552334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B45D501-68B8-4FBE-8794-3CDE530B5439}"/>
                </a:ext>
              </a:extLst>
            </p:cNvPr>
            <p:cNvCxnSpPr/>
            <p:nvPr userDrawn="1"/>
          </p:nvCxnSpPr>
          <p:spPr>
            <a:xfrm>
              <a:off x="-600" y="578513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C63DF98-DC31-4B0A-9A94-9B9C493BD0DD}"/>
                </a:ext>
              </a:extLst>
            </p:cNvPr>
            <p:cNvCxnSpPr/>
            <p:nvPr userDrawn="1"/>
          </p:nvCxnSpPr>
          <p:spPr>
            <a:xfrm>
              <a:off x="-600" y="81106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97F595-E8CD-4823-A296-F9B434149D35}"/>
                </a:ext>
              </a:extLst>
            </p:cNvPr>
            <p:cNvCxnSpPr/>
            <p:nvPr userDrawn="1"/>
          </p:nvCxnSpPr>
          <p:spPr>
            <a:xfrm>
              <a:off x="-600" y="630872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767E29-78AA-446B-8F14-50FFE81A75D5}"/>
                </a:ext>
              </a:extLst>
            </p:cNvPr>
            <p:cNvCxnSpPr/>
            <p:nvPr userDrawn="1"/>
          </p:nvCxnSpPr>
          <p:spPr>
            <a:xfrm>
              <a:off x="-600" y="604692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grpSp>
      <p:sp>
        <p:nvSpPr>
          <p:cNvPr id="9" name="Footnote measure">
            <a:extLst>
              <a:ext uri="{FF2B5EF4-FFF2-40B4-BE49-F238E27FC236}">
                <a16:creationId xmlns:a16="http://schemas.microsoft.com/office/drawing/2014/main" id="{FCB67C59-94A5-43D0-98F3-D2DF706BE603}"/>
              </a:ext>
            </a:extLst>
          </p:cNvPr>
          <p:cNvSpPr>
            <a:spLocks noChangeArrowheads="1"/>
          </p:cNvSpPr>
          <p:nvPr userDrawn="1"/>
        </p:nvSpPr>
        <p:spPr bwMode="auto">
          <a:xfrm>
            <a:off x="550264" y="6308722"/>
            <a:ext cx="11090873" cy="261799"/>
          </a:xfrm>
          <a:prstGeom prst="rect">
            <a:avLst/>
          </a:prstGeom>
          <a:solidFill>
            <a:srgbClr val="FF0000">
              <a:alpha val="10000"/>
            </a:srgbClr>
          </a:solidFill>
          <a:ln w="9525">
            <a:noFill/>
            <a:miter lim="800000"/>
            <a:headEnd/>
            <a:tailEnd/>
          </a:ln>
        </p:spPr>
        <p:txBody>
          <a:bodyPr vert="horz" wrap="square" lIns="91438" tIns="45719" rIns="91438" bIns="45719" numCol="1" anchor="t" anchorCtr="0" compatLnSpc="1">
            <a:prstTxWarp prst="textNoShape">
              <a:avLst/>
            </a:prstTxWarp>
            <a:noAutofit/>
          </a:bodyPr>
          <a:lstStyle/>
          <a:p>
            <a:pPr lvl="0"/>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0" name="Whitespace measure">
            <a:extLst>
              <a:ext uri="{FF2B5EF4-FFF2-40B4-BE49-F238E27FC236}">
                <a16:creationId xmlns:a16="http://schemas.microsoft.com/office/drawing/2014/main" id="{B9FA0CC8-4D85-4377-9762-D979C28385FB}"/>
              </a:ext>
            </a:extLst>
          </p:cNvPr>
          <p:cNvSpPr>
            <a:spLocks noChangeArrowheads="1"/>
          </p:cNvSpPr>
          <p:nvPr userDrawn="1"/>
        </p:nvSpPr>
        <p:spPr bwMode="auto">
          <a:xfrm>
            <a:off x="550864" y="1348222"/>
            <a:ext cx="11105556" cy="509202"/>
          </a:xfrm>
          <a:prstGeom prst="rect">
            <a:avLst/>
          </a:prstGeom>
          <a:solidFill>
            <a:srgbClr val="FF0000">
              <a:alpha val="5000"/>
            </a:srgbClr>
          </a:solidFill>
          <a:ln w="9525">
            <a:noFill/>
            <a:miter lim="800000"/>
            <a:headEnd/>
            <a:tailEnd/>
          </a:ln>
        </p:spPr>
        <p:txBody>
          <a:bodyPr vert="horz" wrap="square" lIns="91438" tIns="45719" rIns="91438" bIns="45719" numCol="1" anchor="t" anchorCtr="0" compatLnSpc="1">
            <a:prstTxWarp prst="textNoShape">
              <a:avLst/>
            </a:prstTxWarp>
            <a:noAutofit/>
          </a:bodyPr>
          <a:lstStyle/>
          <a:p>
            <a:pPr lvl="0"/>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1" name="Live area">
            <a:extLst>
              <a:ext uri="{FF2B5EF4-FFF2-40B4-BE49-F238E27FC236}">
                <a16:creationId xmlns:a16="http://schemas.microsoft.com/office/drawing/2014/main" id="{AA787823-C275-4031-9AC7-3513520EE759}"/>
              </a:ext>
            </a:extLst>
          </p:cNvPr>
          <p:cNvSpPr/>
          <p:nvPr userDrawn="1"/>
        </p:nvSpPr>
        <p:spPr>
          <a:xfrm>
            <a:off x="550864" y="2120034"/>
            <a:ext cx="11090275" cy="418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chemeClr val="tx2">
                <a:alpha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12" name="Group 11">
            <a:extLst>
              <a:ext uri="{FF2B5EF4-FFF2-40B4-BE49-F238E27FC236}">
                <a16:creationId xmlns:a16="http://schemas.microsoft.com/office/drawing/2014/main" id="{EF1AA03C-D537-4B50-8AA2-DE2B0859A9E0}"/>
              </a:ext>
            </a:extLst>
          </p:cNvPr>
          <p:cNvGrpSpPr/>
          <p:nvPr userDrawn="1"/>
        </p:nvGrpSpPr>
        <p:grpSpPr>
          <a:xfrm>
            <a:off x="1215339" y="1857423"/>
            <a:ext cx="9763000" cy="4458091"/>
            <a:chOff x="1215339" y="549274"/>
            <a:chExt cx="9763000" cy="5759450"/>
          </a:xfrm>
          <a:solidFill>
            <a:schemeClr val="tx2">
              <a:lumMod val="40000"/>
              <a:lumOff val="60000"/>
              <a:alpha val="10000"/>
            </a:schemeClr>
          </a:solidFill>
        </p:grpSpPr>
        <p:sp>
          <p:nvSpPr>
            <p:cNvPr id="13" name="Rectangle 34">
              <a:extLst>
                <a:ext uri="{FF2B5EF4-FFF2-40B4-BE49-F238E27FC236}">
                  <a16:creationId xmlns:a16="http://schemas.microsoft.com/office/drawing/2014/main" id="{CEBF00D2-4B24-426D-BD4A-087B43FE3715}"/>
                </a:ext>
              </a:extLst>
            </p:cNvPr>
            <p:cNvSpPr>
              <a:spLocks noChangeArrowheads="1"/>
            </p:cNvSpPr>
            <p:nvPr/>
          </p:nvSpPr>
          <p:spPr bwMode="auto">
            <a:xfrm>
              <a:off x="690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35">
              <a:extLst>
                <a:ext uri="{FF2B5EF4-FFF2-40B4-BE49-F238E27FC236}">
                  <a16:creationId xmlns:a16="http://schemas.microsoft.com/office/drawing/2014/main" id="{6BD82B4A-4BB0-4614-B13C-4CFCC7A227D9}"/>
                </a:ext>
              </a:extLst>
            </p:cNvPr>
            <p:cNvSpPr>
              <a:spLocks noChangeArrowheads="1"/>
            </p:cNvSpPr>
            <p:nvPr/>
          </p:nvSpPr>
          <p:spPr bwMode="auto">
            <a:xfrm>
              <a:off x="879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5" name="Rectangle 36">
              <a:extLst>
                <a:ext uri="{FF2B5EF4-FFF2-40B4-BE49-F238E27FC236}">
                  <a16:creationId xmlns:a16="http://schemas.microsoft.com/office/drawing/2014/main" id="{BF9ACD5F-BA8A-4218-BB75-6E90A13EF900}"/>
                </a:ext>
              </a:extLst>
            </p:cNvPr>
            <p:cNvSpPr>
              <a:spLocks noChangeArrowheads="1"/>
            </p:cNvSpPr>
            <p:nvPr/>
          </p:nvSpPr>
          <p:spPr bwMode="auto">
            <a:xfrm>
              <a:off x="784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6" name="Rectangle 37">
              <a:extLst>
                <a:ext uri="{FF2B5EF4-FFF2-40B4-BE49-F238E27FC236}">
                  <a16:creationId xmlns:a16="http://schemas.microsoft.com/office/drawing/2014/main" id="{379A22D2-DA96-41ED-9D9E-1155426DFFBD}"/>
                </a:ext>
              </a:extLst>
            </p:cNvPr>
            <p:cNvSpPr>
              <a:spLocks noChangeArrowheads="1"/>
            </p:cNvSpPr>
            <p:nvPr/>
          </p:nvSpPr>
          <p:spPr bwMode="auto">
            <a:xfrm>
              <a:off x="974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7" name="Rectangle 38">
              <a:extLst>
                <a:ext uri="{FF2B5EF4-FFF2-40B4-BE49-F238E27FC236}">
                  <a16:creationId xmlns:a16="http://schemas.microsoft.com/office/drawing/2014/main" id="{7EF7963D-A1E1-415D-8969-F027A75D12FE}"/>
                </a:ext>
              </a:extLst>
            </p:cNvPr>
            <p:cNvSpPr>
              <a:spLocks noChangeArrowheads="1"/>
            </p:cNvSpPr>
            <p:nvPr/>
          </p:nvSpPr>
          <p:spPr bwMode="auto">
            <a:xfrm>
              <a:off x="1069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8" name="Rectangle 39">
              <a:extLst>
                <a:ext uri="{FF2B5EF4-FFF2-40B4-BE49-F238E27FC236}">
                  <a16:creationId xmlns:a16="http://schemas.microsoft.com/office/drawing/2014/main" id="{BBE34D05-AF10-4FE9-A201-F9E2A8027014}"/>
                </a:ext>
              </a:extLst>
            </p:cNvPr>
            <p:cNvSpPr>
              <a:spLocks noChangeArrowheads="1"/>
            </p:cNvSpPr>
            <p:nvPr/>
          </p:nvSpPr>
          <p:spPr bwMode="auto">
            <a:xfrm>
              <a:off x="5952839" y="549274"/>
              <a:ext cx="288000" cy="5759450"/>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9" name="Rectangle 40">
              <a:extLst>
                <a:ext uri="{FF2B5EF4-FFF2-40B4-BE49-F238E27FC236}">
                  <a16:creationId xmlns:a16="http://schemas.microsoft.com/office/drawing/2014/main" id="{349BF860-A8A0-4AB9-B299-1AF8241953E9}"/>
                </a:ext>
              </a:extLst>
            </p:cNvPr>
            <p:cNvSpPr>
              <a:spLocks noChangeArrowheads="1"/>
            </p:cNvSpPr>
            <p:nvPr/>
          </p:nvSpPr>
          <p:spPr bwMode="auto">
            <a:xfrm>
              <a:off x="121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41">
              <a:extLst>
                <a:ext uri="{FF2B5EF4-FFF2-40B4-BE49-F238E27FC236}">
                  <a16:creationId xmlns:a16="http://schemas.microsoft.com/office/drawing/2014/main" id="{3E2A80A6-61F6-4E58-B43B-059CCD29CD23}"/>
                </a:ext>
              </a:extLst>
            </p:cNvPr>
            <p:cNvSpPr>
              <a:spLocks noChangeArrowheads="1"/>
            </p:cNvSpPr>
            <p:nvPr/>
          </p:nvSpPr>
          <p:spPr bwMode="auto">
            <a:xfrm>
              <a:off x="216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1" name="Rectangle 42">
              <a:extLst>
                <a:ext uri="{FF2B5EF4-FFF2-40B4-BE49-F238E27FC236}">
                  <a16:creationId xmlns:a16="http://schemas.microsoft.com/office/drawing/2014/main" id="{0F927BDE-7613-4A1B-9405-C18A0AA0230E}"/>
                </a:ext>
              </a:extLst>
            </p:cNvPr>
            <p:cNvSpPr>
              <a:spLocks noChangeArrowheads="1"/>
            </p:cNvSpPr>
            <p:nvPr/>
          </p:nvSpPr>
          <p:spPr bwMode="auto">
            <a:xfrm>
              <a:off x="311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2" name="Rectangle 43">
              <a:extLst>
                <a:ext uri="{FF2B5EF4-FFF2-40B4-BE49-F238E27FC236}">
                  <a16:creationId xmlns:a16="http://schemas.microsoft.com/office/drawing/2014/main" id="{9D0BF9DE-3D09-432F-B97F-D68AFE1C7D42}"/>
                </a:ext>
              </a:extLst>
            </p:cNvPr>
            <p:cNvSpPr>
              <a:spLocks noChangeArrowheads="1"/>
            </p:cNvSpPr>
            <p:nvPr/>
          </p:nvSpPr>
          <p:spPr bwMode="auto">
            <a:xfrm>
              <a:off x="405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3" name="Rectangle 44">
              <a:extLst>
                <a:ext uri="{FF2B5EF4-FFF2-40B4-BE49-F238E27FC236}">
                  <a16:creationId xmlns:a16="http://schemas.microsoft.com/office/drawing/2014/main" id="{7807AD9B-3A59-4121-9F68-FB858FD6D2BC}"/>
                </a:ext>
              </a:extLst>
            </p:cNvPr>
            <p:cNvSpPr>
              <a:spLocks noChangeArrowheads="1"/>
            </p:cNvSpPr>
            <p:nvPr/>
          </p:nvSpPr>
          <p:spPr bwMode="auto">
            <a:xfrm>
              <a:off x="500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grpSp>
      <p:sp>
        <p:nvSpPr>
          <p:cNvPr id="47" name="Footnote example">
            <a:extLst>
              <a:ext uri="{FF2B5EF4-FFF2-40B4-BE49-F238E27FC236}">
                <a16:creationId xmlns:a16="http://schemas.microsoft.com/office/drawing/2014/main" id="{DBF27226-1CAE-4EC3-B7C2-CD7BFF212B2F}"/>
              </a:ext>
            </a:extLst>
          </p:cNvPr>
          <p:cNvSpPr txBox="1"/>
          <p:nvPr userDrawn="1"/>
        </p:nvSpPr>
        <p:spPr>
          <a:xfrm>
            <a:off x="550863" y="6310249"/>
            <a:ext cx="9030915" cy="276999"/>
          </a:xfrm>
          <a:prstGeom prst="rect">
            <a:avLst/>
          </a:prstGeom>
          <a:noFill/>
        </p:spPr>
        <p:txBody>
          <a:bodyPr wrap="square" lIns="0" tIns="0" rIns="0" bIns="0" rtlCol="0" anchor="b">
            <a:spAutoFit/>
          </a:bodyPr>
          <a:lstStyle/>
          <a:p>
            <a:pPr marL="0" marR="0" lvl="0" indent="0" algn="l" defTabSz="91440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Footnotes/Notes</a:t>
            </a:r>
          </a:p>
          <a:p>
            <a:pPr marL="0" marR="0" lvl="0" indent="0" algn="l" defTabSz="91440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Source: Include a source here</a:t>
            </a:r>
          </a:p>
        </p:txBody>
      </p:sp>
      <p:sp>
        <p:nvSpPr>
          <p:cNvPr id="5" name="Slide Number Placeholder 4">
            <a:extLst>
              <a:ext uri="{FF2B5EF4-FFF2-40B4-BE49-F238E27FC236}">
                <a16:creationId xmlns:a16="http://schemas.microsoft.com/office/drawing/2014/main" id="{75491C5D-1CCA-4AD2-960D-E2D2520D37E4}"/>
              </a:ext>
            </a:extLst>
          </p:cNvPr>
          <p:cNvSpPr>
            <a:spLocks noGrp="1"/>
          </p:cNvSpPr>
          <p:nvPr userDrawn="1">
            <p:ph type="sldNum" sz="quarter" idx="12"/>
          </p:nvPr>
        </p:nvSpPr>
        <p:spPr>
          <a:xfrm>
            <a:off x="11490154" y="6450226"/>
            <a:ext cx="150682" cy="1538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2547BBBC-05CB-49BC-A9CC-2D869F0C1D2C}" type="slidenum">
              <a:rPr lang="en-IN" smtClean="0"/>
              <a:pPr/>
              <a:t>‹#›</a:t>
            </a:fld>
            <a:endParaRPr lang="en-IN"/>
          </a:p>
        </p:txBody>
      </p:sp>
      <p:grpSp>
        <p:nvGrpSpPr>
          <p:cNvPr id="2" name="Group 1">
            <a:extLst>
              <a:ext uri="{FF2B5EF4-FFF2-40B4-BE49-F238E27FC236}">
                <a16:creationId xmlns:a16="http://schemas.microsoft.com/office/drawing/2014/main" id="{0A5092CC-99B7-42FA-B922-D9A469AA61A3}"/>
              </a:ext>
            </a:extLst>
          </p:cNvPr>
          <p:cNvGrpSpPr/>
          <p:nvPr userDrawn="1"/>
        </p:nvGrpSpPr>
        <p:grpSpPr>
          <a:xfrm>
            <a:off x="550864" y="6156604"/>
            <a:ext cx="11089971" cy="55199"/>
            <a:chOff x="550864" y="6156603"/>
            <a:chExt cx="11089971" cy="55199"/>
          </a:xfrm>
        </p:grpSpPr>
        <p:sp>
          <p:nvSpPr>
            <p:cNvPr id="51" name="Rectangle 50">
              <a:extLst>
                <a:ext uri="{FF2B5EF4-FFF2-40B4-BE49-F238E27FC236}">
                  <a16:creationId xmlns:a16="http://schemas.microsoft.com/office/drawing/2014/main" id="{C7D78F6B-68EA-4677-8270-E6CE44B4A9DC}"/>
                </a:ext>
              </a:extLst>
            </p:cNvPr>
            <p:cNvSpPr/>
            <p:nvPr userDrawn="1"/>
          </p:nvSpPr>
          <p:spPr>
            <a:xfrm>
              <a:off x="550864"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2" name="Rectangle 51">
              <a:extLst>
                <a:ext uri="{FF2B5EF4-FFF2-40B4-BE49-F238E27FC236}">
                  <a16:creationId xmlns:a16="http://schemas.microsoft.com/office/drawing/2014/main" id="{B6E6D155-C668-4620-947B-CD6756DB3E3F}"/>
                </a:ext>
              </a:extLst>
            </p:cNvPr>
            <p:cNvSpPr/>
            <p:nvPr userDrawn="1"/>
          </p:nvSpPr>
          <p:spPr>
            <a:xfrm>
              <a:off x="5104050"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3" name="Rectangle 52">
              <a:extLst>
                <a:ext uri="{FF2B5EF4-FFF2-40B4-BE49-F238E27FC236}">
                  <a16:creationId xmlns:a16="http://schemas.microsoft.com/office/drawing/2014/main" id="{53A33606-AE46-4272-A076-D6F1DEF2BE14}"/>
                </a:ext>
              </a:extLst>
            </p:cNvPr>
            <p:cNvSpPr/>
            <p:nvPr userDrawn="1"/>
          </p:nvSpPr>
          <p:spPr>
            <a:xfrm>
              <a:off x="7380643"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4" name="Rectangle 53">
              <a:extLst>
                <a:ext uri="{FF2B5EF4-FFF2-40B4-BE49-F238E27FC236}">
                  <a16:creationId xmlns:a16="http://schemas.microsoft.com/office/drawing/2014/main" id="{97AF00D4-2C2C-4B64-AC48-30E76E740B68}"/>
                </a:ext>
              </a:extLst>
            </p:cNvPr>
            <p:cNvSpPr/>
            <p:nvPr userDrawn="1"/>
          </p:nvSpPr>
          <p:spPr>
            <a:xfrm>
              <a:off x="9657235"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5" name="Rectangle 54">
              <a:extLst>
                <a:ext uri="{FF2B5EF4-FFF2-40B4-BE49-F238E27FC236}">
                  <a16:creationId xmlns:a16="http://schemas.microsoft.com/office/drawing/2014/main" id="{F53F07A3-100A-4285-8103-25EB4F518B92}"/>
                </a:ext>
              </a:extLst>
            </p:cNvPr>
            <p:cNvSpPr/>
            <p:nvPr userDrawn="1"/>
          </p:nvSpPr>
          <p:spPr>
            <a:xfrm>
              <a:off x="2827457"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grpSp>
        <p:nvGrpSpPr>
          <p:cNvPr id="56" name="Group 55">
            <a:extLst>
              <a:ext uri="{FF2B5EF4-FFF2-40B4-BE49-F238E27FC236}">
                <a16:creationId xmlns:a16="http://schemas.microsoft.com/office/drawing/2014/main" id="{9C3F2152-358B-4AF4-9E4C-FFC021458588}"/>
              </a:ext>
            </a:extLst>
          </p:cNvPr>
          <p:cNvGrpSpPr/>
          <p:nvPr userDrawn="1"/>
        </p:nvGrpSpPr>
        <p:grpSpPr>
          <a:xfrm>
            <a:off x="11979364" y="4535495"/>
            <a:ext cx="110800" cy="2041949"/>
            <a:chOff x="11979441" y="4535494"/>
            <a:chExt cx="110801" cy="2041949"/>
          </a:xfrm>
        </p:grpSpPr>
        <p:grpSp>
          <p:nvGrpSpPr>
            <p:cNvPr id="57" name="Group 56">
              <a:extLst>
                <a:ext uri="{FF2B5EF4-FFF2-40B4-BE49-F238E27FC236}">
                  <a16:creationId xmlns:a16="http://schemas.microsoft.com/office/drawing/2014/main" id="{0EE3E2D1-AA6B-4858-AEA5-CA4E153942A1}"/>
                </a:ext>
              </a:extLst>
            </p:cNvPr>
            <p:cNvGrpSpPr/>
            <p:nvPr userDrawn="1"/>
          </p:nvGrpSpPr>
          <p:grpSpPr>
            <a:xfrm>
              <a:off x="11998460" y="6135518"/>
              <a:ext cx="68500" cy="441924"/>
              <a:chOff x="11998459" y="6162188"/>
              <a:chExt cx="68500" cy="441924"/>
            </a:xfrm>
          </p:grpSpPr>
          <p:sp>
            <p:nvSpPr>
              <p:cNvPr id="60" name="Freeform: Shape 59">
                <a:extLst>
                  <a:ext uri="{FF2B5EF4-FFF2-40B4-BE49-F238E27FC236}">
                    <a16:creationId xmlns:a16="http://schemas.microsoft.com/office/drawing/2014/main" id="{8F01DC23-2710-4E23-8ECF-D42A01049798}"/>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1" name="Freeform: Shape 60">
                <a:extLst>
                  <a:ext uri="{FF2B5EF4-FFF2-40B4-BE49-F238E27FC236}">
                    <a16:creationId xmlns:a16="http://schemas.microsoft.com/office/drawing/2014/main" id="{625F897C-F6DC-43F6-83A9-103566BB7B1A}"/>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2" name="Freeform: Shape 61">
                <a:extLst>
                  <a:ext uri="{FF2B5EF4-FFF2-40B4-BE49-F238E27FC236}">
                    <a16:creationId xmlns:a16="http://schemas.microsoft.com/office/drawing/2014/main" id="{297483D6-4F68-4046-9938-3975F46B128B}"/>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3" name="Freeform: Shape 62">
                <a:extLst>
                  <a:ext uri="{FF2B5EF4-FFF2-40B4-BE49-F238E27FC236}">
                    <a16:creationId xmlns:a16="http://schemas.microsoft.com/office/drawing/2014/main" id="{60260B8F-626E-4F6C-82D6-73BBB93D898A}"/>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4" name="Freeform: Shape 63">
                <a:extLst>
                  <a:ext uri="{FF2B5EF4-FFF2-40B4-BE49-F238E27FC236}">
                    <a16:creationId xmlns:a16="http://schemas.microsoft.com/office/drawing/2014/main" id="{C8041FBB-4E11-4186-939C-922BB885CE7F}"/>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5" name="Freeform: Shape 64">
                <a:extLst>
                  <a:ext uri="{FF2B5EF4-FFF2-40B4-BE49-F238E27FC236}">
                    <a16:creationId xmlns:a16="http://schemas.microsoft.com/office/drawing/2014/main" id="{9B9D46F4-06A5-41BD-A370-19C37CA28B5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6" name="Freeform: Shape 65">
                <a:extLst>
                  <a:ext uri="{FF2B5EF4-FFF2-40B4-BE49-F238E27FC236}">
                    <a16:creationId xmlns:a16="http://schemas.microsoft.com/office/drawing/2014/main" id="{B4380E05-CB91-42D7-A593-68D7E79B69EF}"/>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7" name="Freeform: Shape 66">
                <a:extLst>
                  <a:ext uri="{FF2B5EF4-FFF2-40B4-BE49-F238E27FC236}">
                    <a16:creationId xmlns:a16="http://schemas.microsoft.com/office/drawing/2014/main" id="{0D399139-04A8-4906-A0E9-F32ED37B1DB5}"/>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8" name="Freeform: Shape 67">
                <a:extLst>
                  <a:ext uri="{FF2B5EF4-FFF2-40B4-BE49-F238E27FC236}">
                    <a16:creationId xmlns:a16="http://schemas.microsoft.com/office/drawing/2014/main" id="{5E2C3744-960D-4FE8-A425-0A1BCCBFDCE3}"/>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9" name="Freeform: Shape 68">
                <a:extLst>
                  <a:ext uri="{FF2B5EF4-FFF2-40B4-BE49-F238E27FC236}">
                    <a16:creationId xmlns:a16="http://schemas.microsoft.com/office/drawing/2014/main" id="{4656CA51-5E36-4B65-AAB5-604B2FFF1CA6}"/>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0" name="Freeform: Shape 69">
                <a:extLst>
                  <a:ext uri="{FF2B5EF4-FFF2-40B4-BE49-F238E27FC236}">
                    <a16:creationId xmlns:a16="http://schemas.microsoft.com/office/drawing/2014/main" id="{0BEF9EA6-DC0A-4745-950A-75EB35C11A83}"/>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1" name="Freeform: Shape 70">
                <a:extLst>
                  <a:ext uri="{FF2B5EF4-FFF2-40B4-BE49-F238E27FC236}">
                    <a16:creationId xmlns:a16="http://schemas.microsoft.com/office/drawing/2014/main" id="{C185182D-9507-4706-B5C3-7D60904B8C4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2" name="Freeform: Shape 71">
                <a:extLst>
                  <a:ext uri="{FF2B5EF4-FFF2-40B4-BE49-F238E27FC236}">
                    <a16:creationId xmlns:a16="http://schemas.microsoft.com/office/drawing/2014/main" id="{DC967172-2751-4E17-ACEB-B9AC16A1C8EE}"/>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58" name="Graphic 57">
              <a:extLst>
                <a:ext uri="{FF2B5EF4-FFF2-40B4-BE49-F238E27FC236}">
                  <a16:creationId xmlns:a16="http://schemas.microsoft.com/office/drawing/2014/main" id="{B1C13260-A832-4897-8C2A-B004FA9AB53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11811888" y="6322371"/>
              <a:ext cx="441438" cy="68706"/>
            </a:xfrm>
            <a:prstGeom prst="rect">
              <a:avLst/>
            </a:prstGeom>
          </p:spPr>
        </p:pic>
        <p:sp>
          <p:nvSpPr>
            <p:cNvPr id="59" name="Copyright">
              <a:extLst>
                <a:ext uri="{FF2B5EF4-FFF2-40B4-BE49-F238E27FC236}">
                  <a16:creationId xmlns:a16="http://schemas.microsoft.com/office/drawing/2014/main" id="{4E29D673-EFE2-4CE9-96D3-54B928054039}"/>
                </a:ext>
              </a:extLst>
            </p:cNvPr>
            <p:cNvSpPr txBox="1"/>
            <p:nvPr userDrawn="1"/>
          </p:nvSpPr>
          <p:spPr>
            <a:xfrm rot="16200000">
              <a:off x="11250973" y="5263962"/>
              <a:ext cx="1567737"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
        <p:nvSpPr>
          <p:cNvPr id="4" name="Title 3">
            <a:extLst>
              <a:ext uri="{FF2B5EF4-FFF2-40B4-BE49-F238E27FC236}">
                <a16:creationId xmlns:a16="http://schemas.microsoft.com/office/drawing/2014/main" id="{9679ACBB-550D-47A2-9ADD-A6C09F32A2FB}"/>
              </a:ext>
            </a:extLst>
          </p:cNvPr>
          <p:cNvSpPr>
            <a:spLocks noGrp="1"/>
          </p:cNvSpPr>
          <p:nvPr>
            <p:ph type="title"/>
          </p:nvPr>
        </p:nvSpPr>
        <p:spPr>
          <a:xfrm>
            <a:off x="531814" y="560589"/>
            <a:ext cx="11089972" cy="443187"/>
          </a:xfrm>
        </p:spPr>
        <p:txBody>
          <a:bodyPr vert="horz"/>
          <a:lstStyle/>
          <a:p>
            <a:r>
              <a:rPr lang="en-US"/>
              <a:t>Click to edit Master title style</a:t>
            </a:r>
            <a:endParaRPr lang="en-IN"/>
          </a:p>
        </p:txBody>
      </p:sp>
      <p:cxnSp>
        <p:nvCxnSpPr>
          <p:cNvPr id="73" name="Straight Connector 72">
            <a:extLst>
              <a:ext uri="{FF2B5EF4-FFF2-40B4-BE49-F238E27FC236}">
                <a16:creationId xmlns:a16="http://schemas.microsoft.com/office/drawing/2014/main" id="{DA9FA602-B0B9-4981-B1E1-9FFC8BD86320}"/>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64353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Blue Layout" preserve="1">
  <p:cSld name="Blue Layout">
    <p:spTree>
      <p:nvGrpSpPr>
        <p:cNvPr id="1" name="Shape 48"/>
        <p:cNvGrpSpPr/>
        <p:nvPr/>
      </p:nvGrpSpPr>
      <p:grpSpPr>
        <a:xfrm>
          <a:off x="0" y="0"/>
          <a:ext cx="0" cy="0"/>
          <a:chOff x="0" y="0"/>
          <a:chExt cx="0" cy="0"/>
        </a:xfrm>
      </p:grpSpPr>
      <p:sp>
        <p:nvSpPr>
          <p:cNvPr id="49" name="Google Shape;49;p83"/>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50" name="Google Shape;50;p83"/>
          <p:cNvGrpSpPr/>
          <p:nvPr/>
        </p:nvGrpSpPr>
        <p:grpSpPr>
          <a:xfrm>
            <a:off x="11998459" y="6162189"/>
            <a:ext cx="68500" cy="441925"/>
            <a:chOff x="11998459" y="6162188"/>
            <a:chExt cx="68500" cy="441925"/>
          </a:xfrm>
        </p:grpSpPr>
        <p:sp>
          <p:nvSpPr>
            <p:cNvPr id="51" name="Google Shape;51;p83"/>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2" name="Google Shape;52;p83"/>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3" name="Google Shape;53;p83"/>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4" name="Google Shape;54;p83"/>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55;p83"/>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56;p83"/>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7" name="Google Shape;57;p83"/>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8" name="Google Shape;58;p83"/>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9" name="Google Shape;59;p83"/>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 name="Google Shape;60;p83"/>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1" name="Google Shape;61;p83"/>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2" name="Google Shape;62;p83"/>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3" name="Google Shape;63;p83"/>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64" name="Google Shape;64;p83"/>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dirty="0">
                <a:solidFill>
                  <a:schemeClr val="lt1"/>
                </a:solidFill>
                <a:latin typeface="Calibri"/>
                <a:ea typeface="Calibri"/>
                <a:cs typeface="Calibri"/>
                <a:sym typeface="Calibri"/>
              </a:rPr>
              <a:t>Copyright © 2023. All rights reserved.</a:t>
            </a:r>
            <a:endParaRPr sz="1400" dirty="0"/>
          </a:p>
        </p:txBody>
      </p:sp>
      <p:sp>
        <p:nvSpPr>
          <p:cNvPr id="65" name="Google Shape;65;p83"/>
          <p:cNvSpPr txBox="1">
            <a:spLocks noGrp="1"/>
          </p:cNvSpPr>
          <p:nvPr>
            <p:ph type="ftr" idx="11"/>
          </p:nvPr>
        </p:nvSpPr>
        <p:spPr>
          <a:xfrm>
            <a:off x="550863" y="6429937"/>
            <a:ext cx="955390" cy="153856"/>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83"/>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0205011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Title Slide (Option 2)" type="title">
  <p:cSld name="Title Slide (Option 2)">
    <p:spTree>
      <p:nvGrpSpPr>
        <p:cNvPr id="1" name="Shape 32"/>
        <p:cNvGrpSpPr/>
        <p:nvPr/>
      </p:nvGrpSpPr>
      <p:grpSpPr>
        <a:xfrm>
          <a:off x="0" y="0"/>
          <a:ext cx="0" cy="0"/>
          <a:chOff x="0" y="0"/>
          <a:chExt cx="0" cy="0"/>
        </a:xfrm>
      </p:grpSpPr>
      <p:pic>
        <p:nvPicPr>
          <p:cNvPr id="33" name="Google Shape;33;p46" descr="A large body of water with a city in the background&#10;&#10;Description automatically generated"/>
          <p:cNvPicPr preferRelativeResize="0"/>
          <p:nvPr/>
        </p:nvPicPr>
        <p:blipFill rotWithShape="1">
          <a:blip r:embed="rId2">
            <a:alphaModFix/>
          </a:blip>
          <a:srcRect/>
          <a:stretch/>
        </p:blipFill>
        <p:spPr>
          <a:xfrm>
            <a:off x="269998" y="270000"/>
            <a:ext cx="11652001" cy="6318000"/>
          </a:xfrm>
          <a:prstGeom prst="rect">
            <a:avLst/>
          </a:prstGeom>
          <a:noFill/>
          <a:ln>
            <a:noFill/>
          </a:ln>
        </p:spPr>
      </p:pic>
      <p:sp>
        <p:nvSpPr>
          <p:cNvPr id="34" name="Google Shape;34;p46"/>
          <p:cNvSpPr/>
          <p:nvPr/>
        </p:nvSpPr>
        <p:spPr>
          <a:xfrm>
            <a:off x="536449" y="540000"/>
            <a:ext cx="6363891" cy="6318000"/>
          </a:xfrm>
          <a:prstGeom prst="rect">
            <a:avLst/>
          </a:prstGeom>
          <a:gradFill>
            <a:gsLst>
              <a:gs pos="0">
                <a:srgbClr val="062379"/>
              </a:gs>
              <a:gs pos="26000">
                <a:srgbClr val="0934B6">
                  <a:alpha val="89411"/>
                </a:srgbClr>
              </a:gs>
              <a:gs pos="64000">
                <a:srgbClr val="036DFF">
                  <a:alpha val="80000"/>
                </a:srgbClr>
              </a:gs>
              <a:gs pos="100000">
                <a:srgbClr val="43E1D3">
                  <a:alpha val="89411"/>
                </a:srgbClr>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 name="Google Shape;35;p46"/>
          <p:cNvSpPr txBox="1">
            <a:spLocks noGrp="1"/>
          </p:cNvSpPr>
          <p:nvPr>
            <p:ph type="ctrTitle"/>
          </p:nvPr>
        </p:nvSpPr>
        <p:spPr>
          <a:xfrm>
            <a:off x="902896" y="3605237"/>
            <a:ext cx="5337943" cy="692555"/>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46"/>
          <p:cNvSpPr txBox="1">
            <a:spLocks noGrp="1"/>
          </p:cNvSpPr>
          <p:nvPr>
            <p:ph type="subTitle" idx="1"/>
          </p:nvPr>
        </p:nvSpPr>
        <p:spPr>
          <a:xfrm>
            <a:off x="902896" y="4348580"/>
            <a:ext cx="5337943" cy="420385"/>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7" name="Google Shape;37;p46"/>
          <p:cNvSpPr txBox="1">
            <a:spLocks noGrp="1"/>
          </p:cNvSpPr>
          <p:nvPr>
            <p:ph type="dt" idx="10"/>
          </p:nvPr>
        </p:nvSpPr>
        <p:spPr>
          <a:xfrm>
            <a:off x="902897" y="5923690"/>
            <a:ext cx="1599925" cy="2153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38" name="Google Shape;38;p46"/>
          <p:cNvPicPr preferRelativeResize="0"/>
          <p:nvPr/>
        </p:nvPicPr>
        <p:blipFill rotWithShape="1">
          <a:blip r:embed="rId3">
            <a:alphaModFix/>
          </a:blip>
          <a:srcRect/>
          <a:stretch/>
        </p:blipFill>
        <p:spPr>
          <a:xfrm>
            <a:off x="902897" y="901733"/>
            <a:ext cx="2497452" cy="574280"/>
          </a:xfrm>
          <a:prstGeom prst="rect">
            <a:avLst/>
          </a:prstGeom>
          <a:noFill/>
          <a:ln>
            <a:noFill/>
          </a:ln>
        </p:spPr>
      </p:pic>
    </p:spTree>
    <p:extLst>
      <p:ext uri="{BB962C8B-B14F-4D97-AF65-F5344CB8AC3E}">
        <p14:creationId xmlns:p14="http://schemas.microsoft.com/office/powerpoint/2010/main" val="16930463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9"/>
        <p:cNvGrpSpPr/>
        <p:nvPr/>
      </p:nvGrpSpPr>
      <p:grpSpPr>
        <a:xfrm>
          <a:off x="0" y="0"/>
          <a:ext cx="0" cy="0"/>
          <a:chOff x="0" y="0"/>
          <a:chExt cx="0" cy="0"/>
        </a:xfrm>
      </p:grpSpPr>
      <p:sp>
        <p:nvSpPr>
          <p:cNvPr id="40" name="Google Shape;40;p47"/>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7"/>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42" name="Google Shape;42;p47"/>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779839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2 Blue on Right">
  <p:cSld name="1/2 Blue on Right">
    <p:spTree>
      <p:nvGrpSpPr>
        <p:cNvPr id="1" name="Shape 74"/>
        <p:cNvGrpSpPr/>
        <p:nvPr/>
      </p:nvGrpSpPr>
      <p:grpSpPr>
        <a:xfrm>
          <a:off x="0" y="0"/>
          <a:ext cx="0" cy="0"/>
          <a:chOff x="0" y="0"/>
          <a:chExt cx="0" cy="0"/>
        </a:xfrm>
      </p:grpSpPr>
      <p:sp>
        <p:nvSpPr>
          <p:cNvPr id="75" name="Google Shape;75;p48"/>
          <p:cNvSpPr/>
          <p:nvPr/>
        </p:nvSpPr>
        <p:spPr>
          <a:xfrm>
            <a:off x="6096000" y="-1"/>
            <a:ext cx="6098539" cy="6858001"/>
          </a:xfrm>
          <a:prstGeom prst="rect">
            <a:avLst/>
          </a:prstGeom>
          <a:gradFill>
            <a:gsLst>
              <a:gs pos="0">
                <a:srgbClr val="062379"/>
              </a:gs>
              <a:gs pos="16000">
                <a:srgbClr val="062379"/>
              </a:gs>
              <a:gs pos="45000">
                <a:srgbClr val="0934B6">
                  <a:alpha val="87058"/>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6" name="Google Shape;76;p48"/>
          <p:cNvSpPr txBox="1">
            <a:spLocks noGrp="1"/>
          </p:cNvSpPr>
          <p:nvPr>
            <p:ph type="title"/>
          </p:nvPr>
        </p:nvSpPr>
        <p:spPr>
          <a:xfrm>
            <a:off x="539400" y="562841"/>
            <a:ext cx="5205071" cy="44319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 name="Google Shape;77;p48"/>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48"/>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79" name="Google Shape;79;p48"/>
          <p:cNvGrpSpPr/>
          <p:nvPr/>
        </p:nvGrpSpPr>
        <p:grpSpPr>
          <a:xfrm>
            <a:off x="11998459" y="6162188"/>
            <a:ext cx="68500" cy="441925"/>
            <a:chOff x="11998459" y="6162188"/>
            <a:chExt cx="68500" cy="441925"/>
          </a:xfrm>
        </p:grpSpPr>
        <p:sp>
          <p:nvSpPr>
            <p:cNvPr id="80" name="Google Shape;80;p4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 name="Google Shape;81;p4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 name="Google Shape;82;p4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 name="Google Shape;83;p4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 name="Google Shape;84;p4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 name="Google Shape;85;p4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 name="Google Shape;86;p4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 name="Google Shape;87;p4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 name="Google Shape;88;p4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9" name="Google Shape;89;p4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 name="Google Shape;90;p4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 name="Google Shape;92;p4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3" name="Google Shape;93;p48"/>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2023. All rights reserved.</a:t>
            </a:r>
            <a:endParaRPr sz="1400" b="0" i="0" u="none" strike="noStrike" cap="none">
              <a:solidFill>
                <a:srgbClr val="000000"/>
              </a:solidFill>
              <a:latin typeface="Calibri"/>
              <a:ea typeface="Calibri"/>
              <a:cs typeface="Calibri"/>
              <a:sym typeface="Calibri"/>
            </a:endParaRPr>
          </a:p>
        </p:txBody>
      </p:sp>
      <p:sp>
        <p:nvSpPr>
          <p:cNvPr id="94" name="Google Shape;94;p48"/>
          <p:cNvSpPr txBox="1">
            <a:spLocks noGrp="1"/>
          </p:cNvSpPr>
          <p:nvPr>
            <p:ph type="ftr" idx="11"/>
          </p:nvPr>
        </p:nvSpPr>
        <p:spPr>
          <a:xfrm>
            <a:off x="550863" y="6450225"/>
            <a:ext cx="5220350" cy="153888"/>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Breaker Slide_1">
  <p:cSld name="Breaker Slide_1">
    <p:bg>
      <p:bgPr>
        <a:solidFill>
          <a:schemeClr val="lt2"/>
        </a:solidFill>
        <a:effectLst/>
      </p:bgPr>
    </p:bg>
    <p:spTree>
      <p:nvGrpSpPr>
        <p:cNvPr id="1" name="Shape 43"/>
        <p:cNvGrpSpPr/>
        <p:nvPr/>
      </p:nvGrpSpPr>
      <p:grpSpPr>
        <a:xfrm>
          <a:off x="0" y="0"/>
          <a:ext cx="0" cy="0"/>
          <a:chOff x="0" y="0"/>
          <a:chExt cx="0" cy="0"/>
        </a:xfrm>
      </p:grpSpPr>
      <p:pic>
        <p:nvPicPr>
          <p:cNvPr id="44" name="Google Shape;44;p6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45" name="Google Shape;45;p68"/>
          <p:cNvSpPr/>
          <p:nvPr/>
        </p:nvSpPr>
        <p:spPr>
          <a:xfrm>
            <a:off x="1" y="0"/>
            <a:ext cx="2682587" cy="6858000"/>
          </a:xfrm>
          <a:prstGeom prst="rect">
            <a:avLst/>
          </a:prstGeom>
          <a:solidFill>
            <a:schemeClr val="lt2">
              <a:alpha val="69411"/>
            </a:schemeClr>
          </a:soli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 name="Google Shape;46;p68"/>
          <p:cNvSpPr/>
          <p:nvPr/>
        </p:nvSpPr>
        <p:spPr>
          <a:xfrm>
            <a:off x="1" y="3700464"/>
            <a:ext cx="9412014" cy="2414587"/>
          </a:xfrm>
          <a:prstGeom prst="rect">
            <a:avLst/>
          </a:prstGeom>
          <a:gradFill>
            <a:gsLst>
              <a:gs pos="0">
                <a:srgbClr val="062379"/>
              </a:gs>
              <a:gs pos="55000">
                <a:srgbClr val="385ED2"/>
              </a:gs>
              <a:gs pos="76000">
                <a:srgbClr val="4873F5">
                  <a:alpha val="89411"/>
                </a:srgbClr>
              </a:gs>
              <a:gs pos="100000">
                <a:srgbClr val="43E1D3">
                  <a:alpha val="89411"/>
                </a:srgbClr>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 name="Google Shape;47;p68"/>
          <p:cNvSpPr txBox="1">
            <a:spLocks noGrp="1"/>
          </p:cNvSpPr>
          <p:nvPr>
            <p:ph type="title"/>
          </p:nvPr>
        </p:nvSpPr>
        <p:spPr>
          <a:xfrm>
            <a:off x="737592" y="4477738"/>
            <a:ext cx="8494899" cy="831056"/>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 name="Google Shape;48;p68"/>
          <p:cNvGrpSpPr/>
          <p:nvPr/>
        </p:nvGrpSpPr>
        <p:grpSpPr>
          <a:xfrm>
            <a:off x="11998459" y="6162189"/>
            <a:ext cx="68500" cy="441925"/>
            <a:chOff x="11998459" y="6162188"/>
            <a:chExt cx="68500" cy="441925"/>
          </a:xfrm>
        </p:grpSpPr>
        <p:sp>
          <p:nvSpPr>
            <p:cNvPr id="49" name="Google Shape;49;p6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 name="Google Shape;50;p6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 name="Google Shape;51;p6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 name="Google Shape;52;p6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 name="Google Shape;53;p6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 name="Google Shape;54;p6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 name="Google Shape;55;p6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 name="Google Shape;56;p6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 name="Google Shape;57;p6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 name="Google Shape;58;p6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 name="Google Shape;59;p6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 name="Google Shape;60;p6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 name="Google Shape;61;p6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 name="Google Shape;62;p68"/>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63" name="Google Shape;63;p68"/>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890247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Last Page">
  <p:cSld name="Last Page">
    <p:spTree>
      <p:nvGrpSpPr>
        <p:cNvPr id="1" name="Shape 121"/>
        <p:cNvGrpSpPr/>
        <p:nvPr/>
      </p:nvGrpSpPr>
      <p:grpSpPr>
        <a:xfrm>
          <a:off x="0" y="0"/>
          <a:ext cx="0" cy="0"/>
          <a:chOff x="0" y="0"/>
          <a:chExt cx="0" cy="0"/>
        </a:xfrm>
      </p:grpSpPr>
      <p:sp>
        <p:nvSpPr>
          <p:cNvPr id="122" name="Google Shape;122;p57"/>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3" name="Google Shape;123;p57"/>
          <p:cNvSpPr txBox="1"/>
          <p:nvPr/>
        </p:nvSpPr>
        <p:spPr>
          <a:xfrm>
            <a:off x="550863" y="5965462"/>
            <a:ext cx="3028906"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sng" strike="noStrike" cap="none" dirty="0">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endParaRPr sz="1200" b="1" i="0" u="none" strike="noStrike" cap="none" dirty="0">
              <a:solidFill>
                <a:srgbClr val="43E1D3"/>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lt1"/>
                </a:solidFill>
                <a:latin typeface="Calibri"/>
                <a:ea typeface="Calibri"/>
                <a:cs typeface="Calibri"/>
                <a:sym typeface="Calibri"/>
              </a:rPr>
              <a:t>Infomineo Copyright © 2023. All rights reserved.</a:t>
            </a:r>
            <a:endParaRPr sz="1400" b="0" i="0" u="none" strike="noStrike" cap="none" dirty="0">
              <a:solidFill>
                <a:srgbClr val="000000"/>
              </a:solidFill>
              <a:latin typeface="Arial"/>
              <a:ea typeface="Arial"/>
              <a:cs typeface="Arial"/>
              <a:sym typeface="Arial"/>
            </a:endParaRPr>
          </a:p>
        </p:txBody>
      </p:sp>
      <p:pic>
        <p:nvPicPr>
          <p:cNvPr id="124" name="Google Shape;124;p57"/>
          <p:cNvPicPr preferRelativeResize="0"/>
          <p:nvPr/>
        </p:nvPicPr>
        <p:blipFill rotWithShape="1">
          <a:blip r:embed="rId3">
            <a:alphaModFix/>
          </a:blip>
          <a:srcRect/>
          <a:stretch/>
        </p:blipFill>
        <p:spPr>
          <a:xfrm>
            <a:off x="4256669" y="3006054"/>
            <a:ext cx="3678662" cy="845895"/>
          </a:xfrm>
          <a:prstGeom prst="rect">
            <a:avLst/>
          </a:prstGeom>
          <a:noFill/>
          <a:ln>
            <a:noFill/>
          </a:ln>
        </p:spPr>
      </p:pic>
      <p:pic>
        <p:nvPicPr>
          <p:cNvPr id="125" name="Google Shape;125;p57">
            <a:hlinkClick r:id="rId4"/>
          </p:cNvPr>
          <p:cNvPicPr preferRelativeResize="0"/>
          <p:nvPr/>
        </p:nvPicPr>
        <p:blipFill rotWithShape="1">
          <a:blip r:embed="rId5">
            <a:alphaModFix/>
          </a:blip>
          <a:srcRect/>
          <a:stretch/>
        </p:blipFill>
        <p:spPr>
          <a:xfrm>
            <a:off x="11323329" y="5965461"/>
            <a:ext cx="370332" cy="370332"/>
          </a:xfrm>
          <a:prstGeom prst="rect">
            <a:avLst/>
          </a:prstGeom>
          <a:noFill/>
          <a:ln>
            <a:noFill/>
          </a:ln>
        </p:spPr>
      </p:pic>
      <p:pic>
        <p:nvPicPr>
          <p:cNvPr id="126" name="Google Shape;126;p57">
            <a:hlinkClick r:id="rId6"/>
          </p:cNvPr>
          <p:cNvPicPr preferRelativeResize="0"/>
          <p:nvPr/>
        </p:nvPicPr>
        <p:blipFill rotWithShape="1">
          <a:blip r:embed="rId7">
            <a:alphaModFix/>
          </a:blip>
          <a:srcRect/>
          <a:stretch/>
        </p:blipFill>
        <p:spPr>
          <a:xfrm>
            <a:off x="10825965" y="5965461"/>
            <a:ext cx="368808" cy="370332"/>
          </a:xfrm>
          <a:prstGeom prst="rect">
            <a:avLst/>
          </a:prstGeom>
          <a:noFill/>
          <a:ln>
            <a:noFill/>
          </a:ln>
        </p:spPr>
      </p:pic>
      <p:pic>
        <p:nvPicPr>
          <p:cNvPr id="127" name="Google Shape;127;p57">
            <a:hlinkClick r:id="rId8"/>
          </p:cNvPr>
          <p:cNvPicPr preferRelativeResize="0"/>
          <p:nvPr/>
        </p:nvPicPr>
        <p:blipFill rotWithShape="1">
          <a:blip r:embed="rId9">
            <a:alphaModFix/>
          </a:blip>
          <a:srcRect/>
          <a:stretch/>
        </p:blipFill>
        <p:spPr>
          <a:xfrm>
            <a:off x="10328600" y="5965461"/>
            <a:ext cx="368808" cy="370332"/>
          </a:xfrm>
          <a:prstGeom prst="rect">
            <a:avLst/>
          </a:prstGeom>
          <a:noFill/>
          <a:ln>
            <a:noFill/>
          </a:ln>
        </p:spPr>
      </p:pic>
    </p:spTree>
    <p:extLst>
      <p:ext uri="{BB962C8B-B14F-4D97-AF65-F5344CB8AC3E}">
        <p14:creationId xmlns:p14="http://schemas.microsoft.com/office/powerpoint/2010/main" val="29506575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_Title only (with background)">
  <p:cSld name="1_Title only (with background)">
    <p:bg>
      <p:bgPr>
        <a:solidFill>
          <a:schemeClr val="lt2"/>
        </a:solidFill>
        <a:effectLst/>
      </p:bgPr>
    </p:bg>
    <p:spTree>
      <p:nvGrpSpPr>
        <p:cNvPr id="1" name="Shape 128"/>
        <p:cNvGrpSpPr/>
        <p:nvPr/>
      </p:nvGrpSpPr>
      <p:grpSpPr>
        <a:xfrm>
          <a:off x="0" y="0"/>
          <a:ext cx="0" cy="0"/>
          <a:chOff x="0" y="0"/>
          <a:chExt cx="0" cy="0"/>
        </a:xfrm>
      </p:grpSpPr>
      <p:sp>
        <p:nvSpPr>
          <p:cNvPr id="129" name="Google Shape;129;p50"/>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 name="Google Shape;130;p5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31" name="Google Shape;131;p50"/>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 name="Google Shape;132;p50"/>
          <p:cNvSpPr txBox="1">
            <a:spLocks noGrp="1"/>
          </p:cNvSpPr>
          <p:nvPr>
            <p:ph type="body" idx="1"/>
          </p:nvPr>
        </p:nvSpPr>
        <p:spPr>
          <a:xfrm>
            <a:off x="550862" y="1028325"/>
            <a:ext cx="11089972" cy="420385"/>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415737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Without Title">
  <p:cSld name="Without Title">
    <p:spTree>
      <p:nvGrpSpPr>
        <p:cNvPr id="1" name="Shape 133"/>
        <p:cNvGrpSpPr/>
        <p:nvPr/>
      </p:nvGrpSpPr>
      <p:grpSpPr>
        <a:xfrm>
          <a:off x="0" y="0"/>
          <a:ext cx="0" cy="0"/>
          <a:chOff x="0" y="0"/>
          <a:chExt cx="0" cy="0"/>
        </a:xfrm>
      </p:grpSpPr>
      <p:sp>
        <p:nvSpPr>
          <p:cNvPr id="134" name="Google Shape;134;p58"/>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grpSp>
        <p:nvGrpSpPr>
          <p:cNvPr id="135" name="Google Shape;135;p58"/>
          <p:cNvGrpSpPr/>
          <p:nvPr/>
        </p:nvGrpSpPr>
        <p:grpSpPr>
          <a:xfrm>
            <a:off x="11998459" y="6162189"/>
            <a:ext cx="68500" cy="441925"/>
            <a:chOff x="11998459" y="6162188"/>
            <a:chExt cx="68500" cy="441925"/>
          </a:xfrm>
        </p:grpSpPr>
        <p:sp>
          <p:nvSpPr>
            <p:cNvPr id="136" name="Google Shape;136;p5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7" name="Google Shape;137;p5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8" name="Google Shape;138;p5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9" name="Google Shape;139;p5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0" name="Google Shape;140;p5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1" name="Google Shape;141;p5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2" name="Google Shape;142;p5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3" name="Google Shape;143;p5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4" name="Google Shape;144;p5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5" name="Google Shape;145;p5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6" name="Google Shape;146;p5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7" name="Google Shape;147;p5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8" name="Google Shape;148;p5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149" name="Google Shape;149;p58"/>
          <p:cNvPicPr preferRelativeResize="0"/>
          <p:nvPr/>
        </p:nvPicPr>
        <p:blipFill rotWithShape="1">
          <a:blip r:embed="rId2">
            <a:alphaModFix/>
          </a:blip>
          <a:srcRect/>
          <a:stretch/>
        </p:blipFill>
        <p:spPr>
          <a:xfrm rot="-5400000">
            <a:off x="11811887" y="6349041"/>
            <a:ext cx="441438" cy="68706"/>
          </a:xfrm>
          <a:prstGeom prst="rect">
            <a:avLst/>
          </a:prstGeom>
          <a:noFill/>
          <a:ln>
            <a:noFill/>
          </a:ln>
        </p:spPr>
      </p:pic>
      <p:sp>
        <p:nvSpPr>
          <p:cNvPr id="150" name="Google Shape;150;p58"/>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rgbClr val="B4B4B4"/>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151" name="Google Shape;151;p58"/>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318381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2 Column">
  <p:cSld name="2 Column">
    <p:spTree>
      <p:nvGrpSpPr>
        <p:cNvPr id="1" name="Shape 152"/>
        <p:cNvGrpSpPr/>
        <p:nvPr/>
      </p:nvGrpSpPr>
      <p:grpSpPr>
        <a:xfrm>
          <a:off x="0" y="0"/>
          <a:ext cx="0" cy="0"/>
          <a:chOff x="0" y="0"/>
          <a:chExt cx="0" cy="0"/>
        </a:xfrm>
      </p:grpSpPr>
      <p:sp>
        <p:nvSpPr>
          <p:cNvPr id="153" name="Google Shape;153;p59"/>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 name="Google Shape;154;p59"/>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55" name="Google Shape;155;p59"/>
          <p:cNvSpPr txBox="1">
            <a:spLocks noGrp="1"/>
          </p:cNvSpPr>
          <p:nvPr>
            <p:ph type="body" idx="1"/>
          </p:nvPr>
        </p:nvSpPr>
        <p:spPr>
          <a:xfrm>
            <a:off x="550863" y="2175805"/>
            <a:ext cx="5400675"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6" name="Google Shape;156;p59"/>
          <p:cNvSpPr txBox="1">
            <a:spLocks noGrp="1"/>
          </p:cNvSpPr>
          <p:nvPr>
            <p:ph type="body" idx="2"/>
          </p:nvPr>
        </p:nvSpPr>
        <p:spPr>
          <a:xfrm>
            <a:off x="550863" y="1857376"/>
            <a:ext cx="5400675"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7" name="Google Shape;157;p59"/>
          <p:cNvSpPr txBox="1">
            <a:spLocks noGrp="1"/>
          </p:cNvSpPr>
          <p:nvPr>
            <p:ph type="body" idx="3"/>
          </p:nvPr>
        </p:nvSpPr>
        <p:spPr>
          <a:xfrm>
            <a:off x="6240464" y="2175805"/>
            <a:ext cx="5400675"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8" name="Google Shape;158;p59"/>
          <p:cNvSpPr txBox="1">
            <a:spLocks noGrp="1"/>
          </p:cNvSpPr>
          <p:nvPr>
            <p:ph type="body" idx="4"/>
          </p:nvPr>
        </p:nvSpPr>
        <p:spPr>
          <a:xfrm>
            <a:off x="6240464" y="1857376"/>
            <a:ext cx="5400675"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9" name="Google Shape;159;p59"/>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131157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3 Column">
  <p:cSld name="3 Column">
    <p:spTree>
      <p:nvGrpSpPr>
        <p:cNvPr id="1" name="Shape 160"/>
        <p:cNvGrpSpPr/>
        <p:nvPr/>
      </p:nvGrpSpPr>
      <p:grpSpPr>
        <a:xfrm>
          <a:off x="0" y="0"/>
          <a:ext cx="0" cy="0"/>
          <a:chOff x="0" y="0"/>
          <a:chExt cx="0" cy="0"/>
        </a:xfrm>
      </p:grpSpPr>
      <p:sp>
        <p:nvSpPr>
          <p:cNvPr id="161" name="Google Shape;161;p60"/>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6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63" name="Google Shape;163;p60"/>
          <p:cNvSpPr txBox="1">
            <a:spLocks noGrp="1"/>
          </p:cNvSpPr>
          <p:nvPr>
            <p:ph type="body" idx="1"/>
          </p:nvPr>
        </p:nvSpPr>
        <p:spPr>
          <a:xfrm>
            <a:off x="550865" y="2175805"/>
            <a:ext cx="3506976"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4" name="Google Shape;164;p60"/>
          <p:cNvSpPr txBox="1">
            <a:spLocks noGrp="1"/>
          </p:cNvSpPr>
          <p:nvPr>
            <p:ph type="body" idx="2"/>
          </p:nvPr>
        </p:nvSpPr>
        <p:spPr>
          <a:xfrm>
            <a:off x="550865" y="1857376"/>
            <a:ext cx="3506976"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5" name="Google Shape;165;p60"/>
          <p:cNvSpPr txBox="1">
            <a:spLocks noGrp="1"/>
          </p:cNvSpPr>
          <p:nvPr>
            <p:ph type="body" idx="3"/>
          </p:nvPr>
        </p:nvSpPr>
        <p:spPr>
          <a:xfrm>
            <a:off x="8135839" y="2175805"/>
            <a:ext cx="35053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6" name="Google Shape;166;p60"/>
          <p:cNvSpPr txBox="1">
            <a:spLocks noGrp="1"/>
          </p:cNvSpPr>
          <p:nvPr>
            <p:ph type="body" idx="4"/>
          </p:nvPr>
        </p:nvSpPr>
        <p:spPr>
          <a:xfrm>
            <a:off x="8135839" y="1857376"/>
            <a:ext cx="35053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7" name="Google Shape;167;p60"/>
          <p:cNvSpPr txBox="1">
            <a:spLocks noGrp="1"/>
          </p:cNvSpPr>
          <p:nvPr>
            <p:ph type="body" idx="5"/>
          </p:nvPr>
        </p:nvSpPr>
        <p:spPr>
          <a:xfrm>
            <a:off x="4344162" y="2175805"/>
            <a:ext cx="35053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8" name="Google Shape;168;p60"/>
          <p:cNvSpPr txBox="1">
            <a:spLocks noGrp="1"/>
          </p:cNvSpPr>
          <p:nvPr>
            <p:ph type="body" idx="6"/>
          </p:nvPr>
        </p:nvSpPr>
        <p:spPr>
          <a:xfrm>
            <a:off x="4344162" y="1857376"/>
            <a:ext cx="35053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9" name="Google Shape;169;p60"/>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928768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5 Column">
  <p:cSld name="5 Column">
    <p:spTree>
      <p:nvGrpSpPr>
        <p:cNvPr id="1" name="Shape 182"/>
        <p:cNvGrpSpPr/>
        <p:nvPr/>
      </p:nvGrpSpPr>
      <p:grpSpPr>
        <a:xfrm>
          <a:off x="0" y="0"/>
          <a:ext cx="0" cy="0"/>
          <a:chOff x="0" y="0"/>
          <a:chExt cx="0" cy="0"/>
        </a:xfrm>
      </p:grpSpPr>
      <p:sp>
        <p:nvSpPr>
          <p:cNvPr id="183" name="Google Shape;183;p62"/>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 name="Google Shape;184;p62"/>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85" name="Google Shape;185;p62"/>
          <p:cNvSpPr txBox="1">
            <a:spLocks noGrp="1"/>
          </p:cNvSpPr>
          <p:nvPr>
            <p:ph type="body" idx="1"/>
          </p:nvPr>
        </p:nvSpPr>
        <p:spPr>
          <a:xfrm>
            <a:off x="550865" y="2175805"/>
            <a:ext cx="19836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6" name="Google Shape;186;p62"/>
          <p:cNvSpPr txBox="1">
            <a:spLocks noGrp="1"/>
          </p:cNvSpPr>
          <p:nvPr>
            <p:ph type="body" idx="2"/>
          </p:nvPr>
        </p:nvSpPr>
        <p:spPr>
          <a:xfrm>
            <a:off x="550865" y="1857376"/>
            <a:ext cx="19836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7" name="Google Shape;187;p62"/>
          <p:cNvSpPr txBox="1">
            <a:spLocks noGrp="1"/>
          </p:cNvSpPr>
          <p:nvPr>
            <p:ph type="body" idx="3"/>
          </p:nvPr>
        </p:nvSpPr>
        <p:spPr>
          <a:xfrm>
            <a:off x="5104050" y="2175805"/>
            <a:ext cx="1980034"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8" name="Google Shape;188;p62"/>
          <p:cNvSpPr txBox="1">
            <a:spLocks noGrp="1"/>
          </p:cNvSpPr>
          <p:nvPr>
            <p:ph type="body" idx="4"/>
          </p:nvPr>
        </p:nvSpPr>
        <p:spPr>
          <a:xfrm>
            <a:off x="5104050" y="1857376"/>
            <a:ext cx="1980034"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9" name="Google Shape;189;p62"/>
          <p:cNvSpPr txBox="1">
            <a:spLocks noGrp="1"/>
          </p:cNvSpPr>
          <p:nvPr>
            <p:ph type="body" idx="5"/>
          </p:nvPr>
        </p:nvSpPr>
        <p:spPr>
          <a:xfrm>
            <a:off x="2827458" y="2175805"/>
            <a:ext cx="19836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0" name="Google Shape;190;p62"/>
          <p:cNvSpPr txBox="1">
            <a:spLocks noGrp="1"/>
          </p:cNvSpPr>
          <p:nvPr>
            <p:ph type="body" idx="6"/>
          </p:nvPr>
        </p:nvSpPr>
        <p:spPr>
          <a:xfrm>
            <a:off x="2827458" y="1857376"/>
            <a:ext cx="19836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1" name="Google Shape;191;p62"/>
          <p:cNvSpPr txBox="1">
            <a:spLocks noGrp="1"/>
          </p:cNvSpPr>
          <p:nvPr>
            <p:ph type="body" idx="7"/>
          </p:nvPr>
        </p:nvSpPr>
        <p:spPr>
          <a:xfrm>
            <a:off x="7380643" y="2175805"/>
            <a:ext cx="1980034"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2" name="Google Shape;192;p62"/>
          <p:cNvSpPr txBox="1">
            <a:spLocks noGrp="1"/>
          </p:cNvSpPr>
          <p:nvPr>
            <p:ph type="body" idx="8"/>
          </p:nvPr>
        </p:nvSpPr>
        <p:spPr>
          <a:xfrm>
            <a:off x="7380643" y="1857376"/>
            <a:ext cx="1980034"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3" name="Google Shape;193;p62"/>
          <p:cNvSpPr txBox="1">
            <a:spLocks noGrp="1"/>
          </p:cNvSpPr>
          <p:nvPr>
            <p:ph type="body" idx="9"/>
          </p:nvPr>
        </p:nvSpPr>
        <p:spPr>
          <a:xfrm>
            <a:off x="9660801" y="2175805"/>
            <a:ext cx="1980034"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4" name="Google Shape;194;p62"/>
          <p:cNvSpPr txBox="1">
            <a:spLocks noGrp="1"/>
          </p:cNvSpPr>
          <p:nvPr>
            <p:ph type="body" idx="13"/>
          </p:nvPr>
        </p:nvSpPr>
        <p:spPr>
          <a:xfrm>
            <a:off x="9660801" y="1857376"/>
            <a:ext cx="1980034"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5" name="Google Shape;195;p62"/>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381558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1/3 Blue on Left_2">
  <p:cSld name="1/3 Blue on Left_2">
    <p:spTree>
      <p:nvGrpSpPr>
        <p:cNvPr id="1" name="Shape 196"/>
        <p:cNvGrpSpPr/>
        <p:nvPr/>
      </p:nvGrpSpPr>
      <p:grpSpPr>
        <a:xfrm>
          <a:off x="0" y="0"/>
          <a:ext cx="0" cy="0"/>
          <a:chOff x="0" y="0"/>
          <a:chExt cx="0" cy="0"/>
        </a:xfrm>
      </p:grpSpPr>
      <p:sp>
        <p:nvSpPr>
          <p:cNvPr id="197" name="Google Shape;197;p63"/>
          <p:cNvSpPr/>
          <p:nvPr/>
        </p:nvSpPr>
        <p:spPr>
          <a:xfrm>
            <a:off x="1" y="-1"/>
            <a:ext cx="4059776" cy="6857999"/>
          </a:xfrm>
          <a:prstGeom prst="rect">
            <a:avLst/>
          </a:prstGeom>
          <a:gradFill>
            <a:gsLst>
              <a:gs pos="0">
                <a:srgbClr val="062379"/>
              </a:gs>
              <a:gs pos="55000">
                <a:srgbClr val="385ED2"/>
              </a:gs>
              <a:gs pos="76000">
                <a:srgbClr val="4873F5">
                  <a:alpha val="89411"/>
                </a:srgbClr>
              </a:gs>
              <a:gs pos="100000">
                <a:srgbClr val="43E1D3"/>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8" name="Google Shape;198;p63"/>
          <p:cNvSpPr txBox="1">
            <a:spLocks noGrp="1"/>
          </p:cNvSpPr>
          <p:nvPr>
            <p:ph type="title"/>
          </p:nvPr>
        </p:nvSpPr>
        <p:spPr>
          <a:xfrm>
            <a:off x="566142" y="3117388"/>
            <a:ext cx="3032465" cy="623219"/>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500"/>
              <a:buFont typeface="Franklin Gothic"/>
              <a:buNone/>
              <a:defRPr sz="45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 name="Google Shape;199;p63"/>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200" name="Google Shape;200;p63"/>
          <p:cNvSpPr txBox="1">
            <a:spLocks noGrp="1"/>
          </p:cNvSpPr>
          <p:nvPr>
            <p:ph type="ftr" idx="11"/>
          </p:nvPr>
        </p:nvSpPr>
        <p:spPr>
          <a:xfrm>
            <a:off x="436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009873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2 Blue on Left">
  <p:cSld name="1/2 Blue on Left">
    <p:spTree>
      <p:nvGrpSpPr>
        <p:cNvPr id="1" name="Shape 201"/>
        <p:cNvGrpSpPr/>
        <p:nvPr/>
      </p:nvGrpSpPr>
      <p:grpSpPr>
        <a:xfrm>
          <a:off x="0" y="0"/>
          <a:ext cx="0" cy="0"/>
          <a:chOff x="0" y="0"/>
          <a:chExt cx="0" cy="0"/>
        </a:xfrm>
      </p:grpSpPr>
      <p:sp>
        <p:nvSpPr>
          <p:cNvPr id="202" name="Google Shape;202;p64"/>
          <p:cNvSpPr/>
          <p:nvPr/>
        </p:nvSpPr>
        <p:spPr>
          <a:xfrm>
            <a:off x="1" y="-1"/>
            <a:ext cx="6098537" cy="6857999"/>
          </a:xfrm>
          <a:prstGeom prst="rect">
            <a:avLst/>
          </a:prstGeom>
          <a:gradFill>
            <a:gsLst>
              <a:gs pos="0">
                <a:srgbClr val="062379"/>
              </a:gs>
              <a:gs pos="55000">
                <a:srgbClr val="385ED2"/>
              </a:gs>
              <a:gs pos="76000">
                <a:srgbClr val="4873F5">
                  <a:alpha val="89411"/>
                </a:srgbClr>
              </a:gs>
              <a:gs pos="100000">
                <a:srgbClr val="43E1D3"/>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3" name="Google Shape;203;p64"/>
          <p:cNvSpPr txBox="1">
            <a:spLocks noGrp="1"/>
          </p:cNvSpPr>
          <p:nvPr>
            <p:ph type="title"/>
          </p:nvPr>
        </p:nvSpPr>
        <p:spPr>
          <a:xfrm>
            <a:off x="539400" y="562840"/>
            <a:ext cx="5074328"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64"/>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05" name="Google Shape;205;p64"/>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06" name="Google Shape;206;p64"/>
          <p:cNvSpPr txBox="1">
            <a:spLocks noGrp="1"/>
          </p:cNvSpPr>
          <p:nvPr>
            <p:ph type="ftr" idx="11"/>
          </p:nvPr>
        </p:nvSpPr>
        <p:spPr>
          <a:xfrm>
            <a:off x="549232" y="6450257"/>
            <a:ext cx="507432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845922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Gradient BG (with Title)">
  <p:cSld name="Gradient BG (with Title)">
    <p:spTree>
      <p:nvGrpSpPr>
        <p:cNvPr id="1" name="Shape 207"/>
        <p:cNvGrpSpPr/>
        <p:nvPr/>
      </p:nvGrpSpPr>
      <p:grpSpPr>
        <a:xfrm>
          <a:off x="0" y="0"/>
          <a:ext cx="0" cy="0"/>
          <a:chOff x="0" y="0"/>
          <a:chExt cx="0" cy="0"/>
        </a:xfrm>
      </p:grpSpPr>
      <p:sp>
        <p:nvSpPr>
          <p:cNvPr id="208" name="Google Shape;208;p65"/>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 name="Google Shape;209;p65"/>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10" name="Google Shape;210;p6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11" name="Google Shape;211;p65"/>
          <p:cNvGrpSpPr/>
          <p:nvPr/>
        </p:nvGrpSpPr>
        <p:grpSpPr>
          <a:xfrm>
            <a:off x="11998459" y="6162189"/>
            <a:ext cx="68500" cy="441925"/>
            <a:chOff x="11998459" y="6162188"/>
            <a:chExt cx="68500" cy="441925"/>
          </a:xfrm>
        </p:grpSpPr>
        <p:sp>
          <p:nvSpPr>
            <p:cNvPr id="212" name="Google Shape;212;p6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3" name="Google Shape;213;p6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4" name="Google Shape;214;p6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 name="Google Shape;215;p6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 name="Google Shape;216;p6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7" name="Google Shape;217;p6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8" name="Google Shape;218;p6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9" name="Google Shape;219;p6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0" name="Google Shape;220;p6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1" name="Google Shape;221;p6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2" name="Google Shape;222;p6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 name="Google Shape;223;p6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4" name="Google Shape;224;p6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25" name="Google Shape;225;p65"/>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26" name="Google Shape;226;p65"/>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
        <p:nvSpPr>
          <p:cNvPr id="227" name="Google Shape;227;p65"/>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908901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1_Title only (with background)">
  <p:cSld name="2_Title only (with background)">
    <p:bg>
      <p:bgPr>
        <a:solidFill>
          <a:schemeClr val="lt2"/>
        </a:solidFill>
        <a:effectLst/>
      </p:bgPr>
    </p:bg>
    <p:spTree>
      <p:nvGrpSpPr>
        <p:cNvPr id="1" name="Shape 95"/>
        <p:cNvGrpSpPr/>
        <p:nvPr/>
      </p:nvGrpSpPr>
      <p:grpSpPr>
        <a:xfrm>
          <a:off x="0" y="0"/>
          <a:ext cx="0" cy="0"/>
          <a:chOff x="0" y="0"/>
          <a:chExt cx="0" cy="0"/>
        </a:xfrm>
      </p:grpSpPr>
      <p:sp>
        <p:nvSpPr>
          <p:cNvPr id="96" name="Google Shape;96;p157"/>
          <p:cNvSpPr txBox="1">
            <a:spLocks noGrp="1"/>
          </p:cNvSpPr>
          <p:nvPr>
            <p:ph type="ftr" idx="11"/>
          </p:nvPr>
        </p:nvSpPr>
        <p:spPr>
          <a:xfrm>
            <a:off x="550863" y="6450225"/>
            <a:ext cx="488916" cy="153888"/>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 name="Google Shape;97;p15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98" name="Google Shape;98;p157"/>
          <p:cNvGrpSpPr/>
          <p:nvPr/>
        </p:nvGrpSpPr>
        <p:grpSpPr>
          <a:xfrm>
            <a:off x="11979441" y="4535495"/>
            <a:ext cx="110800" cy="2041948"/>
            <a:chOff x="11979441" y="4535495"/>
            <a:chExt cx="110800" cy="2041948"/>
          </a:xfrm>
        </p:grpSpPr>
        <p:grpSp>
          <p:nvGrpSpPr>
            <p:cNvPr id="99" name="Google Shape;99;p157"/>
            <p:cNvGrpSpPr/>
            <p:nvPr/>
          </p:nvGrpSpPr>
          <p:grpSpPr>
            <a:xfrm>
              <a:off x="11998460" y="6135518"/>
              <a:ext cx="68500" cy="441925"/>
              <a:chOff x="11998459" y="6162188"/>
              <a:chExt cx="68500" cy="441925"/>
            </a:xfrm>
          </p:grpSpPr>
          <p:sp>
            <p:nvSpPr>
              <p:cNvPr id="100" name="Google Shape;100;p157"/>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1" name="Google Shape;101;p157"/>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2" name="Google Shape;102;p157"/>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3" name="Google Shape;103;p157"/>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4" name="Google Shape;104;p157"/>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5" name="Google Shape;105;p157"/>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6" name="Google Shape;106;p157"/>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7" name="Google Shape;107;p157"/>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8" name="Google Shape;108;p157"/>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09" name="Google Shape;109;p157"/>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10" name="Google Shape;110;p157"/>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11" name="Google Shape;111;p157"/>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sp>
            <p:nvSpPr>
              <p:cNvPr id="112" name="Google Shape;112;p157"/>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B4B4B4"/>
                  </a:solidFill>
                  <a:latin typeface="Calibri"/>
                  <a:ea typeface="Calibri"/>
                  <a:cs typeface="Calibri"/>
                  <a:sym typeface="Calibri"/>
                </a:endParaRPr>
              </a:p>
            </p:txBody>
          </p:sp>
        </p:grpSp>
        <p:pic>
          <p:nvPicPr>
            <p:cNvPr id="113" name="Google Shape;113;p157"/>
            <p:cNvPicPr preferRelativeResize="0"/>
            <p:nvPr/>
          </p:nvPicPr>
          <p:blipFill rotWithShape="1">
            <a:blip r:embed="rId2">
              <a:alphaModFix/>
            </a:blip>
            <a:srcRect/>
            <a:stretch/>
          </p:blipFill>
          <p:spPr>
            <a:xfrm rot="-5400000">
              <a:off x="11811888" y="6322371"/>
              <a:ext cx="441438" cy="68706"/>
            </a:xfrm>
            <a:prstGeom prst="rect">
              <a:avLst/>
            </a:prstGeom>
            <a:noFill/>
            <a:ln>
              <a:noFill/>
            </a:ln>
          </p:spPr>
        </p:pic>
        <p:sp>
          <p:nvSpPr>
            <p:cNvPr id="114" name="Google Shape;114;p157"/>
            <p:cNvSpPr txBox="1"/>
            <p:nvPr/>
          </p:nvSpPr>
          <p:spPr>
            <a:xfrm rot="-5400000">
              <a:off x="11250972" y="526396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3. All rights reserved.</a:t>
              </a:r>
              <a:endParaRPr sz="1400" b="0" i="0" u="none" strike="noStrike" cap="none">
                <a:solidFill>
                  <a:srgbClr val="000000"/>
                </a:solidFill>
                <a:latin typeface="Calibri"/>
                <a:ea typeface="Calibri"/>
                <a:cs typeface="Calibri"/>
                <a:sym typeface="Calibri"/>
              </a:endParaRPr>
            </a:p>
          </p:txBody>
        </p:sp>
      </p:grpSp>
      <p:sp>
        <p:nvSpPr>
          <p:cNvPr id="115" name="Google Shape;115;p157"/>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1_Gradient BG (with Title)">
  <p:cSld name="1_Gradient BG (with Title)">
    <p:spTree>
      <p:nvGrpSpPr>
        <p:cNvPr id="1" name="Shape 228"/>
        <p:cNvGrpSpPr/>
        <p:nvPr/>
      </p:nvGrpSpPr>
      <p:grpSpPr>
        <a:xfrm>
          <a:off x="0" y="0"/>
          <a:ext cx="0" cy="0"/>
          <a:chOff x="0" y="0"/>
          <a:chExt cx="0" cy="0"/>
        </a:xfrm>
      </p:grpSpPr>
      <p:sp>
        <p:nvSpPr>
          <p:cNvPr id="229" name="Google Shape;229;p66"/>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230" name="Google Shape;230;p66"/>
          <p:cNvGrpSpPr/>
          <p:nvPr/>
        </p:nvGrpSpPr>
        <p:grpSpPr>
          <a:xfrm>
            <a:off x="11998459" y="6162189"/>
            <a:ext cx="68500" cy="441925"/>
            <a:chOff x="11998459" y="6162188"/>
            <a:chExt cx="68500" cy="441925"/>
          </a:xfrm>
        </p:grpSpPr>
        <p:sp>
          <p:nvSpPr>
            <p:cNvPr id="231" name="Google Shape;231;p6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2" name="Google Shape;232;p6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3" name="Google Shape;233;p6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4" name="Google Shape;234;p6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5" name="Google Shape;235;p6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6" name="Google Shape;236;p6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7" name="Google Shape;237;p6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8" name="Google Shape;238;p6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9" name="Google Shape;239;p6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0" name="Google Shape;240;p6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2" name="Google Shape;242;p6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 name="Google Shape;243;p6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4" name="Google Shape;244;p66"/>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45" name="Google Shape;245;p66"/>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
        <p:nvSpPr>
          <p:cNvPr id="246" name="Google Shape;246;p66"/>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691955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1/3 Blue on Right">
  <p:cSld name="1/3 Blue on Right">
    <p:spTree>
      <p:nvGrpSpPr>
        <p:cNvPr id="1" name="Shape 247"/>
        <p:cNvGrpSpPr/>
        <p:nvPr/>
      </p:nvGrpSpPr>
      <p:grpSpPr>
        <a:xfrm>
          <a:off x="0" y="0"/>
          <a:ext cx="0" cy="0"/>
          <a:chOff x="0" y="0"/>
          <a:chExt cx="0" cy="0"/>
        </a:xfrm>
      </p:grpSpPr>
      <p:sp>
        <p:nvSpPr>
          <p:cNvPr id="248" name="Google Shape;248;p67"/>
          <p:cNvSpPr/>
          <p:nvPr/>
        </p:nvSpPr>
        <p:spPr>
          <a:xfrm>
            <a:off x="8134763" y="-1"/>
            <a:ext cx="4059776" cy="6858001"/>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p67"/>
          <p:cNvSpPr txBox="1">
            <a:spLocks noGrp="1"/>
          </p:cNvSpPr>
          <p:nvPr>
            <p:ph type="title"/>
          </p:nvPr>
        </p:nvSpPr>
        <p:spPr>
          <a:xfrm>
            <a:off x="539400" y="562841"/>
            <a:ext cx="726112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 name="Google Shape;250;p67"/>
          <p:cNvSpPr txBox="1">
            <a:spLocks noGrp="1"/>
          </p:cNvSpPr>
          <p:nvPr>
            <p:ph type="sldNum" idx="12"/>
          </p:nvPr>
        </p:nvSpPr>
        <p:spPr>
          <a:xfrm>
            <a:off x="11490454" y="6445294"/>
            <a:ext cx="150683"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51" name="Google Shape;251;p67"/>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252" name="Google Shape;252;p67"/>
          <p:cNvGrpSpPr/>
          <p:nvPr/>
        </p:nvGrpSpPr>
        <p:grpSpPr>
          <a:xfrm>
            <a:off x="11998459" y="6162189"/>
            <a:ext cx="68500" cy="441925"/>
            <a:chOff x="11998459" y="6162188"/>
            <a:chExt cx="68500" cy="441925"/>
          </a:xfrm>
        </p:grpSpPr>
        <p:sp>
          <p:nvSpPr>
            <p:cNvPr id="253" name="Google Shape;253;p67"/>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 name="Google Shape;254;p67"/>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 name="Google Shape;255;p67"/>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6" name="Google Shape;256;p67"/>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 name="Google Shape;257;p67"/>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7"/>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9" name="Google Shape;259;p67"/>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0" name="Google Shape;260;p67"/>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1" name="Google Shape;261;p67"/>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2" name="Google Shape;262;p67"/>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3" name="Google Shape;263;p67"/>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4" name="Google Shape;264;p67"/>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5" name="Google Shape;265;p67"/>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66" name="Google Shape;266;p67"/>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67" name="Google Shape;267;p67"/>
          <p:cNvSpPr txBox="1">
            <a:spLocks noGrp="1"/>
          </p:cNvSpPr>
          <p:nvPr>
            <p:ph type="ftr" idx="11"/>
          </p:nvPr>
        </p:nvSpPr>
        <p:spPr>
          <a:xfrm>
            <a:off x="550863" y="6450257"/>
            <a:ext cx="7276401"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884818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Breaker Slide_2">
  <p:cSld name="Breaker Slide_2">
    <p:bg>
      <p:bgPr>
        <a:solidFill>
          <a:schemeClr val="lt2"/>
        </a:solidFill>
        <a:effectLst/>
      </p:bgPr>
    </p:bg>
    <p:spTree>
      <p:nvGrpSpPr>
        <p:cNvPr id="1" name="Shape 268"/>
        <p:cNvGrpSpPr/>
        <p:nvPr/>
      </p:nvGrpSpPr>
      <p:grpSpPr>
        <a:xfrm>
          <a:off x="0" y="0"/>
          <a:ext cx="0" cy="0"/>
          <a:chOff x="0" y="0"/>
          <a:chExt cx="0" cy="0"/>
        </a:xfrm>
      </p:grpSpPr>
      <p:pic>
        <p:nvPicPr>
          <p:cNvPr id="269" name="Google Shape;269;p6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70" name="Google Shape;270;p69"/>
          <p:cNvSpPr/>
          <p:nvPr/>
        </p:nvSpPr>
        <p:spPr>
          <a:xfrm>
            <a:off x="0" y="0"/>
            <a:ext cx="12192000" cy="6858000"/>
          </a:xfrm>
          <a:prstGeom prst="rect">
            <a:avLst/>
          </a:prstGeom>
          <a:gradFill>
            <a:gsLst>
              <a:gs pos="0">
                <a:srgbClr val="062379"/>
              </a:gs>
              <a:gs pos="16000">
                <a:srgbClr val="062379"/>
              </a:gs>
              <a:gs pos="55000">
                <a:srgbClr val="0934B6">
                  <a:alpha val="89411"/>
                </a:srgbClr>
              </a:gs>
              <a:gs pos="85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1" name="Google Shape;271;p69"/>
          <p:cNvSpPr txBox="1">
            <a:spLocks noGrp="1"/>
          </p:cNvSpPr>
          <p:nvPr>
            <p:ph type="title"/>
          </p:nvPr>
        </p:nvSpPr>
        <p:spPr>
          <a:xfrm>
            <a:off x="992390" y="4396199"/>
            <a:ext cx="6785798" cy="831056"/>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2" name="Google Shape;272;p69"/>
          <p:cNvGrpSpPr/>
          <p:nvPr/>
        </p:nvGrpSpPr>
        <p:grpSpPr>
          <a:xfrm>
            <a:off x="11998459" y="6162189"/>
            <a:ext cx="68500" cy="441925"/>
            <a:chOff x="11998459" y="6162188"/>
            <a:chExt cx="68500" cy="441925"/>
          </a:xfrm>
        </p:grpSpPr>
        <p:sp>
          <p:nvSpPr>
            <p:cNvPr id="273" name="Google Shape;273;p69"/>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4" name="Google Shape;274;p69"/>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5" name="Google Shape;275;p69"/>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6" name="Google Shape;276;p69"/>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7" name="Google Shape;277;p69"/>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8" name="Google Shape;278;p69"/>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 name="Google Shape;279;p69"/>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0" name="Google Shape;280;p69"/>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1" name="Google Shape;281;p69"/>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2" name="Google Shape;282;p69"/>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3" name="Google Shape;283;p69"/>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4" name="Google Shape;284;p69"/>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5" name="Google Shape;285;p69"/>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86" name="Google Shape;286;p69"/>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87" name="Google Shape;287;p69"/>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88" name="Google Shape;288;p69"/>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2696085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89"/>
        <p:cNvGrpSpPr/>
        <p:nvPr/>
      </p:nvGrpSpPr>
      <p:grpSpPr>
        <a:xfrm>
          <a:off x="0" y="0"/>
          <a:ext cx="0" cy="0"/>
          <a:chOff x="0" y="0"/>
          <a:chExt cx="0" cy="0"/>
        </a:xfrm>
      </p:grpSpPr>
      <p:sp>
        <p:nvSpPr>
          <p:cNvPr id="290" name="Google Shape;290;p70"/>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4313"/>
            </a:srgbClr>
          </a:solidFill>
          <a:ln>
            <a:noFill/>
          </a:ln>
        </p:spPr>
        <p:txBody>
          <a:bodyPr spcFirstLastPara="1" wrap="square" lIns="91422" tIns="45699" rIns="91422" bIns="45699"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291" name="Google Shape;291;p70"/>
          <p:cNvGrpSpPr/>
          <p:nvPr/>
        </p:nvGrpSpPr>
        <p:grpSpPr>
          <a:xfrm>
            <a:off x="-599" y="549275"/>
            <a:ext cx="12193201" cy="5759450"/>
            <a:chOff x="-600" y="549275"/>
            <a:chExt cx="12193201" cy="5759450"/>
          </a:xfrm>
        </p:grpSpPr>
        <p:cxnSp>
          <p:nvCxnSpPr>
            <p:cNvPr id="292" name="Google Shape;292;p70"/>
            <p:cNvCxnSpPr/>
            <p:nvPr/>
          </p:nvCxnSpPr>
          <p:spPr>
            <a:xfrm>
              <a:off x="-600" y="54927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3" name="Google Shape;293;p70"/>
            <p:cNvCxnSpPr/>
            <p:nvPr/>
          </p:nvCxnSpPr>
          <p:spPr>
            <a:xfrm>
              <a:off x="-600" y="107286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4" name="Google Shape;294;p70"/>
            <p:cNvCxnSpPr/>
            <p:nvPr/>
          </p:nvCxnSpPr>
          <p:spPr>
            <a:xfrm>
              <a:off x="-600" y="133465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5" name="Google Shape;295;p70"/>
            <p:cNvCxnSpPr/>
            <p:nvPr/>
          </p:nvCxnSpPr>
          <p:spPr>
            <a:xfrm>
              <a:off x="-600" y="159644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70"/>
            <p:cNvCxnSpPr/>
            <p:nvPr/>
          </p:nvCxnSpPr>
          <p:spPr>
            <a:xfrm>
              <a:off x="-600" y="185824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70"/>
            <p:cNvCxnSpPr/>
            <p:nvPr/>
          </p:nvCxnSpPr>
          <p:spPr>
            <a:xfrm>
              <a:off x="-600" y="212003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70"/>
            <p:cNvCxnSpPr/>
            <p:nvPr/>
          </p:nvCxnSpPr>
          <p:spPr>
            <a:xfrm>
              <a:off x="-600" y="238182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70"/>
            <p:cNvCxnSpPr/>
            <p:nvPr/>
          </p:nvCxnSpPr>
          <p:spPr>
            <a:xfrm>
              <a:off x="-600" y="264361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70"/>
            <p:cNvCxnSpPr/>
            <p:nvPr/>
          </p:nvCxnSpPr>
          <p:spPr>
            <a:xfrm>
              <a:off x="-600" y="290541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70"/>
            <p:cNvCxnSpPr/>
            <p:nvPr/>
          </p:nvCxnSpPr>
          <p:spPr>
            <a:xfrm>
              <a:off x="-600" y="316720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70"/>
            <p:cNvCxnSpPr/>
            <p:nvPr/>
          </p:nvCxnSpPr>
          <p:spPr>
            <a:xfrm>
              <a:off x="-600" y="342899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70"/>
            <p:cNvCxnSpPr/>
            <p:nvPr/>
          </p:nvCxnSpPr>
          <p:spPr>
            <a:xfrm>
              <a:off x="-600" y="369079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70"/>
            <p:cNvCxnSpPr/>
            <p:nvPr/>
          </p:nvCxnSpPr>
          <p:spPr>
            <a:xfrm>
              <a:off x="-600" y="395258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70"/>
            <p:cNvCxnSpPr/>
            <p:nvPr/>
          </p:nvCxnSpPr>
          <p:spPr>
            <a:xfrm>
              <a:off x="-600" y="421437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70"/>
            <p:cNvCxnSpPr/>
            <p:nvPr/>
          </p:nvCxnSpPr>
          <p:spPr>
            <a:xfrm>
              <a:off x="-600" y="447617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70"/>
            <p:cNvCxnSpPr/>
            <p:nvPr/>
          </p:nvCxnSpPr>
          <p:spPr>
            <a:xfrm>
              <a:off x="-600" y="473796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70"/>
            <p:cNvCxnSpPr/>
            <p:nvPr/>
          </p:nvCxnSpPr>
          <p:spPr>
            <a:xfrm>
              <a:off x="-600" y="499975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70"/>
            <p:cNvCxnSpPr/>
            <p:nvPr/>
          </p:nvCxnSpPr>
          <p:spPr>
            <a:xfrm>
              <a:off x="-600" y="526154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70"/>
            <p:cNvCxnSpPr/>
            <p:nvPr/>
          </p:nvCxnSpPr>
          <p:spPr>
            <a:xfrm>
              <a:off x="-600" y="552334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70"/>
            <p:cNvCxnSpPr/>
            <p:nvPr/>
          </p:nvCxnSpPr>
          <p:spPr>
            <a:xfrm>
              <a:off x="-600" y="578513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70"/>
            <p:cNvCxnSpPr/>
            <p:nvPr/>
          </p:nvCxnSpPr>
          <p:spPr>
            <a:xfrm>
              <a:off x="-600" y="81106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70"/>
            <p:cNvCxnSpPr/>
            <p:nvPr/>
          </p:nvCxnSpPr>
          <p:spPr>
            <a:xfrm>
              <a:off x="-600" y="630872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4" name="Google Shape;314;p70"/>
            <p:cNvCxnSpPr/>
            <p:nvPr/>
          </p:nvCxnSpPr>
          <p:spPr>
            <a:xfrm>
              <a:off x="-600" y="604692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5" name="Google Shape;315;p70"/>
          <p:cNvSpPr/>
          <p:nvPr/>
        </p:nvSpPr>
        <p:spPr>
          <a:xfrm>
            <a:off x="550264" y="6308722"/>
            <a:ext cx="11090873" cy="261799"/>
          </a:xfrm>
          <a:prstGeom prst="rect">
            <a:avLst/>
          </a:prstGeom>
          <a:solidFill>
            <a:srgbClr val="FF0000">
              <a:alpha val="9411"/>
            </a:srgbClr>
          </a:solidFill>
          <a:ln>
            <a:noFill/>
          </a:ln>
        </p:spPr>
        <p:txBody>
          <a:bodyPr spcFirstLastPara="1" wrap="square" lIns="91422" tIns="45699" rIns="91422" bIns="45699"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6" name="Google Shape;316;p70"/>
          <p:cNvSpPr/>
          <p:nvPr/>
        </p:nvSpPr>
        <p:spPr>
          <a:xfrm>
            <a:off x="550864" y="1348222"/>
            <a:ext cx="11105556" cy="509202"/>
          </a:xfrm>
          <a:prstGeom prst="rect">
            <a:avLst/>
          </a:prstGeom>
          <a:solidFill>
            <a:srgbClr val="FF0000">
              <a:alpha val="4313"/>
            </a:srgbClr>
          </a:solidFill>
          <a:ln>
            <a:noFill/>
          </a:ln>
        </p:spPr>
        <p:txBody>
          <a:bodyPr spcFirstLastPara="1" wrap="square" lIns="91422" tIns="45699" rIns="91422" bIns="45699"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70"/>
          <p:cNvSpPr/>
          <p:nvPr/>
        </p:nvSpPr>
        <p:spPr>
          <a:xfrm>
            <a:off x="550864" y="2120034"/>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4509"/>
              </a:schemeClr>
            </a:solidFill>
            <a:prstDash val="solid"/>
            <a:miter lim="800000"/>
            <a:headEnd type="none" w="sm" len="sm"/>
            <a:tailEnd type="none" w="sm" len="sm"/>
          </a:ln>
        </p:spPr>
        <p:txBody>
          <a:bodyPr spcFirstLastPara="1" wrap="square" lIns="91422" tIns="45699" rIns="91422" bIns="45699"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Calibri"/>
              <a:ea typeface="Calibri"/>
              <a:cs typeface="Calibri"/>
              <a:sym typeface="Calibri"/>
            </a:endParaRPr>
          </a:p>
        </p:txBody>
      </p:sp>
      <p:grpSp>
        <p:nvGrpSpPr>
          <p:cNvPr id="318" name="Google Shape;318;p70"/>
          <p:cNvGrpSpPr/>
          <p:nvPr/>
        </p:nvGrpSpPr>
        <p:grpSpPr>
          <a:xfrm>
            <a:off x="1215339" y="1857423"/>
            <a:ext cx="9763000" cy="4458091"/>
            <a:chOff x="1215339" y="549274"/>
            <a:chExt cx="9763000" cy="5759450"/>
          </a:xfrm>
        </p:grpSpPr>
        <p:sp>
          <p:nvSpPr>
            <p:cNvPr id="319" name="Google Shape;319;p70"/>
            <p:cNvSpPr/>
            <p:nvPr/>
          </p:nvSpPr>
          <p:spPr>
            <a:xfrm>
              <a:off x="690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0" name="Google Shape;320;p70"/>
            <p:cNvSpPr/>
            <p:nvPr/>
          </p:nvSpPr>
          <p:spPr>
            <a:xfrm>
              <a:off x="879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1" name="Google Shape;321;p70"/>
            <p:cNvSpPr/>
            <p:nvPr/>
          </p:nvSpPr>
          <p:spPr>
            <a:xfrm>
              <a:off x="784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2" name="Google Shape;322;p70"/>
            <p:cNvSpPr/>
            <p:nvPr/>
          </p:nvSpPr>
          <p:spPr>
            <a:xfrm>
              <a:off x="974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3" name="Google Shape;323;p70"/>
            <p:cNvSpPr/>
            <p:nvPr/>
          </p:nvSpPr>
          <p:spPr>
            <a:xfrm>
              <a:off x="1069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4" name="Google Shape;324;p70"/>
            <p:cNvSpPr/>
            <p:nvPr/>
          </p:nvSpPr>
          <p:spPr>
            <a:xfrm>
              <a:off x="5952839" y="549274"/>
              <a:ext cx="288000" cy="5759450"/>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 name="Google Shape;325;p70"/>
            <p:cNvSpPr/>
            <p:nvPr/>
          </p:nvSpPr>
          <p:spPr>
            <a:xfrm>
              <a:off x="121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6" name="Google Shape;326;p70"/>
            <p:cNvSpPr/>
            <p:nvPr/>
          </p:nvSpPr>
          <p:spPr>
            <a:xfrm>
              <a:off x="216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7" name="Google Shape;327;p70"/>
            <p:cNvSpPr/>
            <p:nvPr/>
          </p:nvSpPr>
          <p:spPr>
            <a:xfrm>
              <a:off x="311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8" name="Google Shape;328;p70"/>
            <p:cNvSpPr/>
            <p:nvPr/>
          </p:nvSpPr>
          <p:spPr>
            <a:xfrm>
              <a:off x="405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9" name="Google Shape;329;p70"/>
            <p:cNvSpPr/>
            <p:nvPr/>
          </p:nvSpPr>
          <p:spPr>
            <a:xfrm>
              <a:off x="500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30" name="Google Shape;330;p70"/>
          <p:cNvSpPr txBox="1"/>
          <p:nvPr/>
        </p:nvSpPr>
        <p:spPr>
          <a:xfrm>
            <a:off x="550863" y="6310249"/>
            <a:ext cx="9030915" cy="276999"/>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Footnotes/Note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Source: Include a source here</a:t>
            </a:r>
            <a:endParaRPr sz="1400" b="0" i="0" u="none" strike="noStrike" cap="none">
              <a:solidFill>
                <a:srgbClr val="000000"/>
              </a:solidFill>
              <a:latin typeface="Arial"/>
              <a:ea typeface="Arial"/>
              <a:cs typeface="Arial"/>
              <a:sym typeface="Arial"/>
            </a:endParaRPr>
          </a:p>
        </p:txBody>
      </p:sp>
      <p:sp>
        <p:nvSpPr>
          <p:cNvPr id="331" name="Google Shape;331;p7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332" name="Google Shape;332;p70"/>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3" name="Google Shape;333;p70"/>
          <p:cNvGrpSpPr/>
          <p:nvPr/>
        </p:nvGrpSpPr>
        <p:grpSpPr>
          <a:xfrm>
            <a:off x="550864" y="6156604"/>
            <a:ext cx="11089971" cy="55199"/>
            <a:chOff x="550864" y="6156603"/>
            <a:chExt cx="11089971" cy="55199"/>
          </a:xfrm>
        </p:grpSpPr>
        <p:sp>
          <p:nvSpPr>
            <p:cNvPr id="334" name="Google Shape;334;p70"/>
            <p:cNvSpPr/>
            <p:nvPr/>
          </p:nvSpPr>
          <p:spPr>
            <a:xfrm>
              <a:off x="550864"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5" name="Google Shape;335;p70"/>
            <p:cNvSpPr/>
            <p:nvPr/>
          </p:nvSpPr>
          <p:spPr>
            <a:xfrm>
              <a:off x="5104050"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6" name="Google Shape;336;p70"/>
            <p:cNvSpPr/>
            <p:nvPr/>
          </p:nvSpPr>
          <p:spPr>
            <a:xfrm>
              <a:off x="7380643"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0"/>
            <p:cNvSpPr/>
            <p:nvPr/>
          </p:nvSpPr>
          <p:spPr>
            <a:xfrm>
              <a:off x="9657235"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8" name="Google Shape;338;p70"/>
            <p:cNvSpPr/>
            <p:nvPr/>
          </p:nvSpPr>
          <p:spPr>
            <a:xfrm>
              <a:off x="2827457"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26017540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5_Full-width Page">
  <p:cSld name="5_Full-width Page">
    <p:spTree>
      <p:nvGrpSpPr>
        <p:cNvPr id="1" name="Shape 33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B3274E-F45F-3FF5-DFA6-4C4852FA3CA3}"/>
              </a:ext>
            </a:extLst>
          </p:cNvPr>
          <p:cNvGraphicFramePr>
            <a:graphicFrameLocks noChangeAspect="1"/>
          </p:cNvGraphicFramePr>
          <p:nvPr userDrawn="1">
            <p:custDataLst>
              <p:tags r:id="rId1"/>
            </p:custDataLst>
            <p:extLst>
              <p:ext uri="{D42A27DB-BD31-4B8C-83A1-F6EECF244321}">
                <p14:modId xmlns:p14="http://schemas.microsoft.com/office/powerpoint/2010/main" val="272567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80B3274E-F45F-3FF5-DFA6-4C4852FA3C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0" name="Google Shape;340;p71"/>
          <p:cNvPicPr preferRelativeResize="0"/>
          <p:nvPr/>
        </p:nvPicPr>
        <p:blipFill rotWithShape="1">
          <a:blip r:embed="rId5">
            <a:alphaModFix/>
          </a:blip>
          <a:srcRect/>
          <a:stretch/>
        </p:blipFill>
        <p:spPr>
          <a:xfrm>
            <a:off x="2" y="0"/>
            <a:ext cx="3492498" cy="6858000"/>
          </a:xfrm>
          <a:prstGeom prst="rect">
            <a:avLst/>
          </a:prstGeom>
          <a:noFill/>
          <a:ln>
            <a:noFill/>
          </a:ln>
        </p:spPr>
      </p:pic>
      <p:sp>
        <p:nvSpPr>
          <p:cNvPr id="341" name="Google Shape;341;p71"/>
          <p:cNvSpPr/>
          <p:nvPr/>
        </p:nvSpPr>
        <p:spPr>
          <a:xfrm>
            <a:off x="1" y="-1"/>
            <a:ext cx="3492497" cy="6857999"/>
          </a:xfrm>
          <a:prstGeom prst="rect">
            <a:avLst/>
          </a:prstGeom>
          <a:gradFill>
            <a:gsLst>
              <a:gs pos="0">
                <a:schemeClr val="dk2"/>
              </a:gs>
              <a:gs pos="76000">
                <a:srgbClr val="4873F5">
                  <a:alpha val="84313"/>
                </a:srgbClr>
              </a:gs>
              <a:gs pos="100000">
                <a:srgbClr val="00B9FF">
                  <a:alpha val="80000"/>
                </a:srgbClr>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2" name="Google Shape;342;p71"/>
          <p:cNvSpPr txBox="1">
            <a:spLocks noGrp="1"/>
          </p:cNvSpPr>
          <p:nvPr>
            <p:ph type="title"/>
          </p:nvPr>
        </p:nvSpPr>
        <p:spPr>
          <a:xfrm>
            <a:off x="376385" y="3013500"/>
            <a:ext cx="3023598"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cxnSp>
        <p:nvCxnSpPr>
          <p:cNvPr id="343" name="Google Shape;343;p71"/>
          <p:cNvCxnSpPr>
            <a:cxnSpLocks/>
          </p:cNvCxnSpPr>
          <p:nvPr/>
        </p:nvCxnSpPr>
        <p:spPr>
          <a:xfrm>
            <a:off x="362847" y="2738541"/>
            <a:ext cx="540000"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1374402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2650357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3917478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ub-Section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B52237-4F8A-4F28-B2AF-5014C898F7F8}"/>
              </a:ext>
            </a:extLst>
          </p:cNvPr>
          <p:cNvSpPr/>
          <p:nvPr userDrawn="1"/>
        </p:nvSpPr>
        <p:spPr>
          <a:xfrm>
            <a:off x="0" y="2"/>
            <a:ext cx="12192000" cy="69246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3" name="Rectangle 2">
            <a:extLst>
              <a:ext uri="{FF2B5EF4-FFF2-40B4-BE49-F238E27FC236}">
                <a16:creationId xmlns:a16="http://schemas.microsoft.com/office/drawing/2014/main" id="{06C46470-6B85-42AC-858F-07BE622DF338}"/>
              </a:ext>
            </a:extLst>
          </p:cNvPr>
          <p:cNvSpPr/>
          <p:nvPr userDrawn="1"/>
        </p:nvSpPr>
        <p:spPr>
          <a:xfrm>
            <a:off x="0" y="2600326"/>
            <a:ext cx="12192000" cy="34861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13" name="Text Placeholder 1">
            <a:extLst>
              <a:ext uri="{FF2B5EF4-FFF2-40B4-BE49-F238E27FC236}">
                <a16:creationId xmlns:a16="http://schemas.microsoft.com/office/drawing/2014/main" id="{9EE6E236-101E-42EB-81FB-302691A30ACD}"/>
              </a:ext>
            </a:extLst>
          </p:cNvPr>
          <p:cNvSpPr>
            <a:spLocks noGrp="1"/>
          </p:cNvSpPr>
          <p:nvPr>
            <p:ph type="body" sz="quarter" idx="10" hasCustomPrompt="1"/>
          </p:nvPr>
        </p:nvSpPr>
        <p:spPr>
          <a:xfrm>
            <a:off x="568802" y="4090491"/>
            <a:ext cx="6467475" cy="435247"/>
          </a:xfrm>
          <a:prstGeom prst="rect">
            <a:avLst/>
          </a:prstGeom>
        </p:spPr>
        <p:txBody>
          <a:bodyPr/>
          <a:lstStyle>
            <a:lvl1pPr>
              <a:defRPr sz="2100">
                <a:solidFill>
                  <a:schemeClr val="bg1"/>
                </a:solidFill>
                <a:latin typeface="+mj-lt"/>
              </a:defRPr>
            </a:lvl1pPr>
          </a:lstStyle>
          <a:p>
            <a:r>
              <a:rPr lang="en-US" dirty="0"/>
              <a:t>Sub-Section in Report Title</a:t>
            </a:r>
          </a:p>
        </p:txBody>
      </p:sp>
      <p:sp>
        <p:nvSpPr>
          <p:cNvPr id="14" name="Text Placeholder 2">
            <a:extLst>
              <a:ext uri="{FF2B5EF4-FFF2-40B4-BE49-F238E27FC236}">
                <a16:creationId xmlns:a16="http://schemas.microsoft.com/office/drawing/2014/main" id="{F8AB815C-183A-4AED-B7E8-6684B137AD19}"/>
              </a:ext>
            </a:extLst>
          </p:cNvPr>
          <p:cNvSpPr>
            <a:spLocks noGrp="1"/>
          </p:cNvSpPr>
          <p:nvPr>
            <p:ph type="body" sz="quarter" idx="11" hasCustomPrompt="1"/>
          </p:nvPr>
        </p:nvSpPr>
        <p:spPr>
          <a:xfrm>
            <a:off x="568802" y="4841549"/>
            <a:ext cx="6467475" cy="362150"/>
          </a:xfrm>
          <a:prstGeom prst="rect">
            <a:avLst/>
          </a:prstGeom>
        </p:spPr>
        <p:txBody>
          <a:bodyPr/>
          <a:lstStyle>
            <a:lvl1pPr>
              <a:defRPr>
                <a:solidFill>
                  <a:schemeClr val="bg1"/>
                </a:solidFill>
                <a:latin typeface="+mj-lt"/>
              </a:defRPr>
            </a:lvl1pPr>
          </a:lstStyle>
          <a:p>
            <a:r>
              <a:rPr lang="en-US" dirty="0"/>
              <a:t>Add Text Here</a:t>
            </a:r>
          </a:p>
        </p:txBody>
      </p:sp>
    </p:spTree>
    <p:extLst>
      <p:ext uri="{BB962C8B-B14F-4D97-AF65-F5344CB8AC3E}">
        <p14:creationId xmlns:p14="http://schemas.microsoft.com/office/powerpoint/2010/main" val="364355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Shape 29"/>
        <p:cNvGrpSpPr/>
        <p:nvPr/>
      </p:nvGrpSpPr>
      <p:grpSpPr>
        <a:xfrm>
          <a:off x="0" y="0"/>
          <a:ext cx="0" cy="0"/>
          <a:chOff x="0" y="0"/>
          <a:chExt cx="0" cy="0"/>
        </a:xfrm>
      </p:grpSpPr>
      <p:sp>
        <p:nvSpPr>
          <p:cNvPr id="30" name="Shape 30"/>
          <p:cNvSpPr txBox="1">
            <a:spLocks noGrp="1"/>
          </p:cNvSpPr>
          <p:nvPr>
            <p:ph type="title"/>
          </p:nvPr>
        </p:nvSpPr>
        <p:spPr>
          <a:xfrm>
            <a:off x="562708" y="130584"/>
            <a:ext cx="11066584" cy="627834"/>
          </a:xfrm>
          <a:prstGeom prst="rect">
            <a:avLst/>
          </a:prstGeom>
          <a:noFill/>
          <a:ln>
            <a:noFill/>
          </a:ln>
        </p:spPr>
        <p:txBody>
          <a:bodyPr lIns="91425" tIns="91425" rIns="91425" bIns="91425" anchor="ctr" anchorCtr="0"/>
          <a:lstStyle>
            <a:lvl1pPr algn="l" rtl="0">
              <a:lnSpc>
                <a:spcPct val="90000"/>
              </a:lnSpc>
              <a:spcBef>
                <a:spcPts val="0"/>
              </a:spcBef>
              <a:buClr>
                <a:schemeClr val="accent3"/>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1" name="Shape 31"/>
          <p:cNvSpPr txBox="1">
            <a:spLocks noGrp="1"/>
          </p:cNvSpPr>
          <p:nvPr>
            <p:ph type="body" idx="1"/>
          </p:nvPr>
        </p:nvSpPr>
        <p:spPr>
          <a:xfrm>
            <a:off x="562708" y="1556955"/>
            <a:ext cx="11066584" cy="455479"/>
          </a:xfrm>
          <a:prstGeom prst="rect">
            <a:avLst/>
          </a:prstGeom>
          <a:noFill/>
          <a:ln>
            <a:noFill/>
          </a:ln>
        </p:spPr>
        <p:txBody>
          <a:bodyPr lIns="91425" tIns="91425" rIns="91425" bIns="91425" anchor="t" anchorCtr="0"/>
          <a:lstStyle>
            <a:lvl1pPr marL="0" indent="0" algn="l" rtl="0">
              <a:lnSpc>
                <a:spcPct val="110000"/>
              </a:lnSpc>
              <a:spcBef>
                <a:spcPts val="0"/>
              </a:spcBef>
              <a:buClr>
                <a:schemeClr val="dk1"/>
              </a:buClr>
              <a:buFont typeface="Arial"/>
              <a:buNone/>
              <a:defRPr/>
            </a:lvl1pPr>
            <a:lvl2pPr marL="334118" indent="-134820" algn="l" rtl="0">
              <a:lnSpc>
                <a:spcPct val="110000"/>
              </a:lnSpc>
              <a:spcBef>
                <a:spcPts val="0"/>
              </a:spcBef>
              <a:buClr>
                <a:schemeClr val="accent3"/>
              </a:buClr>
              <a:buFont typeface="Arial"/>
              <a:buChar char="•"/>
              <a:defRPr/>
            </a:lvl2pPr>
            <a:lvl3pPr marL="577380" indent="-178782" algn="l" rtl="0">
              <a:lnSpc>
                <a:spcPct val="110000"/>
              </a:lnSpc>
              <a:spcBef>
                <a:spcPts val="0"/>
              </a:spcBef>
              <a:buClr>
                <a:srgbClr val="A9A9A9"/>
              </a:buClr>
              <a:buFont typeface="Arial"/>
              <a:buChar char="–"/>
              <a:defRPr/>
            </a:lvl3pPr>
            <a:lvl4pPr marL="820641" indent="-152405" algn="l" rtl="0">
              <a:lnSpc>
                <a:spcPct val="110000"/>
              </a:lnSpc>
              <a:spcBef>
                <a:spcPts val="0"/>
              </a:spcBef>
              <a:buClr>
                <a:srgbClr val="A9A9A9"/>
              </a:buClr>
              <a:buFont typeface="Arial"/>
              <a:buChar char="–"/>
              <a:defRPr/>
            </a:lvl4pPr>
            <a:lvl5pPr marL="1080023" indent="-177317" algn="l" rtl="0">
              <a:lnSpc>
                <a:spcPct val="110000"/>
              </a:lnSpc>
              <a:spcBef>
                <a:spcPts val="0"/>
              </a:spcBef>
              <a:buClr>
                <a:srgbClr val="A9A9A9"/>
              </a:buClr>
              <a:buFont typeface="Arial"/>
              <a:buChar char="–"/>
              <a:defRPr/>
            </a:lvl5pPr>
            <a:lvl6pPr marL="2321243" indent="-93787" algn="l" rtl="0">
              <a:spcBef>
                <a:spcPts val="369"/>
              </a:spcBef>
              <a:buClr>
                <a:schemeClr val="dk1"/>
              </a:buClr>
              <a:buFont typeface="Arial"/>
              <a:buChar char="•"/>
              <a:defRPr/>
            </a:lvl6pPr>
            <a:lvl7pPr marL="2743287" indent="-93787" algn="l" rtl="0">
              <a:spcBef>
                <a:spcPts val="369"/>
              </a:spcBef>
              <a:buClr>
                <a:schemeClr val="dk1"/>
              </a:buClr>
              <a:buFont typeface="Arial"/>
              <a:buChar char="•"/>
              <a:defRPr/>
            </a:lvl7pPr>
            <a:lvl8pPr marL="3165331" indent="-93787" algn="l" rtl="0">
              <a:spcBef>
                <a:spcPts val="369"/>
              </a:spcBef>
              <a:buClr>
                <a:schemeClr val="dk1"/>
              </a:buClr>
              <a:buFont typeface="Arial"/>
              <a:buChar char="•"/>
              <a:defRPr/>
            </a:lvl8pPr>
            <a:lvl9pPr marL="3587375" indent="-93787" algn="l" rtl="0">
              <a:spcBef>
                <a:spcPts val="369"/>
              </a:spcBef>
              <a:buClr>
                <a:schemeClr val="dk1"/>
              </a:buClr>
              <a:buFont typeface="Arial"/>
              <a:buChar char="•"/>
              <a:defRPr/>
            </a:lvl9pPr>
          </a:lstStyle>
          <a:p>
            <a:endParaRPr/>
          </a:p>
        </p:txBody>
      </p:sp>
    </p:spTree>
    <p:extLst>
      <p:ext uri="{BB962C8B-B14F-4D97-AF65-F5344CB8AC3E}">
        <p14:creationId xmlns:p14="http://schemas.microsoft.com/office/powerpoint/2010/main" val="33068277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75045070"/>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a:xfrm>
            <a:off x="529007" y="448574"/>
            <a:ext cx="11133991" cy="276999"/>
          </a:xfrm>
          <a:prstGeom prst="rect">
            <a:avLst/>
          </a:prstGeom>
        </p:spPr>
        <p:txBody>
          <a:bodyPr lIns="0" rIns="0"/>
          <a:lstStyle>
            <a:lvl1pPr>
              <a:defRPr sz="2000">
                <a:solidFill>
                  <a:schemeClr val="accent1"/>
                </a:solidFill>
              </a:defRPr>
            </a:lvl1pPr>
          </a:lstStyle>
          <a:p>
            <a:r>
              <a:rPr lang="en-US" dirty="0"/>
              <a:t>Click to edit Master title style</a:t>
            </a:r>
          </a:p>
        </p:txBody>
      </p:sp>
      <p:sp>
        <p:nvSpPr>
          <p:cNvPr id="3" name="Content Placeholder 2"/>
          <p:cNvSpPr>
            <a:spLocks noGrp="1"/>
          </p:cNvSpPr>
          <p:nvPr>
            <p:ph idx="1" hasCustomPrompt="1"/>
          </p:nvPr>
        </p:nvSpPr>
        <p:spPr>
          <a:xfrm>
            <a:off x="529007" y="1628782"/>
            <a:ext cx="11133991" cy="932563"/>
          </a:xfrm>
          <a:prstGeom prst="rect">
            <a:avLst/>
          </a:prstGeom>
        </p:spPr>
        <p:txBody>
          <a:bodyPr lIns="0" rIns="0"/>
          <a:lstStyle>
            <a:lvl1pPr>
              <a:defRPr sz="1600">
                <a:solidFill>
                  <a:schemeClr val="tx1"/>
                </a:solidFill>
              </a:defRPr>
            </a:lvl1pPr>
            <a:lvl2pPr marL="304802" indent="-209551">
              <a:buClr>
                <a:schemeClr val="accent3"/>
              </a:buClr>
              <a:buFont typeface="Wingdings 2" panose="05020102010507070707" pitchFamily="18" charset="2"/>
              <a:buChar char=""/>
              <a:defRPr sz="1600">
                <a:solidFill>
                  <a:schemeClr val="tx1"/>
                </a:solidFill>
              </a:defRPr>
            </a:lvl2pPr>
            <a:lvl3pPr marL="647705" indent="-203201">
              <a:buClr>
                <a:schemeClr val="bg1">
                  <a:lumMod val="50000"/>
                </a:schemeClr>
              </a:buClr>
              <a:buFont typeface="Arial" panose="020B0604020202020204" pitchFamily="34" charset="0"/>
              <a:buChar cha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82056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416779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Breaker Slide_2">
  <p:cSld name="Breaker Slide_2">
    <p:bg>
      <p:bgPr>
        <a:solidFill>
          <a:schemeClr val="lt2"/>
        </a:solidFill>
        <a:effectLst/>
      </p:bgPr>
    </p:bg>
    <p:spTree>
      <p:nvGrpSpPr>
        <p:cNvPr id="1" name="Shape 122"/>
        <p:cNvGrpSpPr/>
        <p:nvPr/>
      </p:nvGrpSpPr>
      <p:grpSpPr>
        <a:xfrm>
          <a:off x="0" y="0"/>
          <a:ext cx="0" cy="0"/>
          <a:chOff x="0" y="0"/>
          <a:chExt cx="0" cy="0"/>
        </a:xfrm>
      </p:grpSpPr>
      <p:pic>
        <p:nvPicPr>
          <p:cNvPr id="123" name="Google Shape;123;p6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4" name="Google Shape;124;p69"/>
          <p:cNvSpPr/>
          <p:nvPr/>
        </p:nvSpPr>
        <p:spPr>
          <a:xfrm>
            <a:off x="0" y="0"/>
            <a:ext cx="12192000" cy="6858000"/>
          </a:xfrm>
          <a:prstGeom prst="rect">
            <a:avLst/>
          </a:prstGeom>
          <a:gradFill>
            <a:gsLst>
              <a:gs pos="0">
                <a:srgbClr val="062379"/>
              </a:gs>
              <a:gs pos="16000">
                <a:srgbClr val="062379"/>
              </a:gs>
              <a:gs pos="55000">
                <a:srgbClr val="0934B6">
                  <a:alpha val="87058"/>
                </a:srgbClr>
              </a:gs>
              <a:gs pos="85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5" name="Google Shape;125;p69"/>
          <p:cNvSpPr txBox="1">
            <a:spLocks noGrp="1"/>
          </p:cNvSpPr>
          <p:nvPr>
            <p:ph type="title"/>
          </p:nvPr>
        </p:nvSpPr>
        <p:spPr>
          <a:xfrm>
            <a:off x="992390" y="4396228"/>
            <a:ext cx="6785798" cy="830997"/>
          </a:xfrm>
          <a:prstGeom prst="rect">
            <a:avLst/>
          </a:prstGeom>
          <a:noFill/>
          <a:ln>
            <a:noFill/>
          </a:ln>
          <a:effectLst>
            <a:outerShdw blurRad="190500" algn="tl" rotWithShape="0">
              <a:srgbClr val="000000">
                <a:alpha val="27058"/>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b="1">
                <a:solidFill>
                  <a:schemeClr val="lt1"/>
                </a:solidFill>
                <a:latin typeface="Libre Franklin"/>
                <a:ea typeface="Libre Franklin"/>
                <a:cs typeface="Libre Franklin"/>
                <a:sym typeface="Libre Frankl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6" name="Google Shape;126;p69"/>
          <p:cNvGrpSpPr/>
          <p:nvPr/>
        </p:nvGrpSpPr>
        <p:grpSpPr>
          <a:xfrm>
            <a:off x="11998459" y="6162188"/>
            <a:ext cx="68500" cy="441925"/>
            <a:chOff x="11998459" y="6162188"/>
            <a:chExt cx="68500" cy="441925"/>
          </a:xfrm>
        </p:grpSpPr>
        <p:sp>
          <p:nvSpPr>
            <p:cNvPr id="127" name="Google Shape;127;p69"/>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8" name="Google Shape;128;p69"/>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9" name="Google Shape;129;p69"/>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0" name="Google Shape;130;p69"/>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1" name="Google Shape;131;p69"/>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2" name="Google Shape;132;p69"/>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3" name="Google Shape;133;p69"/>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4" name="Google Shape;134;p69"/>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5" name="Google Shape;135;p69"/>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6" name="Google Shape;136;p69"/>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7" name="Google Shape;137;p69"/>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 name="Google Shape;138;p69"/>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9" name="Google Shape;139;p69"/>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0" name="Google Shape;140;p69"/>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3. All rights reserved.</a:t>
            </a:r>
            <a:endParaRPr sz="1400" b="0" i="0" u="none" strike="noStrike" cap="none">
              <a:solidFill>
                <a:srgbClr val="000000"/>
              </a:solidFill>
              <a:latin typeface="Calibri"/>
              <a:ea typeface="Calibri"/>
              <a:cs typeface="Calibri"/>
              <a:sym typeface="Calibri"/>
            </a:endParaRPr>
          </a:p>
        </p:txBody>
      </p:sp>
      <p:sp>
        <p:nvSpPr>
          <p:cNvPr id="141" name="Google Shape;141;p6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 name="Google Shape;142;p69"/>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4910848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2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8262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4"/>
            <a:ext cx="5400675" cy="1279838"/>
          </a:xfrm>
        </p:spPr>
        <p:txBody>
          <a:bodyPr vert="horz" lIns="0" tIns="0" rIns="0" bIns="0" rtlCol="0">
            <a:spAutoFit/>
          </a:bodyPr>
          <a:lstStyle>
            <a:lvl1pPr>
              <a:defRPr lang="en-US" sz="1400" dirty="0"/>
            </a:lvl1pPr>
            <a:lvl2pPr>
              <a:defRPr lang="en-US" sz="1400" dirty="0"/>
            </a:lvl2pPr>
            <a:lvl3pPr marL="179389"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80" lvl="2" indent="-179390" algn="l" defTabSz="914412"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7"/>
            <a:ext cx="5400675" cy="39138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5"/>
            <a:ext cx="5400675" cy="1279838"/>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7"/>
            <a:ext cx="5400675" cy="39138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1" name="Footer Placeholder 4">
            <a:extLst>
              <a:ext uri="{FF2B5EF4-FFF2-40B4-BE49-F238E27FC236}">
                <a16:creationId xmlns:a16="http://schemas.microsoft.com/office/drawing/2014/main" id="{456E97DD-069F-4133-A109-0593CB969E3F}"/>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3785331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62723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 t="-4" r="-1" b="-4"/>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80270E3B-760C-41F0-B9D6-A2E014047679}"/>
              </a:ext>
            </a:extLst>
          </p:cNvPr>
          <p:cNvSpPr/>
          <p:nvPr userDrawn="1"/>
        </p:nvSpPr>
        <p:spPr>
          <a:xfrm>
            <a:off x="536449"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9" y="1844677"/>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7" y="3066686"/>
            <a:ext cx="5478239" cy="1231106"/>
          </a:xfrm>
        </p:spPr>
        <p:txBody>
          <a:bodyPr vert="horz" wrap="square" lIns="0" tIns="0" rIns="0" bIns="0" rtlCol="0" anchor="b">
            <a:spAutoFit/>
          </a:bodyPr>
          <a:lstStyle>
            <a:lvl1pPr>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7" y="4348579"/>
            <a:ext cx="5478239" cy="292388"/>
          </a:xfrm>
        </p:spPr>
        <p:txBody>
          <a:bodyPr vert="horz" wrap="square" lIns="0" tIns="0" rIns="0" bIns="0" rtlCol="0" anchor="t">
            <a:spAutoFit/>
          </a:bodyPr>
          <a:lstStyle>
            <a:lvl1pPr>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90"/>
            <a:ext cx="357470" cy="193899"/>
          </a:xfrm>
          <a:prstGeom prst="rect">
            <a:avLst/>
          </a:prstGeom>
        </p:spPr>
        <p:txBody>
          <a:bodyPr vert="horz" wrap="none" lIns="0" tIns="0" rIns="0" bIns="0" rtlCol="0" anchor="t">
            <a:spAutoFit/>
          </a:bodyPr>
          <a:lstStyle>
            <a:lvl1pPr>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indent="-228602">
              <a:lnSpc>
                <a:spcPct val="90000"/>
              </a:lnSpc>
              <a:spcBef>
                <a:spcPts val="1000"/>
              </a:spcBef>
            </a:pPr>
            <a:r>
              <a:rPr lang="en-US"/>
              <a:t>Date</a:t>
            </a:r>
            <a:endParaRPr lang="en-US" dirty="0"/>
          </a:p>
        </p:txBody>
      </p:sp>
      <p:pic>
        <p:nvPicPr>
          <p:cNvPr id="6" name="Graphic 5">
            <a:extLst>
              <a:ext uri="{FF2B5EF4-FFF2-40B4-BE49-F238E27FC236}">
                <a16:creationId xmlns:a16="http://schemas.microsoft.com/office/drawing/2014/main" id="{373CF3BF-BC79-895D-2080-23B54D7D49E7}"/>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5582" y="172909"/>
            <a:ext cx="2992347" cy="1118907"/>
          </a:xfrm>
          <a:prstGeom prst="rect">
            <a:avLst/>
          </a:prstGeom>
        </p:spPr>
      </p:pic>
    </p:spTree>
    <p:extLst>
      <p:ext uri="{BB962C8B-B14F-4D97-AF65-F5344CB8AC3E}">
        <p14:creationId xmlns:p14="http://schemas.microsoft.com/office/powerpoint/2010/main" val="10120508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1_Title Slide (Option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1182521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1" name="Picture 30" descr="A person holding a phone&#10;&#10;Description automatically generated with low confidence">
            <a:extLst>
              <a:ext uri="{FF2B5EF4-FFF2-40B4-BE49-F238E27FC236}">
                <a16:creationId xmlns:a16="http://schemas.microsoft.com/office/drawing/2014/main" id="{E6014E73-E918-7E3B-1116-0A79F39C8C77}"/>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0322" t="-1" r="21590" b="-1"/>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80270E3B-760C-41F0-B9D6-A2E014047679}"/>
              </a:ext>
            </a:extLst>
          </p:cNvPr>
          <p:cNvSpPr/>
          <p:nvPr userDrawn="1"/>
        </p:nvSpPr>
        <p:spPr>
          <a:xfrm>
            <a:off x="536449" y="0"/>
            <a:ext cx="6363291" cy="1475219"/>
          </a:xfrm>
          <a:prstGeom prst="rect">
            <a:avLst/>
          </a:prstGeom>
          <a:gradFill flip="none" rotWithShape="1">
            <a:gsLst>
              <a:gs pos="0">
                <a:schemeClr val="tx2">
                  <a:lumMod val="50000"/>
                </a:schemeClr>
              </a:gs>
              <a:gs pos="45000">
                <a:schemeClr val="tx2">
                  <a:lumMod val="50000"/>
                  <a:alpha val="90000"/>
                </a:schemeClr>
              </a:gs>
              <a:gs pos="100000">
                <a:schemeClr val="tx2">
                  <a:lumMod val="75000"/>
                  <a:alpha val="8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33" name="Graphic 32">
            <a:extLst>
              <a:ext uri="{FF2B5EF4-FFF2-40B4-BE49-F238E27FC236}">
                <a16:creationId xmlns:a16="http://schemas.microsoft.com/office/drawing/2014/main" id="{0CEEA00B-DE05-BC01-6E87-AC9F343D5469}"/>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5582" y="172909"/>
            <a:ext cx="2992347" cy="1118907"/>
          </a:xfrm>
          <a:prstGeom prst="rect">
            <a:avLst/>
          </a:prstGeom>
        </p:spPr>
      </p:pic>
      <p:sp>
        <p:nvSpPr>
          <p:cNvPr id="5" name="Rectangle 4" hidden="1">
            <a:extLst>
              <a:ext uri="{FF2B5EF4-FFF2-40B4-BE49-F238E27FC236}">
                <a16:creationId xmlns:a16="http://schemas.microsoft.com/office/drawing/2014/main" id="{1EC7EB34-6497-4D19-B99E-5F4D7F924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14" name="Rectangle 13">
            <a:extLst>
              <a:ext uri="{FF2B5EF4-FFF2-40B4-BE49-F238E27FC236}">
                <a16:creationId xmlns:a16="http://schemas.microsoft.com/office/drawing/2014/main" id="{A3F336B7-5196-4F00-B83A-3DCD314992C8}"/>
              </a:ext>
            </a:extLst>
          </p:cNvPr>
          <p:cNvSpPr/>
          <p:nvPr userDrawn="1"/>
        </p:nvSpPr>
        <p:spPr>
          <a:xfrm>
            <a:off x="536449" y="1844677"/>
            <a:ext cx="6363291" cy="5013324"/>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7" y="3066686"/>
            <a:ext cx="5478239" cy="1231106"/>
          </a:xfrm>
        </p:spPr>
        <p:txBody>
          <a:bodyPr vert="horz" wrap="square" lIns="0" tIns="0" rIns="0" bIns="0" rtlCol="0" anchor="b">
            <a:spAutoFit/>
          </a:bodyPr>
          <a:lstStyle>
            <a:lvl1pPr>
              <a:defRPr lang="en-IN" sz="5000" b="0" cap="none" baseline="0" dirty="0">
                <a:solidFill>
                  <a:schemeClr val="bg1"/>
                </a:solidFill>
                <a:latin typeface="Franklin Gothic Demi" panose="020B07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7" y="4348579"/>
            <a:ext cx="5478239" cy="292388"/>
          </a:xfrm>
        </p:spPr>
        <p:txBody>
          <a:bodyPr vert="horz" wrap="square" lIns="0" tIns="0" rIns="0" bIns="0" rtlCol="0" anchor="t">
            <a:spAutoFit/>
          </a:bodyPr>
          <a:lstStyle>
            <a:lvl1pPr>
              <a:defRPr lang="en-IN" sz="2000" cap="none" baseline="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90"/>
            <a:ext cx="357470" cy="193899"/>
          </a:xfrm>
          <a:prstGeom prst="rect">
            <a:avLst/>
          </a:prstGeom>
        </p:spPr>
        <p:txBody>
          <a:bodyPr vert="horz" wrap="none" lIns="0" tIns="0" rIns="0" bIns="0" rtlCol="0" anchor="t">
            <a:spAutoFit/>
          </a:bodyPr>
          <a:lstStyle>
            <a:lvl1pPr>
              <a:defRPr lang="en-IN" sz="1400">
                <a:solidFill>
                  <a:schemeClr val="bg1"/>
                </a:solidFill>
                <a:latin typeface="Franklin Gothic Book" panose="020B0503020102020204" pitchFamily="34" charset="0"/>
                <a:ea typeface="Cambria Math" panose="02040503050406030204" pitchFamily="18" charset="0"/>
                <a:cs typeface="Calibri" panose="020F0502020204030204" pitchFamily="34" charset="0"/>
                <a:sym typeface="Calibri" panose="020F0502020204030204" pitchFamily="34" charset="0"/>
              </a:defRPr>
            </a:lvl1pPr>
          </a:lstStyle>
          <a:p>
            <a:pPr marL="228602" indent="-228602">
              <a:lnSpc>
                <a:spcPct val="90000"/>
              </a:lnSpc>
              <a:spcBef>
                <a:spcPts val="1000"/>
              </a:spcBef>
            </a:pPr>
            <a:r>
              <a:rPr lang="en-US"/>
              <a:t>Date</a:t>
            </a:r>
            <a:endParaRPr lang="en-US" dirty="0"/>
          </a:p>
        </p:txBody>
      </p:sp>
      <p:grpSp>
        <p:nvGrpSpPr>
          <p:cNvPr id="7" name="Google Shape;36;p40">
            <a:extLst>
              <a:ext uri="{FF2B5EF4-FFF2-40B4-BE49-F238E27FC236}">
                <a16:creationId xmlns:a16="http://schemas.microsoft.com/office/drawing/2014/main" id="{71CB15B7-864A-9DC1-657D-C5E29829C0C4}"/>
              </a:ext>
            </a:extLst>
          </p:cNvPr>
          <p:cNvGrpSpPr/>
          <p:nvPr userDrawn="1"/>
        </p:nvGrpSpPr>
        <p:grpSpPr>
          <a:xfrm>
            <a:off x="11998460" y="6162190"/>
            <a:ext cx="68500" cy="441924"/>
            <a:chOff x="11998459" y="6162188"/>
            <a:chExt cx="68500" cy="441925"/>
          </a:xfrm>
        </p:grpSpPr>
        <p:sp>
          <p:nvSpPr>
            <p:cNvPr id="8" name="Google Shape;37;p40">
              <a:extLst>
                <a:ext uri="{FF2B5EF4-FFF2-40B4-BE49-F238E27FC236}">
                  <a16:creationId xmlns:a16="http://schemas.microsoft.com/office/drawing/2014/main" id="{EA80B92E-3B36-97BC-4D57-7347B591B62F}"/>
                </a:ext>
              </a:extLst>
            </p:cNvPr>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9" name="Google Shape;38;p40">
              <a:extLst>
                <a:ext uri="{FF2B5EF4-FFF2-40B4-BE49-F238E27FC236}">
                  <a16:creationId xmlns:a16="http://schemas.microsoft.com/office/drawing/2014/main" id="{4995F9A6-17AD-A39B-8EA7-0DE7FBFF28FE}"/>
                </a:ext>
              </a:extLst>
            </p:cNvPr>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2" name="Google Shape;39;p40">
              <a:extLst>
                <a:ext uri="{FF2B5EF4-FFF2-40B4-BE49-F238E27FC236}">
                  <a16:creationId xmlns:a16="http://schemas.microsoft.com/office/drawing/2014/main" id="{34E53C25-2166-CAC6-9E8F-A0BE178603EB}"/>
                </a:ext>
              </a:extLst>
            </p:cNvPr>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6" name="Google Shape;40;p40">
              <a:extLst>
                <a:ext uri="{FF2B5EF4-FFF2-40B4-BE49-F238E27FC236}">
                  <a16:creationId xmlns:a16="http://schemas.microsoft.com/office/drawing/2014/main" id="{5B114610-DBFE-CDA2-3B7A-F0C2EE7DB0A5}"/>
                </a:ext>
              </a:extLst>
            </p:cNvPr>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7" name="Google Shape;41;p40">
              <a:extLst>
                <a:ext uri="{FF2B5EF4-FFF2-40B4-BE49-F238E27FC236}">
                  <a16:creationId xmlns:a16="http://schemas.microsoft.com/office/drawing/2014/main" id="{7D0C0229-5440-8189-5503-5D9E544B57CA}"/>
                </a:ext>
              </a:extLst>
            </p:cNvPr>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8" name="Google Shape;42;p40">
              <a:extLst>
                <a:ext uri="{FF2B5EF4-FFF2-40B4-BE49-F238E27FC236}">
                  <a16:creationId xmlns:a16="http://schemas.microsoft.com/office/drawing/2014/main" id="{FC619FBD-843D-EBA5-67AB-147D3A892EE3}"/>
                </a:ext>
              </a:extLst>
            </p:cNvPr>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19" name="Google Shape;43;p40">
              <a:extLst>
                <a:ext uri="{FF2B5EF4-FFF2-40B4-BE49-F238E27FC236}">
                  <a16:creationId xmlns:a16="http://schemas.microsoft.com/office/drawing/2014/main" id="{CCC34957-9A7C-0763-8B57-5A07BF04DFF2}"/>
                </a:ext>
              </a:extLst>
            </p:cNvPr>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0" name="Google Shape;44;p40">
              <a:extLst>
                <a:ext uri="{FF2B5EF4-FFF2-40B4-BE49-F238E27FC236}">
                  <a16:creationId xmlns:a16="http://schemas.microsoft.com/office/drawing/2014/main" id="{AFA1F52E-53BE-E294-409A-0652228C6A15}"/>
                </a:ext>
              </a:extLst>
            </p:cNvPr>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1" name="Google Shape;45;p40">
              <a:extLst>
                <a:ext uri="{FF2B5EF4-FFF2-40B4-BE49-F238E27FC236}">
                  <a16:creationId xmlns:a16="http://schemas.microsoft.com/office/drawing/2014/main" id="{E3E692E2-49D9-5C5D-0473-3946E393C3DF}"/>
                </a:ext>
              </a:extLst>
            </p:cNvPr>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2" name="Google Shape;46;p40">
              <a:extLst>
                <a:ext uri="{FF2B5EF4-FFF2-40B4-BE49-F238E27FC236}">
                  <a16:creationId xmlns:a16="http://schemas.microsoft.com/office/drawing/2014/main" id="{3184E9C6-3ECC-49EC-2BCB-E2FD9A3F5F76}"/>
                </a:ext>
              </a:extLst>
            </p:cNvPr>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3" name="Google Shape;47;p40">
              <a:extLst>
                <a:ext uri="{FF2B5EF4-FFF2-40B4-BE49-F238E27FC236}">
                  <a16:creationId xmlns:a16="http://schemas.microsoft.com/office/drawing/2014/main" id="{44E2B659-1506-7949-0B17-5E4459601EB9}"/>
                </a:ext>
              </a:extLst>
            </p:cNvPr>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4" name="Google Shape;48;p40">
              <a:extLst>
                <a:ext uri="{FF2B5EF4-FFF2-40B4-BE49-F238E27FC236}">
                  <a16:creationId xmlns:a16="http://schemas.microsoft.com/office/drawing/2014/main" id="{CC6ED06C-97E6-48AB-E9A5-1D80DD743E7B}"/>
                </a:ext>
              </a:extLst>
            </p:cNvPr>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25" name="Google Shape;49;p40">
              <a:extLst>
                <a:ext uri="{FF2B5EF4-FFF2-40B4-BE49-F238E27FC236}">
                  <a16:creationId xmlns:a16="http://schemas.microsoft.com/office/drawing/2014/main" id="{2820FE41-EED0-281E-DD24-13E298BB539A}"/>
                </a:ext>
              </a:extLst>
            </p:cNvPr>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grpSp>
      <p:sp>
        <p:nvSpPr>
          <p:cNvPr id="26" name="Google Shape;50;p40">
            <a:extLst>
              <a:ext uri="{FF2B5EF4-FFF2-40B4-BE49-F238E27FC236}">
                <a16:creationId xmlns:a16="http://schemas.microsoft.com/office/drawing/2014/main" id="{0CE85B7A-8B69-DC97-F849-280347C23F9A}"/>
              </a:ext>
            </a:extLst>
          </p:cNvPr>
          <p:cNvSpPr txBox="1"/>
          <p:nvPr userDrawn="1"/>
        </p:nvSpPr>
        <p:spPr>
          <a:xfrm rot="-5400000">
            <a:off x="11250972" y="5290634"/>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IN" sz="800" b="0" i="0" u="none" strike="noStrike" cap="none" dirty="0">
                <a:solidFill>
                  <a:schemeClr val="lt1"/>
                </a:solidFill>
                <a:latin typeface="Calibri"/>
                <a:ea typeface="Calibri"/>
                <a:cs typeface="Calibri"/>
                <a:sym typeface="Calibri"/>
              </a:rPr>
              <a:t>Copyright © 2023. All rights reserved.</a:t>
            </a:r>
            <a:endParaRPr sz="1401"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2806046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Option 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167642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large body of water with a city in the background&#10;&#10;Description automatically generated">
            <a:extLst>
              <a:ext uri="{FF2B5EF4-FFF2-40B4-BE49-F238E27FC236}">
                <a16:creationId xmlns:a16="http://schemas.microsoft.com/office/drawing/2014/main" id="{A415120D-3668-49C1-AE11-A5139E17FB7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214" t="3933" r="2214" b="3933"/>
          <a:stretch/>
        </p:blipFill>
        <p:spPr>
          <a:xfrm>
            <a:off x="269998" y="270000"/>
            <a:ext cx="11652001" cy="6318000"/>
          </a:xfrm>
          <a:prstGeom prst="rect">
            <a:avLst/>
          </a:prstGeom>
        </p:spPr>
      </p:pic>
      <p:sp>
        <p:nvSpPr>
          <p:cNvPr id="13" name="Rectangle 12">
            <a:extLst>
              <a:ext uri="{FF2B5EF4-FFF2-40B4-BE49-F238E27FC236}">
                <a16:creationId xmlns:a16="http://schemas.microsoft.com/office/drawing/2014/main" id="{7BE857BB-5DDF-4AEA-8F22-D5F9820E5C07}"/>
              </a:ext>
            </a:extLst>
          </p:cNvPr>
          <p:cNvSpPr/>
          <p:nvPr userDrawn="1"/>
        </p:nvSpPr>
        <p:spPr>
          <a:xfrm>
            <a:off x="536449" y="540000"/>
            <a:ext cx="6363891" cy="631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7" name="Graphic 6">
            <a:extLst>
              <a:ext uri="{FF2B5EF4-FFF2-40B4-BE49-F238E27FC236}">
                <a16:creationId xmlns:a16="http://schemas.microsoft.com/office/drawing/2014/main" id="{86B2B309-DF2B-9D8F-69F9-E990D37D8E99}"/>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1261" y="622237"/>
            <a:ext cx="2992347" cy="1118907"/>
          </a:xfrm>
          <a:prstGeom prst="rect">
            <a:avLst/>
          </a:prstGeom>
        </p:spPr>
      </p:pic>
      <p:sp>
        <p:nvSpPr>
          <p:cNvPr id="5" name="Rectangle 4" hidden="1">
            <a:extLst>
              <a:ext uri="{FF2B5EF4-FFF2-40B4-BE49-F238E27FC236}">
                <a16:creationId xmlns:a16="http://schemas.microsoft.com/office/drawing/2014/main" id="{A4A727BF-EF41-4850-A868-11C0325A6C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6" y="3066686"/>
            <a:ext cx="5337943"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6" y="4348579"/>
            <a:ext cx="5337943"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923690"/>
            <a:ext cx="357470" cy="193899"/>
          </a:xfrm>
          <a:prstGeom prst="rect">
            <a:avLst/>
          </a:prstGeom>
        </p:spPr>
        <p:txBody>
          <a:bodyPr vert="horz" wrap="non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2" indent="-228602">
              <a:lnSpc>
                <a:spcPct val="90000"/>
              </a:lnSpc>
              <a:spcBef>
                <a:spcPts val="1000"/>
              </a:spcBef>
            </a:pPr>
            <a:r>
              <a:rPr lang="en-US"/>
              <a:t>Date</a:t>
            </a:r>
          </a:p>
        </p:txBody>
      </p:sp>
    </p:spTree>
    <p:extLst>
      <p:ext uri="{BB962C8B-B14F-4D97-AF65-F5344CB8AC3E}">
        <p14:creationId xmlns:p14="http://schemas.microsoft.com/office/powerpoint/2010/main" val="39701798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 (Option 3)">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22285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517" t="8006" r="4517" b="8006"/>
          <a:stretch/>
        </p:blipFill>
        <p:spPr>
          <a:xfrm>
            <a:off x="550861" y="549275"/>
            <a:ext cx="11090276" cy="5759451"/>
          </a:xfrm>
          <a:prstGeom prst="rect">
            <a:avLst/>
          </a:prstGeom>
        </p:spPr>
      </p:pic>
      <p:sp>
        <p:nvSpPr>
          <p:cNvPr id="12" name="Rectangle 11">
            <a:extLst>
              <a:ext uri="{FF2B5EF4-FFF2-40B4-BE49-F238E27FC236}">
                <a16:creationId xmlns:a16="http://schemas.microsoft.com/office/drawing/2014/main" id="{EA92DE9B-D3C3-4D9E-909D-59D0ACABEB18}"/>
              </a:ext>
            </a:extLst>
          </p:cNvPr>
          <p:cNvSpPr/>
          <p:nvPr userDrawn="1"/>
        </p:nvSpPr>
        <p:spPr>
          <a:xfrm>
            <a:off x="1083553" y="1080000"/>
            <a:ext cx="5816186" cy="5778000"/>
          </a:xfrm>
          <a:prstGeom prst="rect">
            <a:avLst/>
          </a:prstGeom>
          <a:gradFill flip="none" rotWithShape="1">
            <a:gsLst>
              <a:gs pos="0">
                <a:schemeClr val="tx2">
                  <a:lumMod val="50000"/>
                </a:schemeClr>
              </a:gs>
              <a:gs pos="26000">
                <a:schemeClr val="tx2">
                  <a:lumMod val="75000"/>
                  <a:alpha val="90000"/>
                </a:schemeClr>
              </a:gs>
              <a:gs pos="64000">
                <a:srgbClr val="036DFF">
                  <a:alpha val="80000"/>
                </a:srgbClr>
              </a:gs>
              <a:gs pos="100000">
                <a:schemeClr val="accent3">
                  <a:lumMod val="60000"/>
                  <a:lumOff val="40000"/>
                  <a:alpha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6" name="Graphic 5">
            <a:extLst>
              <a:ext uri="{FF2B5EF4-FFF2-40B4-BE49-F238E27FC236}">
                <a16:creationId xmlns:a16="http://schemas.microsoft.com/office/drawing/2014/main" id="{750F7501-6EC7-1AC7-42E0-4E0B8DEC2620}"/>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47078" y="1317829"/>
            <a:ext cx="2992347" cy="1118907"/>
          </a:xfrm>
          <a:prstGeom prst="rect">
            <a:avLst/>
          </a:prstGeom>
        </p:spPr>
      </p:pic>
      <p:sp>
        <p:nvSpPr>
          <p:cNvPr id="5" name="Rectangle 4" hidden="1">
            <a:extLst>
              <a:ext uri="{FF2B5EF4-FFF2-40B4-BE49-F238E27FC236}">
                <a16:creationId xmlns:a16="http://schemas.microsoft.com/office/drawing/2014/main" id="{2C3BFC25-365A-4293-AFC3-06979C33ED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1631950" y="5778001"/>
            <a:ext cx="357470" cy="193899"/>
          </a:xfrm>
          <a:prstGeom prst="rect">
            <a:avLst/>
          </a:prstGeom>
        </p:spPr>
        <p:txBody>
          <a:bodyPr vert="horz" wrap="non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2" indent="-228602">
              <a:lnSpc>
                <a:spcPct val="90000"/>
              </a:lnSpc>
              <a:spcBef>
                <a:spcPts val="1000"/>
              </a:spcBef>
            </a:pPr>
            <a:r>
              <a:rPr lang="en-US"/>
              <a:t>Date</a:t>
            </a: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1631951" y="3610939"/>
            <a:ext cx="4799330"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1631951" y="4892832"/>
            <a:ext cx="4799330"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2" lvl="0" indent="-228602"/>
            <a:r>
              <a:rPr lang="en-US"/>
              <a:t>Click to edit Master subtitle style</a:t>
            </a:r>
            <a:endParaRPr lang="en-IN" dirty="0"/>
          </a:p>
        </p:txBody>
      </p:sp>
    </p:spTree>
    <p:extLst>
      <p:ext uri="{BB962C8B-B14F-4D97-AF65-F5344CB8AC3E}">
        <p14:creationId xmlns:p14="http://schemas.microsoft.com/office/powerpoint/2010/main" val="2071846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Option 4)">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CE9C0F7-0947-46FA-9C54-3EB962151994}"/>
              </a:ext>
            </a:extLst>
          </p:cNvPr>
          <p:cNvGraphicFramePr>
            <a:graphicFrameLocks noChangeAspect="1"/>
          </p:cNvGraphicFramePr>
          <p:nvPr userDrawn="1">
            <p:custDataLst>
              <p:tags r:id="rId1"/>
            </p:custDataLst>
            <p:extLst>
              <p:ext uri="{D42A27DB-BD31-4B8C-83A1-F6EECF244321}">
                <p14:modId xmlns:p14="http://schemas.microsoft.com/office/powerpoint/2010/main" val="267392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7CE9C0F7-0947-46FA-9C54-3EB962151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large body of water with a city in the background&#10;&#10;Description automatically generated">
            <a:extLst>
              <a:ext uri="{FF2B5EF4-FFF2-40B4-BE49-F238E27FC236}">
                <a16:creationId xmlns:a16="http://schemas.microsoft.com/office/drawing/2014/main" id="{364E61D0-96DE-4258-B6B7-F0D58FB677A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 t="15627" r="-1" b="6561"/>
          <a:stretch/>
        </p:blipFill>
        <p:spPr>
          <a:xfrm>
            <a:off x="0" y="1522048"/>
            <a:ext cx="12192000" cy="5335952"/>
          </a:xfrm>
          <a:prstGeom prst="rect">
            <a:avLst/>
          </a:prstGeom>
        </p:spPr>
      </p:pic>
      <p:sp>
        <p:nvSpPr>
          <p:cNvPr id="14" name="Rectangle 13">
            <a:extLst>
              <a:ext uri="{FF2B5EF4-FFF2-40B4-BE49-F238E27FC236}">
                <a16:creationId xmlns:a16="http://schemas.microsoft.com/office/drawing/2014/main" id="{A3F336B7-5196-4F00-B83A-3DCD314992C8}"/>
              </a:ext>
            </a:extLst>
          </p:cNvPr>
          <p:cNvSpPr/>
          <p:nvPr userDrawn="1"/>
        </p:nvSpPr>
        <p:spPr>
          <a:xfrm>
            <a:off x="536449" y="0"/>
            <a:ext cx="6363291" cy="6308726"/>
          </a:xfrm>
          <a:prstGeom prst="rect">
            <a:avLst/>
          </a:prstGeom>
          <a:gradFill flip="none" rotWithShape="1">
            <a:gsLst>
              <a:gs pos="0">
                <a:schemeClr val="tx2">
                  <a:lumMod val="50000"/>
                </a:schemeClr>
              </a:gs>
              <a:gs pos="39000">
                <a:schemeClr val="tx2">
                  <a:lumMod val="75000"/>
                  <a:alpha val="95000"/>
                </a:schemeClr>
              </a:gs>
              <a:gs pos="74000">
                <a:srgbClr val="036DFF">
                  <a:alpha val="80000"/>
                </a:srgbClr>
              </a:gs>
              <a:gs pos="100000">
                <a:schemeClr val="accent3">
                  <a:lumMod val="60000"/>
                  <a:lumOff val="40000"/>
                  <a:alpha val="90000"/>
                </a:scheme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6" name="Graphic 5">
            <a:extLst>
              <a:ext uri="{FF2B5EF4-FFF2-40B4-BE49-F238E27FC236}">
                <a16:creationId xmlns:a16="http://schemas.microsoft.com/office/drawing/2014/main" id="{3683BD48-CFDF-B684-1DAD-50E88FF5A58E}"/>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382" y="148436"/>
            <a:ext cx="3231114" cy="1208188"/>
          </a:xfrm>
          <a:prstGeom prst="rect">
            <a:avLst/>
          </a:prstGeom>
        </p:spPr>
      </p:pic>
      <p:sp>
        <p:nvSpPr>
          <p:cNvPr id="5" name="Rectangle 4" hidden="1">
            <a:extLst>
              <a:ext uri="{FF2B5EF4-FFF2-40B4-BE49-F238E27FC236}">
                <a16:creationId xmlns:a16="http://schemas.microsoft.com/office/drawing/2014/main" id="{8914727E-8174-4A53-8CD1-66A25E0EEAA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0" i="0" baseline="0" dirty="0">
              <a:latin typeface="Franklin Gothic Demi" panose="020B0703020102020204" pitchFamily="34" charset="0"/>
              <a:ea typeface="Cambria Math" panose="02040503050406030204" pitchFamily="18" charset="0"/>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E5096211-CADB-40EE-891C-C4ED3F3EB0BA}"/>
              </a:ext>
            </a:extLst>
          </p:cNvPr>
          <p:cNvSpPr>
            <a:spLocks noGrp="1"/>
          </p:cNvSpPr>
          <p:nvPr>
            <p:ph type="ctrTitle"/>
          </p:nvPr>
        </p:nvSpPr>
        <p:spPr>
          <a:xfrm>
            <a:off x="902897" y="3066686"/>
            <a:ext cx="5478239" cy="1231106"/>
          </a:xfrm>
        </p:spPr>
        <p:txBody>
          <a:bodyPr vert="horz" wrap="square" lIns="0" tIns="0" rIns="0" bIns="0" rtlCol="0" anchor="b">
            <a:spAutoFit/>
          </a:bodyPr>
          <a:lstStyle>
            <a:lvl1pPr>
              <a:defRPr lang="en-IN" sz="5000" cap="none" baseline="0" dirty="0">
                <a:solidFill>
                  <a:schemeClr val="bg1"/>
                </a:solidFill>
                <a:ea typeface="Cambria Math" panose="02040503050406030204" pitchFamily="18" charset="0"/>
              </a:defRPr>
            </a:lvl1pPr>
          </a:lstStyle>
          <a:p>
            <a:pPr marL="0" lvl="0">
              <a:lnSpc>
                <a:spcPts val="4800"/>
              </a:lnSpc>
            </a:pPr>
            <a:r>
              <a:rPr lang="en-US" dirty="0"/>
              <a:t>Click to edit Master title style</a:t>
            </a:r>
            <a:endParaRPr lang="en-IN" dirty="0"/>
          </a:p>
        </p:txBody>
      </p:sp>
      <p:sp>
        <p:nvSpPr>
          <p:cNvPr id="3" name="Subtitle 2">
            <a:extLst>
              <a:ext uri="{FF2B5EF4-FFF2-40B4-BE49-F238E27FC236}">
                <a16:creationId xmlns:a16="http://schemas.microsoft.com/office/drawing/2014/main" id="{0E565FE0-2809-493A-B700-817CBD62C81D}"/>
              </a:ext>
            </a:extLst>
          </p:cNvPr>
          <p:cNvSpPr>
            <a:spLocks noGrp="1"/>
          </p:cNvSpPr>
          <p:nvPr>
            <p:ph type="subTitle" idx="1"/>
          </p:nvPr>
        </p:nvSpPr>
        <p:spPr>
          <a:xfrm>
            <a:off x="902897" y="4348579"/>
            <a:ext cx="5478239" cy="292388"/>
          </a:xfrm>
        </p:spPr>
        <p:txBody>
          <a:bodyPr vert="horz" wrap="square" lIns="0" tIns="0" rIns="0" bIns="0" rtlCol="0" anchor="t">
            <a:spAutoFit/>
          </a:bodyPr>
          <a:lstStyle>
            <a:lvl1pPr>
              <a:defRPr lang="en-IN" sz="2000" cap="none" baseline="0" dirty="0">
                <a:solidFill>
                  <a:schemeClr val="bg1"/>
                </a:solidFill>
                <a:latin typeface="Franklin Gothic Book" panose="020B0503020102020204" pitchFamily="34" charset="0"/>
                <a:ea typeface="Cambria Math" panose="02040503050406030204" pitchFamily="18" charset="0"/>
              </a:defRPr>
            </a:lvl1pPr>
          </a:lstStyle>
          <a:p>
            <a:pPr marL="228602" lvl="0" indent="-228602"/>
            <a:r>
              <a:rPr lang="en-US"/>
              <a:t>Click to edit Master subtitle style</a:t>
            </a:r>
            <a:endParaRPr lang="en-IN" dirty="0"/>
          </a:p>
        </p:txBody>
      </p:sp>
      <p:sp>
        <p:nvSpPr>
          <p:cNvPr id="15" name="Date Placeholder 3">
            <a:extLst>
              <a:ext uri="{FF2B5EF4-FFF2-40B4-BE49-F238E27FC236}">
                <a16:creationId xmlns:a16="http://schemas.microsoft.com/office/drawing/2014/main" id="{35D196B3-F737-4D0C-9218-25E0AD308256}"/>
              </a:ext>
            </a:extLst>
          </p:cNvPr>
          <p:cNvSpPr>
            <a:spLocks noGrp="1"/>
          </p:cNvSpPr>
          <p:nvPr>
            <p:ph type="dt" sz="half" idx="10"/>
          </p:nvPr>
        </p:nvSpPr>
        <p:spPr>
          <a:xfrm>
            <a:off x="902896" y="5842431"/>
            <a:ext cx="357470" cy="193899"/>
          </a:xfrm>
          <a:prstGeom prst="rect">
            <a:avLst/>
          </a:prstGeom>
        </p:spPr>
        <p:txBody>
          <a:bodyPr vert="horz" wrap="none" lIns="0" tIns="0" rIns="0" bIns="0" rtlCol="0" anchor="t">
            <a:spAutoFit/>
          </a:bodyPr>
          <a:lstStyle>
            <a:lvl1pPr>
              <a:defRPr lang="en-IN" sz="1400" dirty="0">
                <a:solidFill>
                  <a:schemeClr val="bg1"/>
                </a:solidFill>
                <a:latin typeface="Franklin Gothic Book" panose="020B0503020102020204" pitchFamily="34" charset="0"/>
                <a:ea typeface="Cambria Math" panose="02040503050406030204" pitchFamily="18" charset="0"/>
                <a:cs typeface="Calibri" panose="020F0502020204030204" pitchFamily="34" charset="0"/>
              </a:defRPr>
            </a:lvl1pPr>
          </a:lstStyle>
          <a:p>
            <a:pPr marL="228602" indent="-228602">
              <a:lnSpc>
                <a:spcPct val="90000"/>
              </a:lnSpc>
              <a:spcBef>
                <a:spcPts val="1000"/>
              </a:spcBef>
            </a:pPr>
            <a:r>
              <a:rPr lang="en-US"/>
              <a:t>Date</a:t>
            </a:r>
          </a:p>
        </p:txBody>
      </p:sp>
    </p:spTree>
    <p:extLst>
      <p:ext uri="{BB962C8B-B14F-4D97-AF65-F5344CB8AC3E}">
        <p14:creationId xmlns:p14="http://schemas.microsoft.com/office/powerpoint/2010/main" val="34468554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matchingName="Breaker Slide_1" preserve="1">
  <p:cSld name="Breaker Slide_1">
    <p:bg>
      <p:bgPr>
        <a:solidFill>
          <a:schemeClr val="lt2"/>
        </a:solidFill>
        <a:effectLst/>
      </p:bgPr>
    </p:bg>
    <p:spTree>
      <p:nvGrpSpPr>
        <p:cNvPr id="1" name="Shape 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FEEBE7-590A-7C8C-78C2-DFD25580D350}"/>
              </a:ext>
            </a:extLst>
          </p:cNvPr>
          <p:cNvGraphicFramePr>
            <a:graphicFrameLocks noChangeAspect="1"/>
          </p:cNvGraphicFramePr>
          <p:nvPr userDrawn="1">
            <p:custDataLst>
              <p:tags r:id="rId1"/>
            </p:custDataLst>
            <p:extLst>
              <p:ext uri="{D42A27DB-BD31-4B8C-83A1-F6EECF244321}">
                <p14:modId xmlns:p14="http://schemas.microsoft.com/office/powerpoint/2010/main" val="927778059"/>
              </p:ext>
            </p:extLst>
          </p:nvPr>
        </p:nvGraphicFramePr>
        <p:xfrm>
          <a:off x="1440" y="1440"/>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5FFEEBE7-590A-7C8C-78C2-DFD25580D350}"/>
                          </a:ext>
                        </a:extLst>
                      </p:cNvPr>
                      <p:cNvPicPr/>
                      <p:nvPr/>
                    </p:nvPicPr>
                    <p:blipFill>
                      <a:blip r:embed="rId4"/>
                      <a:stretch>
                        <a:fillRect/>
                      </a:stretch>
                    </p:blipFill>
                    <p:spPr>
                      <a:xfrm>
                        <a:off x="1440" y="1440"/>
                        <a:ext cx="1441" cy="1441"/>
                      </a:xfrm>
                      <a:prstGeom prst="rect">
                        <a:avLst/>
                      </a:prstGeom>
                    </p:spPr>
                  </p:pic>
                </p:oleObj>
              </mc:Fallback>
            </mc:AlternateContent>
          </a:graphicData>
        </a:graphic>
      </p:graphicFrame>
      <p:pic>
        <p:nvPicPr>
          <p:cNvPr id="33" name="Google Shape;33;p40" descr="A picture containing graphical user interface&#10;&#10;Description automatically generated"/>
          <p:cNvPicPr preferRelativeResize="0"/>
          <p:nvPr/>
        </p:nvPicPr>
        <p:blipFill rotWithShape="1">
          <a:blip r:embed="rId5">
            <a:alphaModFix/>
            <a:extLst>
              <a:ext uri="{28A0092B-C50C-407E-A947-70E740481C1C}">
                <a14:useLocalDpi xmlns:a14="http://schemas.microsoft.com/office/drawing/2010/main" val="0"/>
              </a:ext>
            </a:extLst>
          </a:blip>
          <a:srcRect l="39"/>
          <a:stretch/>
        </p:blipFill>
        <p:spPr>
          <a:xfrm>
            <a:off x="1" y="-6562"/>
            <a:ext cx="12192000" cy="6864562"/>
          </a:xfrm>
          <a:prstGeom prst="rect">
            <a:avLst/>
          </a:prstGeom>
          <a:noFill/>
          <a:ln>
            <a:noFill/>
          </a:ln>
        </p:spPr>
      </p:pic>
      <p:sp>
        <p:nvSpPr>
          <p:cNvPr id="34" name="Google Shape;34;p40"/>
          <p:cNvSpPr/>
          <p:nvPr/>
        </p:nvSpPr>
        <p:spPr>
          <a:xfrm>
            <a:off x="0" y="3853544"/>
            <a:ext cx="6240464" cy="2261507"/>
          </a:xfrm>
          <a:prstGeom prst="rect">
            <a:avLst/>
          </a:prstGeom>
          <a:gradFill>
            <a:gsLst>
              <a:gs pos="0">
                <a:srgbClr val="062379">
                  <a:alpha val="80000"/>
                </a:srgbClr>
              </a:gs>
              <a:gs pos="55000">
                <a:srgbClr val="385ED2">
                  <a:alpha val="80000"/>
                </a:srgbClr>
              </a:gs>
              <a:gs pos="76000">
                <a:srgbClr val="4873F5">
                  <a:alpha val="80000"/>
                </a:srgbClr>
              </a:gs>
              <a:gs pos="100000">
                <a:srgbClr val="43E1D3">
                  <a:alpha val="80000"/>
                </a:srgbClr>
              </a:gs>
            </a:gsLst>
            <a:lin ang="3000000" scaled="0"/>
          </a:gradFill>
          <a:ln>
            <a:noFill/>
          </a:ln>
        </p:spPr>
        <p:txBody>
          <a:bodyPr spcFirstLastPara="1" wrap="square" lIns="91424" tIns="45698" rIns="91424" bIns="45698"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35" name="Google Shape;35;p40"/>
          <p:cNvSpPr txBox="1">
            <a:spLocks noGrp="1"/>
          </p:cNvSpPr>
          <p:nvPr>
            <p:ph type="title"/>
          </p:nvPr>
        </p:nvSpPr>
        <p:spPr>
          <a:xfrm>
            <a:off x="589046" y="4638134"/>
            <a:ext cx="5400674" cy="692323"/>
          </a:xfrm>
          <a:prstGeom prst="rect">
            <a:avLst/>
          </a:prstGeom>
          <a:noFill/>
          <a:ln>
            <a:noFill/>
          </a:ln>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4999">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grpSp>
        <p:nvGrpSpPr>
          <p:cNvPr id="36" name="Google Shape;36;p40"/>
          <p:cNvGrpSpPr/>
          <p:nvPr/>
        </p:nvGrpSpPr>
        <p:grpSpPr>
          <a:xfrm>
            <a:off x="11998460" y="6162190"/>
            <a:ext cx="68500" cy="441924"/>
            <a:chOff x="11998459" y="6162188"/>
            <a:chExt cx="68500" cy="441925"/>
          </a:xfrm>
        </p:grpSpPr>
        <p:sp>
          <p:nvSpPr>
            <p:cNvPr id="37" name="Google Shape;37;p40"/>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38" name="Google Shape;38;p40"/>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39" name="Google Shape;39;p40"/>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0" name="Google Shape;40;p40"/>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1" name="Google Shape;41;p40"/>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2" name="Google Shape;42;p40"/>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3" name="Google Shape;43;p40"/>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4" name="Google Shape;44;p40"/>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5" name="Google Shape;45;p40"/>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6" name="Google Shape;46;p40"/>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7" name="Google Shape;47;p40"/>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8" name="Google Shape;48;p40"/>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sp>
          <p:nvSpPr>
            <p:cNvPr id="49" name="Google Shape;49;p40"/>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Calibri"/>
                <a:ea typeface="Calibri"/>
                <a:cs typeface="Calibri"/>
                <a:sym typeface="Calibri"/>
              </a:endParaRPr>
            </a:p>
          </p:txBody>
        </p:sp>
      </p:grpSp>
      <p:sp>
        <p:nvSpPr>
          <p:cNvPr id="50" name="Google Shape;50;p40"/>
          <p:cNvSpPr txBox="1"/>
          <p:nvPr/>
        </p:nvSpPr>
        <p:spPr>
          <a:xfrm rot="-5400000">
            <a:off x="11250972" y="5290634"/>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IN" sz="800" b="0" i="0" u="none" strike="noStrike" cap="none" dirty="0">
                <a:solidFill>
                  <a:schemeClr val="lt1"/>
                </a:solidFill>
                <a:latin typeface="Calibri"/>
                <a:ea typeface="Calibri"/>
                <a:cs typeface="Calibri"/>
                <a:sym typeface="Calibri"/>
              </a:rPr>
              <a:t>Copyright © 2020. All rights reserved.</a:t>
            </a:r>
            <a:endParaRPr sz="1401" b="0" i="0" u="none" strike="noStrike" cap="none" dirty="0">
              <a:solidFill>
                <a:srgbClr val="000000"/>
              </a:solidFill>
              <a:latin typeface="Arial"/>
              <a:ea typeface="Arial"/>
              <a:cs typeface="Arial"/>
              <a:sym typeface="Arial"/>
            </a:endParaRPr>
          </a:p>
        </p:txBody>
      </p:sp>
      <p:sp>
        <p:nvSpPr>
          <p:cNvPr id="51" name="Google Shape;51;p4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IN" smtClean="0"/>
              <a:pPr/>
              <a:t>‹#›</a:t>
            </a:fld>
            <a:endParaRPr lang="en-IN"/>
          </a:p>
        </p:txBody>
      </p:sp>
    </p:spTree>
    <p:extLst>
      <p:ext uri="{BB962C8B-B14F-4D97-AF65-F5344CB8AC3E}">
        <p14:creationId xmlns:p14="http://schemas.microsoft.com/office/powerpoint/2010/main" val="3207074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v="urn:schemas-microsoft-com:vml" xmlns:pvml="urn:schemas-microsoft-com:office:powerpoint" xmlns:p15="http://schemas.microsoft.com/office/powerpoint/2012/main" xmlns:o="urn:schemas-microsoft-com:office:office" xmlns:mv="urn:schemas-microsoft-com:mac:vml" xmlns:dgm="http://schemas.openxmlformats.org/drawingml/2006/diagram" xmlns:com="http://schemas.openxmlformats.org/drawingml/2006/compatibility" xmlns:c="http://schemas.openxmlformats.org/drawingml/2006/chart" xmlns:ahyp="http://schemas.microsoft.com/office/drawing/2018/hyperlinkcolor"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EE13-6A4D-48C2-A4B1-30DA07094AC2}"/>
              </a:ext>
            </a:extLst>
          </p:cNvPr>
          <p:cNvGraphicFramePr>
            <a:graphicFrameLocks noChangeAspect="1"/>
          </p:cNvGraphicFramePr>
          <p:nvPr userDrawn="1">
            <p:custDataLst>
              <p:tags r:id="rId1"/>
            </p:custDataLst>
            <p:extLst>
              <p:ext uri="{D42A27DB-BD31-4B8C-83A1-F6EECF244321}">
                <p14:modId xmlns:p14="http://schemas.microsoft.com/office/powerpoint/2010/main" val="286560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7215EE13-6A4D-48C2-A4B1-30DA07094A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63ADCA1-24FF-455B-8752-27019761817C}"/>
              </a:ext>
            </a:extLst>
          </p:cNvPr>
          <p:cNvSpPr>
            <a:spLocks noGrp="1"/>
          </p:cNvSpPr>
          <p:nvPr>
            <p:ph type="title"/>
          </p:nvPr>
        </p:nvSpPr>
        <p:spPr>
          <a:xfrm>
            <a:off x="531814" y="560588"/>
            <a:ext cx="11089972" cy="422295"/>
          </a:xfrm>
        </p:spPr>
        <p:txBody>
          <a:bodyPr vert="horz" wrap="square" lIns="0" tIns="0" rIns="0" bIns="0" rtlCol="0" anchor="t">
            <a:spAutoFit/>
          </a:bodyPr>
          <a:lstStyle>
            <a:lvl1pPr>
              <a:defRPr lang="en-IN" dirty="0">
                <a:latin typeface="Franklin Gothic Demi" panose="020B0703020102020204" pitchFamily="34" charset="0"/>
                <a:cs typeface="Calibri" panose="020F0502020204030204" pitchFamily="34" charset="0"/>
                <a:sym typeface="Calibri" panose="020F0502020204030204" pitchFamily="34" charset="0"/>
              </a:defRPr>
            </a:lvl1pPr>
          </a:lstStyle>
          <a:p>
            <a:pPr lvl="0">
              <a:lnSpc>
                <a:spcPct val="85000"/>
              </a:lnSpc>
            </a:pPr>
            <a:r>
              <a:rPr lang="en-US"/>
              <a:t>Click to edit Master title style</a:t>
            </a:r>
            <a:endParaRPr lang="en-IN" dirty="0"/>
          </a:p>
        </p:txBody>
      </p:sp>
      <p:sp>
        <p:nvSpPr>
          <p:cNvPr id="10" name="Text Placeholder 9">
            <a:extLst>
              <a:ext uri="{FF2B5EF4-FFF2-40B4-BE49-F238E27FC236}">
                <a16:creationId xmlns:a16="http://schemas.microsoft.com/office/drawing/2014/main" id="{B7DA5DEC-E51B-46CB-9299-877852868261}"/>
              </a:ext>
            </a:extLst>
          </p:cNvPr>
          <p:cNvSpPr>
            <a:spLocks noGrp="1"/>
          </p:cNvSpPr>
          <p:nvPr>
            <p:ph type="body" sz="quarter" idx="13"/>
          </p:nvPr>
        </p:nvSpPr>
        <p:spPr>
          <a:xfrm>
            <a:off x="531814" y="1028324"/>
            <a:ext cx="11089972" cy="292388"/>
          </a:xfrm>
        </p:spPr>
        <p:txBody>
          <a:bodyPr>
            <a:spAutoFit/>
          </a:bodyPr>
          <a:lstStyle>
            <a:lvl1pPr>
              <a:defRPr sz="2000">
                <a:solidFill>
                  <a:schemeClr val="tx2">
                    <a:lumMod val="60000"/>
                    <a:lumOff val="40000"/>
                  </a:schemeClr>
                </a:solidFill>
                <a:latin typeface="Franklin Gothic Book" panose="020B0503020102020204" pitchFamily="34" charset="0"/>
                <a:cs typeface="Calibri" panose="020F0502020204030204" pitchFamily="34" charset="0"/>
                <a:sym typeface="Calibri" panose="020F0502020204030204" pitchFamily="34" charset="0"/>
              </a:defRPr>
            </a:lvl1pPr>
          </a:lstStyle>
          <a:p>
            <a:pPr lvl="0"/>
            <a:r>
              <a:rPr lang="en-US"/>
              <a:t>Click to edit Master text styles</a:t>
            </a:r>
          </a:p>
        </p:txBody>
      </p:sp>
      <p:sp>
        <p:nvSpPr>
          <p:cNvPr id="8" name="Footer Placeholder 4">
            <a:extLst>
              <a:ext uri="{FF2B5EF4-FFF2-40B4-BE49-F238E27FC236}">
                <a16:creationId xmlns:a16="http://schemas.microsoft.com/office/drawing/2014/main" id="{F1CD3974-176A-43B6-8E60-33BCD19BBC8B}"/>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349815682"/>
      </p:ext>
    </p:extLst>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9569563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Last Page">
  <p:cSld name="Last Page">
    <p:spTree>
      <p:nvGrpSpPr>
        <p:cNvPr id="1" name="Shape 143"/>
        <p:cNvGrpSpPr/>
        <p:nvPr/>
      </p:nvGrpSpPr>
      <p:grpSpPr>
        <a:xfrm>
          <a:off x="0" y="0"/>
          <a:ext cx="0" cy="0"/>
          <a:chOff x="0" y="0"/>
          <a:chExt cx="0" cy="0"/>
        </a:xfrm>
      </p:grpSpPr>
      <p:sp>
        <p:nvSpPr>
          <p:cNvPr id="144" name="Google Shape;144;p57"/>
          <p:cNvSpPr/>
          <p:nvPr/>
        </p:nvSpPr>
        <p:spPr>
          <a:xfrm>
            <a:off x="0" y="0"/>
            <a:ext cx="12192000" cy="6858000"/>
          </a:xfrm>
          <a:prstGeom prst="rect">
            <a:avLst/>
          </a:prstGeom>
          <a:gradFill>
            <a:gsLst>
              <a:gs pos="0">
                <a:srgbClr val="062379"/>
              </a:gs>
              <a:gs pos="16000">
                <a:srgbClr val="062379"/>
              </a:gs>
              <a:gs pos="45000">
                <a:srgbClr val="0934B6">
                  <a:alpha val="87058"/>
                </a:srgbClr>
              </a:gs>
              <a:gs pos="79000">
                <a:srgbClr val="036DFF">
                  <a:alpha val="80000"/>
                </a:srgbClr>
              </a:gs>
              <a:gs pos="100000">
                <a:srgbClr val="43E1D3"/>
              </a:gs>
            </a:gsLst>
            <a:lin ang="2700006"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5" name="Google Shape;145;p57"/>
          <p:cNvSpPr txBox="1"/>
          <p:nvPr/>
        </p:nvSpPr>
        <p:spPr>
          <a:xfrm>
            <a:off x="550863" y="5965461"/>
            <a:ext cx="3028800" cy="3693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sng" strike="noStrike" cap="none">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endParaRPr sz="1200" b="1" i="0" u="none" strike="noStrike" cap="none">
              <a:solidFill>
                <a:srgbClr val="43E1D3"/>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lt1"/>
                </a:solidFill>
                <a:latin typeface="Calibri"/>
                <a:ea typeface="Calibri"/>
                <a:cs typeface="Calibri"/>
                <a:sym typeface="Calibri"/>
              </a:rPr>
              <a:t>Infomineo Copyright © 2023. All rights reserved.</a:t>
            </a:r>
            <a:endParaRPr sz="1400" b="0" i="0" u="none" strike="noStrike" cap="none">
              <a:solidFill>
                <a:srgbClr val="000000"/>
              </a:solidFill>
              <a:latin typeface="Calibri"/>
              <a:ea typeface="Calibri"/>
              <a:cs typeface="Calibri"/>
              <a:sym typeface="Calibri"/>
            </a:endParaRPr>
          </a:p>
        </p:txBody>
      </p:sp>
      <p:pic>
        <p:nvPicPr>
          <p:cNvPr id="146" name="Google Shape;146;p57"/>
          <p:cNvPicPr preferRelativeResize="0"/>
          <p:nvPr/>
        </p:nvPicPr>
        <p:blipFill rotWithShape="1">
          <a:blip r:embed="rId3">
            <a:alphaModFix/>
          </a:blip>
          <a:srcRect/>
          <a:stretch/>
        </p:blipFill>
        <p:spPr>
          <a:xfrm>
            <a:off x="3583066" y="2859287"/>
            <a:ext cx="5025868" cy="1139425"/>
          </a:xfrm>
          <a:prstGeom prst="rect">
            <a:avLst/>
          </a:prstGeom>
          <a:noFill/>
          <a:ln>
            <a:noFill/>
          </a:ln>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with backgroun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620261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A3ACF9-E695-4094-9A16-A4F48EC9FF1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dirty="0"/>
            </a:lvl1pPr>
          </a:lstStyle>
          <a:p>
            <a:pPr lvl="0">
              <a:lnSpc>
                <a:spcPct val="85000"/>
              </a:lnSpc>
            </a:pPr>
            <a:r>
              <a:rPr lang="en-US"/>
              <a:t>Click to edit Master title style</a:t>
            </a:r>
            <a:endParaRPr lang="en-IN" dirty="0"/>
          </a:p>
        </p:txBody>
      </p:sp>
      <p:sp>
        <p:nvSpPr>
          <p:cNvPr id="7" name="Footer Placeholder 4">
            <a:extLst>
              <a:ext uri="{FF2B5EF4-FFF2-40B4-BE49-F238E27FC236}">
                <a16:creationId xmlns:a16="http://schemas.microsoft.com/office/drawing/2014/main" id="{077D7FE3-E237-42E3-89BE-6BCC588B6C8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8869405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Without 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3117851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4" name="Slide Number Placeholder 3">
            <a:extLst>
              <a:ext uri="{FF2B5EF4-FFF2-40B4-BE49-F238E27FC236}">
                <a16:creationId xmlns:a16="http://schemas.microsoft.com/office/drawing/2014/main" id="{47B4C70F-8641-4AD5-A3F6-0EBA9C54EACE}"/>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24" name="Footer Placeholder 4">
            <a:extLst>
              <a:ext uri="{FF2B5EF4-FFF2-40B4-BE49-F238E27FC236}">
                <a16:creationId xmlns:a16="http://schemas.microsoft.com/office/drawing/2014/main" id="{3EF22FF7-C1AC-4F2A-9E98-236284660846}"/>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 name="Group 1">
            <a:extLst>
              <a:ext uri="{FF2B5EF4-FFF2-40B4-BE49-F238E27FC236}">
                <a16:creationId xmlns:a16="http://schemas.microsoft.com/office/drawing/2014/main" id="{C4D4977A-6637-4106-96DA-BDAAC2518559}"/>
              </a:ext>
            </a:extLst>
          </p:cNvPr>
          <p:cNvGrpSpPr/>
          <p:nvPr userDrawn="1"/>
        </p:nvGrpSpPr>
        <p:grpSpPr>
          <a:xfrm>
            <a:off x="11979364" y="4535495"/>
            <a:ext cx="110800" cy="2041949"/>
            <a:chOff x="11979441" y="4535494"/>
            <a:chExt cx="110801" cy="2041949"/>
          </a:xfrm>
        </p:grpSpPr>
        <p:grpSp>
          <p:nvGrpSpPr>
            <p:cNvPr id="25" name="Group 24">
              <a:extLst>
                <a:ext uri="{FF2B5EF4-FFF2-40B4-BE49-F238E27FC236}">
                  <a16:creationId xmlns:a16="http://schemas.microsoft.com/office/drawing/2014/main" id="{674D7535-DD55-4BCD-A913-9F98A80E2AAD}"/>
                </a:ext>
              </a:extLst>
            </p:cNvPr>
            <p:cNvGrpSpPr/>
            <p:nvPr userDrawn="1"/>
          </p:nvGrpSpPr>
          <p:grpSpPr>
            <a:xfrm>
              <a:off x="11998460" y="6135518"/>
              <a:ext cx="68500" cy="441924"/>
              <a:chOff x="11998459" y="6162188"/>
              <a:chExt cx="68500" cy="441924"/>
            </a:xfrm>
          </p:grpSpPr>
          <p:sp>
            <p:nvSpPr>
              <p:cNvPr id="26" name="Freeform: Shape 25">
                <a:extLst>
                  <a:ext uri="{FF2B5EF4-FFF2-40B4-BE49-F238E27FC236}">
                    <a16:creationId xmlns:a16="http://schemas.microsoft.com/office/drawing/2014/main" id="{25BE1D1D-5C46-42D6-AA46-FD5902FDE024}"/>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7" name="Freeform: Shape 26">
                <a:extLst>
                  <a:ext uri="{FF2B5EF4-FFF2-40B4-BE49-F238E27FC236}">
                    <a16:creationId xmlns:a16="http://schemas.microsoft.com/office/drawing/2014/main" id="{A7F7D663-CB75-456D-911A-BD2A8F59B130}"/>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8" name="Freeform: Shape 27">
                <a:extLst>
                  <a:ext uri="{FF2B5EF4-FFF2-40B4-BE49-F238E27FC236}">
                    <a16:creationId xmlns:a16="http://schemas.microsoft.com/office/drawing/2014/main" id="{A97E6936-7A47-4E85-B003-37AE13A73F22}"/>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Freeform: Shape 28">
                <a:extLst>
                  <a:ext uri="{FF2B5EF4-FFF2-40B4-BE49-F238E27FC236}">
                    <a16:creationId xmlns:a16="http://schemas.microsoft.com/office/drawing/2014/main" id="{B6F6AB7C-E8B0-4611-A905-F86C05FEC940}"/>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504CE7F7-478B-4DFB-A021-80071B529493}"/>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9522A9F9-C26A-4B72-93CD-9528636133FE}"/>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7D674410-4755-485D-BEA6-A9EE31599080}"/>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C52F1A2D-9FF5-49A3-B11A-A842CB94EEE7}"/>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B7660309-3ECC-487F-9D6C-08DE732EEA92}"/>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29373EC6-22EE-4AE8-A986-A3662C2AF607}"/>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EF08C567-10B3-494B-8347-38E808F75B2A}"/>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107EA0CD-BF40-4B85-88B1-06D5221EA25F}"/>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1580E308-C62A-4BCD-993B-AFE1C3E57E94}"/>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39" name="Graphic 38">
              <a:extLst>
                <a:ext uri="{FF2B5EF4-FFF2-40B4-BE49-F238E27FC236}">
                  <a16:creationId xmlns:a16="http://schemas.microsoft.com/office/drawing/2014/main" id="{836F53DC-0C00-4681-ADA4-58AABB9FD02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11811888" y="6322371"/>
              <a:ext cx="441438" cy="68706"/>
            </a:xfrm>
            <a:prstGeom prst="rect">
              <a:avLst/>
            </a:prstGeom>
          </p:spPr>
        </p:pic>
        <p:sp>
          <p:nvSpPr>
            <p:cNvPr id="40" name="Copyright">
              <a:extLst>
                <a:ext uri="{FF2B5EF4-FFF2-40B4-BE49-F238E27FC236}">
                  <a16:creationId xmlns:a16="http://schemas.microsoft.com/office/drawing/2014/main" id="{36107045-99BA-4480-99BA-1F7D50690723}"/>
                </a:ext>
              </a:extLst>
            </p:cNvPr>
            <p:cNvSpPr txBox="1"/>
            <p:nvPr userDrawn="1"/>
          </p:nvSpPr>
          <p:spPr>
            <a:xfrm rot="16200000">
              <a:off x="11250973" y="5263962"/>
              <a:ext cx="1567737"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0. All rights reserved.</a:t>
              </a:r>
            </a:p>
          </p:txBody>
        </p:sp>
      </p:grpSp>
    </p:spTree>
    <p:extLst>
      <p:ext uri="{BB962C8B-B14F-4D97-AF65-F5344CB8AC3E}">
        <p14:creationId xmlns:p14="http://schemas.microsoft.com/office/powerpoint/2010/main" val="33177151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8262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4"/>
            <a:ext cx="5400675"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6"/>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4"/>
            <a:ext cx="54006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6"/>
            <a:ext cx="5400675" cy="26314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1" name="Footer Placeholder 4">
            <a:extLst>
              <a:ext uri="{FF2B5EF4-FFF2-40B4-BE49-F238E27FC236}">
                <a16:creationId xmlns:a16="http://schemas.microsoft.com/office/drawing/2014/main" id="{456E97DD-069F-4133-A109-0593CB969E3F}"/>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8856920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99817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476173-BEA2-49BD-B5FE-C9602A2A7D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5" y="2175804"/>
            <a:ext cx="3506976" cy="1177245"/>
          </a:xfrm>
        </p:spPr>
        <p:txBody>
          <a:bodyPr vert="horz" lIns="0" tIns="0" rIns="0" bIns="0" rtlCol="0">
            <a:spAutoFit/>
          </a:bodyPr>
          <a:lstStyle>
            <a:lvl1pPr>
              <a:defRPr lang="en-US" sz="1400" dirty="0"/>
            </a:lvl1pPr>
            <a:lvl2pPr>
              <a:defRPr lang="en-US" sz="1400" dirty="0" smtClean="0"/>
            </a:lvl2pPr>
            <a:lvl3pPr marL="179388" indent="0">
              <a:buNone/>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5" y="1857376"/>
            <a:ext cx="35069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8135839" y="2175804"/>
            <a:ext cx="3505300"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8135839" y="1857376"/>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59121794-F5DD-4A31-9CFD-38DDBBCF1C7C}"/>
              </a:ext>
            </a:extLst>
          </p:cNvPr>
          <p:cNvSpPr>
            <a:spLocks noGrp="1"/>
          </p:cNvSpPr>
          <p:nvPr>
            <p:ph type="body" sz="quarter" idx="17" hasCustomPrompt="1"/>
          </p:nvPr>
        </p:nvSpPr>
        <p:spPr>
          <a:xfrm>
            <a:off x="4344162" y="2175804"/>
            <a:ext cx="3505300"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3143DD43-CBE6-4068-87AB-C994C1891565}"/>
              </a:ext>
            </a:extLst>
          </p:cNvPr>
          <p:cNvSpPr>
            <a:spLocks noGrp="1"/>
          </p:cNvSpPr>
          <p:nvPr>
            <p:ph type="body" sz="quarter" idx="18" hasCustomPrompt="1"/>
          </p:nvPr>
        </p:nvSpPr>
        <p:spPr>
          <a:xfrm>
            <a:off x="4344162" y="1857376"/>
            <a:ext cx="35053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3" name="Footer Placeholder 4">
            <a:extLst>
              <a:ext uri="{FF2B5EF4-FFF2-40B4-BE49-F238E27FC236}">
                <a16:creationId xmlns:a16="http://schemas.microsoft.com/office/drawing/2014/main" id="{F9CDC1BE-F1D3-4AAB-9527-98835405BADA}"/>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8671945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87911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314B796-0A71-42E1-B6EB-B6B2B794121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4" y="2175804"/>
            <a:ext cx="2559476"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4" y="1857376"/>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4"/>
            <a:ext cx="25548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6"/>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3395664" y="2175804"/>
            <a:ext cx="2559476"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3395664" y="1857376"/>
            <a:ext cx="2559476"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9086263" y="2175804"/>
            <a:ext cx="2554875"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9086263" y="1857376"/>
            <a:ext cx="2554875"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6" name="Footer Placeholder 4">
            <a:extLst>
              <a:ext uri="{FF2B5EF4-FFF2-40B4-BE49-F238E27FC236}">
                <a16:creationId xmlns:a16="http://schemas.microsoft.com/office/drawing/2014/main" id="{60B9447C-186B-4C6F-929F-503046B2C31C}"/>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6991177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643416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F80F200-6A77-426D-879D-7C93BD8B9FB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dirty="0"/>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5" y="2175804"/>
            <a:ext cx="1983600"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5" y="1857376"/>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5104050" y="2175804"/>
            <a:ext cx="1980034"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5104050" y="1857376"/>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7" name="Text Placeholder 14">
            <a:extLst>
              <a:ext uri="{FF2B5EF4-FFF2-40B4-BE49-F238E27FC236}">
                <a16:creationId xmlns:a16="http://schemas.microsoft.com/office/drawing/2014/main" id="{8475C8AB-1FCD-402F-8C3E-9BA6CE42B01F}"/>
              </a:ext>
            </a:extLst>
          </p:cNvPr>
          <p:cNvSpPr>
            <a:spLocks noGrp="1"/>
          </p:cNvSpPr>
          <p:nvPr>
            <p:ph type="body" sz="quarter" idx="17" hasCustomPrompt="1"/>
          </p:nvPr>
        </p:nvSpPr>
        <p:spPr>
          <a:xfrm>
            <a:off x="2827458" y="2175804"/>
            <a:ext cx="1983600" cy="1151597"/>
          </a:xfrm>
        </p:spPr>
        <p:txBody>
          <a:bodyPr vert="horz" lIns="0" tIns="0" rIns="0" bIns="0" rtlCol="0">
            <a:spAutoFit/>
          </a:bodyPr>
          <a:lstStyle>
            <a:lvl1pPr>
              <a:defRPr lang="en-US" sz="1400" dirty="0"/>
            </a:lvl1pPr>
            <a:lvl2pPr>
              <a:defRPr lang="en-US" sz="1400" dirty="0"/>
            </a:lvl2pPr>
            <a:lvl3pPr marL="179388"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78" lvl="2" indent="-179389" algn="l" defTabSz="914406"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28" name="Text Placeholder 14">
            <a:extLst>
              <a:ext uri="{FF2B5EF4-FFF2-40B4-BE49-F238E27FC236}">
                <a16:creationId xmlns:a16="http://schemas.microsoft.com/office/drawing/2014/main" id="{435FA198-8A13-4A8F-B4EE-49845B8E81C3}"/>
              </a:ext>
            </a:extLst>
          </p:cNvPr>
          <p:cNvSpPr>
            <a:spLocks noGrp="1"/>
          </p:cNvSpPr>
          <p:nvPr>
            <p:ph type="body" sz="quarter" idx="18" hasCustomPrompt="1"/>
          </p:nvPr>
        </p:nvSpPr>
        <p:spPr>
          <a:xfrm>
            <a:off x="2827458" y="1857376"/>
            <a:ext cx="1983600"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29" name="Text Placeholder 14">
            <a:extLst>
              <a:ext uri="{FF2B5EF4-FFF2-40B4-BE49-F238E27FC236}">
                <a16:creationId xmlns:a16="http://schemas.microsoft.com/office/drawing/2014/main" id="{D6ACE083-C86D-45ED-8C11-019550696D32}"/>
              </a:ext>
            </a:extLst>
          </p:cNvPr>
          <p:cNvSpPr>
            <a:spLocks noGrp="1"/>
          </p:cNvSpPr>
          <p:nvPr>
            <p:ph type="body" sz="quarter" idx="19" hasCustomPrompt="1"/>
          </p:nvPr>
        </p:nvSpPr>
        <p:spPr>
          <a:xfrm>
            <a:off x="7380643" y="2175804"/>
            <a:ext cx="1980034"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0" name="Text Placeholder 14">
            <a:extLst>
              <a:ext uri="{FF2B5EF4-FFF2-40B4-BE49-F238E27FC236}">
                <a16:creationId xmlns:a16="http://schemas.microsoft.com/office/drawing/2014/main" id="{29247DB4-9C96-4895-AABD-422C522A979F}"/>
              </a:ext>
            </a:extLst>
          </p:cNvPr>
          <p:cNvSpPr>
            <a:spLocks noGrp="1"/>
          </p:cNvSpPr>
          <p:nvPr>
            <p:ph type="body" sz="quarter" idx="20" hasCustomPrompt="1"/>
          </p:nvPr>
        </p:nvSpPr>
        <p:spPr>
          <a:xfrm>
            <a:off x="7380643" y="1857376"/>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37" name="Text Placeholder 14">
            <a:extLst>
              <a:ext uri="{FF2B5EF4-FFF2-40B4-BE49-F238E27FC236}">
                <a16:creationId xmlns:a16="http://schemas.microsoft.com/office/drawing/2014/main" id="{ADA6637A-F017-4396-B239-B80ED2F97B37}"/>
              </a:ext>
            </a:extLst>
          </p:cNvPr>
          <p:cNvSpPr>
            <a:spLocks noGrp="1"/>
          </p:cNvSpPr>
          <p:nvPr>
            <p:ph type="body" sz="quarter" idx="21" hasCustomPrompt="1"/>
          </p:nvPr>
        </p:nvSpPr>
        <p:spPr>
          <a:xfrm>
            <a:off x="9660801" y="2175804"/>
            <a:ext cx="1980034" cy="1151597"/>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38" name="Text Placeholder 14">
            <a:extLst>
              <a:ext uri="{FF2B5EF4-FFF2-40B4-BE49-F238E27FC236}">
                <a16:creationId xmlns:a16="http://schemas.microsoft.com/office/drawing/2014/main" id="{7B295F18-5030-4811-B6C7-29EE7444BC70}"/>
              </a:ext>
            </a:extLst>
          </p:cNvPr>
          <p:cNvSpPr>
            <a:spLocks noGrp="1"/>
          </p:cNvSpPr>
          <p:nvPr>
            <p:ph type="body" sz="quarter" idx="22" hasCustomPrompt="1"/>
          </p:nvPr>
        </p:nvSpPr>
        <p:spPr>
          <a:xfrm>
            <a:off x="9660801" y="1857376"/>
            <a:ext cx="1980034" cy="263149"/>
          </a:xfrm>
        </p:spPr>
        <p:txBody>
          <a:bodyPr vert="horz" lIns="0" tIns="0" rIns="0" bIns="0" rtlCol="0">
            <a:spAutoFit/>
          </a:bodyPr>
          <a:lstStyle>
            <a:lvl1pPr>
              <a:defRPr lang="en-US" sz="1800" b="1" dirty="0">
                <a:solidFill>
                  <a:schemeClr val="accent1"/>
                </a:solidFill>
                <a:latin typeface="+mn-lt"/>
              </a:defRPr>
            </a:lvl1pPr>
          </a:lstStyle>
          <a:p>
            <a:pPr lvl="0"/>
            <a:r>
              <a:rPr lang="en-US" dirty="0"/>
              <a:t>Heading</a:t>
            </a:r>
          </a:p>
        </p:txBody>
      </p:sp>
      <p:sp>
        <p:nvSpPr>
          <p:cNvPr id="18" name="Footer Placeholder 4">
            <a:extLst>
              <a:ext uri="{FF2B5EF4-FFF2-40B4-BE49-F238E27FC236}">
                <a16:creationId xmlns:a16="http://schemas.microsoft.com/office/drawing/2014/main" id="{9E372659-0669-485A-8EB1-D45CE8B0FC43}"/>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382697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3 Grey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88769024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1C34F18-9238-4944-9751-DBBFCD9E3CC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4059776"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E039D39E-8FE8-4C3F-AE18-8C3DCD3BA4D0}"/>
              </a:ext>
            </a:extLst>
          </p:cNvPr>
          <p:cNvSpPr>
            <a:spLocks noGrp="1"/>
          </p:cNvSpPr>
          <p:nvPr>
            <p:ph type="ftr" sz="quarter" idx="3"/>
          </p:nvPr>
        </p:nvSpPr>
        <p:spPr>
          <a:xfrm>
            <a:off x="436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4" name="Title 3">
            <a:extLst>
              <a:ext uri="{FF2B5EF4-FFF2-40B4-BE49-F238E27FC236}">
                <a16:creationId xmlns:a16="http://schemas.microsoft.com/office/drawing/2014/main" id="{0E004E42-DB15-49F0-9906-81D60B6E8171}"/>
              </a:ext>
            </a:extLst>
          </p:cNvPr>
          <p:cNvSpPr>
            <a:spLocks noGrp="1"/>
          </p:cNvSpPr>
          <p:nvPr>
            <p:ph type="title"/>
          </p:nvPr>
        </p:nvSpPr>
        <p:spPr>
          <a:xfrm>
            <a:off x="531814" y="560588"/>
            <a:ext cx="3235117" cy="837152"/>
          </a:xfrm>
        </p:spPr>
        <p:txBody>
          <a:bodyPr>
            <a:spAutoFit/>
          </a:bodyPr>
          <a:lstStyle>
            <a:lvl1pPr>
              <a:lnSpc>
                <a:spcPct val="85000"/>
              </a:lnSpc>
              <a:defRPr/>
            </a:lvl1pPr>
          </a:lstStyle>
          <a:p>
            <a:r>
              <a:rPr lang="en-US"/>
              <a:t>Click to edit Master title style</a:t>
            </a:r>
            <a:endParaRPr lang="en-IN" dirty="0"/>
          </a:p>
        </p:txBody>
      </p:sp>
    </p:spTree>
    <p:extLst>
      <p:ext uri="{BB962C8B-B14F-4D97-AF65-F5344CB8AC3E}">
        <p14:creationId xmlns:p14="http://schemas.microsoft.com/office/powerpoint/2010/main" val="4742242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3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106925261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C7BEB73-A27D-4B04-A133-510ECB47E9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727F30D-9242-4A88-9322-2EDE74F75B38}"/>
              </a:ext>
            </a:extLst>
          </p:cNvPr>
          <p:cNvSpPr>
            <a:spLocks noGrp="1"/>
          </p:cNvSpPr>
          <p:nvPr>
            <p:ph type="ftr" sz="quarter" idx="3"/>
          </p:nvPr>
        </p:nvSpPr>
        <p:spPr>
          <a:xfrm>
            <a:off x="436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4" name="Title 3">
            <a:extLst>
              <a:ext uri="{FF2B5EF4-FFF2-40B4-BE49-F238E27FC236}">
                <a16:creationId xmlns:a16="http://schemas.microsoft.com/office/drawing/2014/main" id="{CE1BEDEA-6CDE-421B-87A1-0632A5F947FD}"/>
              </a:ext>
            </a:extLst>
          </p:cNvPr>
          <p:cNvSpPr>
            <a:spLocks noGrp="1"/>
          </p:cNvSpPr>
          <p:nvPr>
            <p:ph type="title"/>
          </p:nvPr>
        </p:nvSpPr>
        <p:spPr>
          <a:xfrm>
            <a:off x="531813" y="560588"/>
            <a:ext cx="3135726" cy="837046"/>
          </a:xfrm>
        </p:spPr>
        <p:txBody>
          <a:bodyPr vert="horz" wrap="square" lIns="0" tIns="0" rIns="0" bIns="0" rtlCol="0" anchor="t">
            <a:spAutoFit/>
          </a:bodyPr>
          <a:lstStyle>
            <a:lvl1pPr>
              <a:defRPr lang="en-IN" dirty="0">
                <a:solidFill>
                  <a:schemeClr val="bg1"/>
                </a:solidFill>
              </a:defRPr>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15942626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3 Blue on Left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55517025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8FBABF1-7718-43F6-B247-8269F95D220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5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4059776"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48429EF-F441-3040-BB9E-07E66E2B2056}"/>
              </a:ext>
            </a:extLst>
          </p:cNvPr>
          <p:cNvSpPr>
            <a:spLocks noGrp="1"/>
          </p:cNvSpPr>
          <p:nvPr>
            <p:ph type="title"/>
          </p:nvPr>
        </p:nvSpPr>
        <p:spPr>
          <a:xfrm>
            <a:off x="566142" y="2546064"/>
            <a:ext cx="3032465" cy="1765868"/>
          </a:xfrm>
        </p:spPr>
        <p:txBody>
          <a:bodyPr vert="horz" wrap="square" lIns="0" tIns="0" rIns="0" bIns="0" rtlCol="0" anchor="ctr">
            <a:spAutoFit/>
          </a:bodyPr>
          <a:lstStyle>
            <a:lvl1pPr>
              <a:defRPr lang="en-US" sz="4500" dirty="0">
                <a:solidFill>
                  <a:schemeClr val="bg1"/>
                </a:solidFill>
              </a:defRPr>
            </a:lvl1pPr>
          </a:lstStyle>
          <a:p>
            <a:pPr lvl="0">
              <a:lnSpc>
                <a:spcPct val="85000"/>
              </a:lnSpc>
            </a:pPr>
            <a:r>
              <a:rPr lang="en-US"/>
              <a:t>Click to edit Master title style</a:t>
            </a:r>
            <a:endParaRPr lang="en-US" dirty="0"/>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
        <p:nvSpPr>
          <p:cNvPr id="8" name="Footer Placeholder 4">
            <a:extLst>
              <a:ext uri="{FF2B5EF4-FFF2-40B4-BE49-F238E27FC236}">
                <a16:creationId xmlns:a16="http://schemas.microsoft.com/office/drawing/2014/main" id="{2FE6F1C9-C479-4E50-B466-BBB81EB0E192}"/>
              </a:ext>
            </a:extLst>
          </p:cNvPr>
          <p:cNvSpPr>
            <a:spLocks noGrp="1"/>
          </p:cNvSpPr>
          <p:nvPr>
            <p:ph type="ftr" sz="quarter" idx="3"/>
          </p:nvPr>
        </p:nvSpPr>
        <p:spPr>
          <a:xfrm>
            <a:off x="436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51576167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2 Blue on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44157473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AAE3F72-88DF-4B4D-99C2-2DFE1EFB169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1" y="-1"/>
            <a:ext cx="6098537" cy="6857999"/>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40B8B4C6-4E60-7745-91B6-1F4DD4B9B521}"/>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6B7F38A5-E451-48CD-9B09-4D22AB98C63C}"/>
              </a:ext>
            </a:extLst>
          </p:cNvPr>
          <p:cNvSpPr>
            <a:spLocks noGrp="1"/>
          </p:cNvSpPr>
          <p:nvPr>
            <p:ph type="ftr" sz="quarter" idx="3"/>
          </p:nvPr>
        </p:nvSpPr>
        <p:spPr>
          <a:xfrm>
            <a:off x="54923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4" name="Title 3">
            <a:extLst>
              <a:ext uri="{FF2B5EF4-FFF2-40B4-BE49-F238E27FC236}">
                <a16:creationId xmlns:a16="http://schemas.microsoft.com/office/drawing/2014/main" id="{7E2586D8-6C60-41B6-B276-7BF701FEAA10}"/>
              </a:ext>
            </a:extLst>
          </p:cNvPr>
          <p:cNvSpPr>
            <a:spLocks noGrp="1"/>
          </p:cNvSpPr>
          <p:nvPr>
            <p:ph type="title"/>
          </p:nvPr>
        </p:nvSpPr>
        <p:spPr>
          <a:xfrm>
            <a:off x="531814" y="560588"/>
            <a:ext cx="5163309" cy="837046"/>
          </a:xfrm>
        </p:spPr>
        <p:txBody>
          <a:bodyPr vert="horz" wrap="square" lIns="0" tIns="0" rIns="0" bIns="0" rtlCol="0" anchor="t">
            <a:spAutoFit/>
          </a:bodyPr>
          <a:lstStyle>
            <a:lvl1pPr>
              <a:defRPr lang="en-IN" dirty="0">
                <a:solidFill>
                  <a:schemeClr val="bg1"/>
                </a:solidFill>
              </a:defRPr>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32087131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Breaker Slide_2">
  <p:cSld name="1_Breaker Slide_2 2">
    <p:bg>
      <p:bgPr>
        <a:solidFill>
          <a:schemeClr val="lt2"/>
        </a:solidFill>
        <a:effectLst/>
      </p:bgPr>
    </p:bg>
    <p:spTree>
      <p:nvGrpSpPr>
        <p:cNvPr id="1" name="Shape 147"/>
        <p:cNvGrpSpPr/>
        <p:nvPr/>
      </p:nvGrpSpPr>
      <p:grpSpPr>
        <a:xfrm>
          <a:off x="0" y="0"/>
          <a:ext cx="0" cy="0"/>
          <a:chOff x="0" y="0"/>
          <a:chExt cx="0" cy="0"/>
        </a:xfrm>
      </p:grpSpPr>
      <p:pic>
        <p:nvPicPr>
          <p:cNvPr id="148" name="Google Shape;148;p8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49" name="Google Shape;149;p81"/>
          <p:cNvSpPr/>
          <p:nvPr/>
        </p:nvSpPr>
        <p:spPr>
          <a:xfrm>
            <a:off x="0" y="0"/>
            <a:ext cx="12192000" cy="6858000"/>
          </a:xfrm>
          <a:prstGeom prst="rect">
            <a:avLst/>
          </a:prstGeom>
          <a:gradFill>
            <a:gsLst>
              <a:gs pos="0">
                <a:srgbClr val="062379"/>
              </a:gs>
              <a:gs pos="16000">
                <a:srgbClr val="062379"/>
              </a:gs>
              <a:gs pos="55000">
                <a:srgbClr val="0934B6">
                  <a:alpha val="87058"/>
                </a:srgbClr>
              </a:gs>
              <a:gs pos="85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0" name="Google Shape;150;p81"/>
          <p:cNvSpPr txBox="1">
            <a:spLocks noGrp="1"/>
          </p:cNvSpPr>
          <p:nvPr>
            <p:ph type="title"/>
          </p:nvPr>
        </p:nvSpPr>
        <p:spPr>
          <a:xfrm>
            <a:off x="992390" y="4396228"/>
            <a:ext cx="6785798" cy="830997"/>
          </a:xfrm>
          <a:prstGeom prst="rect">
            <a:avLst/>
          </a:prstGeom>
          <a:noFill/>
          <a:ln>
            <a:noFill/>
          </a:ln>
          <a:effectLst>
            <a:outerShdw blurRad="190500" algn="tl" rotWithShape="0">
              <a:srgbClr val="000000">
                <a:alpha val="27058"/>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b="1">
                <a:solidFill>
                  <a:schemeClr val="lt1"/>
                </a:solidFill>
                <a:latin typeface="Libre Franklin"/>
                <a:ea typeface="Libre Franklin"/>
                <a:cs typeface="Libre Franklin"/>
                <a:sym typeface="Libre Frankl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1" name="Google Shape;151;p81"/>
          <p:cNvGrpSpPr/>
          <p:nvPr/>
        </p:nvGrpSpPr>
        <p:grpSpPr>
          <a:xfrm>
            <a:off x="11998459" y="6162188"/>
            <a:ext cx="68500" cy="441925"/>
            <a:chOff x="11998459" y="6162188"/>
            <a:chExt cx="68500" cy="441925"/>
          </a:xfrm>
        </p:grpSpPr>
        <p:sp>
          <p:nvSpPr>
            <p:cNvPr id="152" name="Google Shape;152;p8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3" name="Google Shape;153;p8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4" name="Google Shape;154;p8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 name="Google Shape;155;p8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 name="Google Shape;156;p8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 name="Google Shape;157;p8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 name="Google Shape;158;p8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 name="Google Shape;159;p8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0" name="Google Shape;160;p8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1" name="Google Shape;161;p8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2" name="Google Shape;162;p8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3" name="Google Shape;163;p8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4" name="Google Shape;164;p8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65" name="Google Shape;165;p8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3. All rights reserved.</a:t>
            </a:r>
            <a:endParaRPr sz="1400" b="0" i="0" u="none" strike="noStrike" cap="none">
              <a:solidFill>
                <a:srgbClr val="000000"/>
              </a:solidFill>
              <a:latin typeface="Calibri"/>
              <a:ea typeface="Calibri"/>
              <a:cs typeface="Calibri"/>
              <a:sym typeface="Calibri"/>
            </a:endParaRPr>
          </a:p>
        </p:txBody>
      </p:sp>
      <p:sp>
        <p:nvSpPr>
          <p:cNvPr id="166" name="Google Shape;166;p8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7" name="Google Shape;167;p81"/>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adient 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1453882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
        <p:nvSpPr>
          <p:cNvPr id="26" name="Footer Placeholder 4">
            <a:extLst>
              <a:ext uri="{FF2B5EF4-FFF2-40B4-BE49-F238E27FC236}">
                <a16:creationId xmlns:a16="http://schemas.microsoft.com/office/drawing/2014/main" id="{50D61507-3612-4ECE-96B7-0F9C15D34247}"/>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7" name="Group 26">
            <a:extLst>
              <a:ext uri="{FF2B5EF4-FFF2-40B4-BE49-F238E27FC236}">
                <a16:creationId xmlns:a16="http://schemas.microsoft.com/office/drawing/2014/main" id="{5CE9086E-00AC-4525-B7C4-F51B01FEA197}"/>
              </a:ext>
            </a:extLst>
          </p:cNvPr>
          <p:cNvGrpSpPr/>
          <p:nvPr userDrawn="1"/>
        </p:nvGrpSpPr>
        <p:grpSpPr>
          <a:xfrm>
            <a:off x="11979362" y="4535497"/>
            <a:ext cx="110800" cy="2041948"/>
            <a:chOff x="11979439" y="4535495"/>
            <a:chExt cx="110801" cy="2041947"/>
          </a:xfrm>
        </p:grpSpPr>
        <p:grpSp>
          <p:nvGrpSpPr>
            <p:cNvPr id="28" name="Group 27">
              <a:extLst>
                <a:ext uri="{FF2B5EF4-FFF2-40B4-BE49-F238E27FC236}">
                  <a16:creationId xmlns:a16="http://schemas.microsoft.com/office/drawing/2014/main" id="{5F2864F8-CE03-42D9-A1C6-49C13A909289}"/>
                </a:ext>
              </a:extLst>
            </p:cNvPr>
            <p:cNvGrpSpPr/>
            <p:nvPr userDrawn="1"/>
          </p:nvGrpSpPr>
          <p:grpSpPr>
            <a:xfrm>
              <a:off x="11998460" y="6135518"/>
              <a:ext cx="68500" cy="441924"/>
              <a:chOff x="11998459" y="6162188"/>
              <a:chExt cx="68500" cy="441924"/>
            </a:xfrm>
          </p:grpSpPr>
          <p:sp>
            <p:nvSpPr>
              <p:cNvPr id="30" name="Freeform: Shape 29">
                <a:extLst>
                  <a:ext uri="{FF2B5EF4-FFF2-40B4-BE49-F238E27FC236}">
                    <a16:creationId xmlns:a16="http://schemas.microsoft.com/office/drawing/2014/main" id="{8DDB86A9-D96F-4924-9B1A-50C360C15742}"/>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86074501-3762-407F-A74D-3799FEAFBD37}"/>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73D29F00-385D-4638-BD08-A8B98A323401}"/>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E2A3DD6C-1362-40F5-A7B3-2E963C5D94FF}"/>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6616E241-6E09-4071-B657-CE4E7BB5CD37}"/>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6A9939C2-C1A3-49F7-A69F-F2E83814F06B}"/>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4C6484D2-FDEB-453B-ACAB-605BDF0437F1}"/>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E626162E-D8C5-4F77-A6A1-E2B6C7CABFC3}"/>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16446D18-F2A6-4A1D-9193-2C1738C1053D}"/>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86A74D8F-C94B-4FE0-9FED-86918ACD7711}"/>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FE130351-367D-46DC-AEF2-11BF681D6F21}"/>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1295B187-375A-4BC1-8930-8B6FB7B25415}"/>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2" name="Freeform: Shape 41">
                <a:extLst>
                  <a:ext uri="{FF2B5EF4-FFF2-40B4-BE49-F238E27FC236}">
                    <a16:creationId xmlns:a16="http://schemas.microsoft.com/office/drawing/2014/main" id="{D987C9E7-CE53-4EC9-8C60-48477925BADC}"/>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9" name="Copyright">
              <a:extLst>
                <a:ext uri="{FF2B5EF4-FFF2-40B4-BE49-F238E27FC236}">
                  <a16:creationId xmlns:a16="http://schemas.microsoft.com/office/drawing/2014/main" id="{7F3EFBBF-8F6E-4F95-970D-289D95FB3EDE}"/>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Tree>
    <p:extLst>
      <p:ext uri="{BB962C8B-B14F-4D97-AF65-F5344CB8AC3E}">
        <p14:creationId xmlns:p14="http://schemas.microsoft.com/office/powerpoint/2010/main" val="3755485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adient BG (with Titl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64008331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148355-9A23-4C82-8F0E-F21594843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cxnSp>
        <p:nvCxnSpPr>
          <p:cNvPr id="6" name="Straight Connector 5">
            <a:extLst>
              <a:ext uri="{FF2B5EF4-FFF2-40B4-BE49-F238E27FC236}">
                <a16:creationId xmlns:a16="http://schemas.microsoft.com/office/drawing/2014/main" id="{AC27F5F1-6E1A-43D9-B04D-DEEBA03354E7}"/>
              </a:ext>
            </a:extLst>
          </p:cNvPr>
          <p:cNvCxnSpPr>
            <a:cxnSpLocks/>
          </p:cNvCxnSpPr>
          <p:nvPr userDrawn="1"/>
        </p:nvCxnSpPr>
        <p:spPr>
          <a:xfrm>
            <a:off x="539400" y="484910"/>
            <a:ext cx="54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878A702-A86E-4356-99F5-6CC007B3A84C}"/>
              </a:ext>
            </a:extLst>
          </p:cNvPr>
          <p:cNvGrpSpPr/>
          <p:nvPr userDrawn="1"/>
        </p:nvGrpSpPr>
        <p:grpSpPr>
          <a:xfrm>
            <a:off x="11998459" y="6162188"/>
            <a:ext cx="68500" cy="441924"/>
            <a:chOff x="11998459" y="6162188"/>
            <a:chExt cx="68500" cy="441924"/>
          </a:xfrm>
          <a:solidFill>
            <a:schemeClr val="bg1"/>
          </a:solidFill>
        </p:grpSpPr>
        <p:sp>
          <p:nvSpPr>
            <p:cNvPr id="8" name="Freeform: Shape 7">
              <a:extLst>
                <a:ext uri="{FF2B5EF4-FFF2-40B4-BE49-F238E27FC236}">
                  <a16:creationId xmlns:a16="http://schemas.microsoft.com/office/drawing/2014/main" id="{E75A2218-59DA-4B99-8DEE-5DF1044A636F}"/>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Freeform: Shape 8">
              <a:extLst>
                <a:ext uri="{FF2B5EF4-FFF2-40B4-BE49-F238E27FC236}">
                  <a16:creationId xmlns:a16="http://schemas.microsoft.com/office/drawing/2014/main" id="{7E8F166A-EB8B-4235-A114-5C9D062319D5}"/>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Freeform: Shape 9">
              <a:extLst>
                <a:ext uri="{FF2B5EF4-FFF2-40B4-BE49-F238E27FC236}">
                  <a16:creationId xmlns:a16="http://schemas.microsoft.com/office/drawing/2014/main" id="{E2FC6C6B-C81D-4FE7-9F3B-65F6B734168D}"/>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3" name="Freeform: Shape 12">
              <a:extLst>
                <a:ext uri="{FF2B5EF4-FFF2-40B4-BE49-F238E27FC236}">
                  <a16:creationId xmlns:a16="http://schemas.microsoft.com/office/drawing/2014/main" id="{EB88EBE5-A780-49FB-9EAB-A8F48E23FAC5}"/>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ADB921C-741F-494D-9C24-2E06B3F237E1}"/>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2CBAA18-CC04-464C-B2DA-F60F1DFE63B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B7D25102-BF68-4480-830D-1A1BE174C734}"/>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2EE8638F-0CD8-4C03-9847-FAF25CBB620A}"/>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8A481A8A-8F5D-40BC-B59F-D4CEF2254BB7}"/>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350965BC-1532-45A0-8F0A-37DAEC7BBE6F}"/>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2C1AF2FC-06E9-481D-AAD4-A185594C60F4}"/>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A1342B2-AEC9-4B66-9503-4CFC2ED0B897}"/>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41AC723-9EBC-48CA-B1C7-D2D5419421B0}"/>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4" name="Copyright">
            <a:extLst>
              <a:ext uri="{FF2B5EF4-FFF2-40B4-BE49-F238E27FC236}">
                <a16:creationId xmlns:a16="http://schemas.microsoft.com/office/drawing/2014/main" id="{2B7A128F-26DE-473C-95DA-CCAF4D373141}"/>
              </a:ext>
            </a:extLst>
          </p:cNvPr>
          <p:cNvSpPr txBox="1"/>
          <p:nvPr userDrawn="1"/>
        </p:nvSpPr>
        <p:spPr>
          <a:xfrm rot="16200000">
            <a:off x="11250972"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sp>
        <p:nvSpPr>
          <p:cNvPr id="25" name="Slide Number Placeholder 5">
            <a:extLst>
              <a:ext uri="{FF2B5EF4-FFF2-40B4-BE49-F238E27FC236}">
                <a16:creationId xmlns:a16="http://schemas.microsoft.com/office/drawing/2014/main" id="{21F99190-1A65-41A8-BBA7-98BD441A8C0E}"/>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
        <p:nvSpPr>
          <p:cNvPr id="26" name="Footer Placeholder 4">
            <a:extLst>
              <a:ext uri="{FF2B5EF4-FFF2-40B4-BE49-F238E27FC236}">
                <a16:creationId xmlns:a16="http://schemas.microsoft.com/office/drawing/2014/main" id="{50D61507-3612-4ECE-96B7-0F9C15D34247}"/>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bg2"/>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3" name="Title 2">
            <a:extLst>
              <a:ext uri="{FF2B5EF4-FFF2-40B4-BE49-F238E27FC236}">
                <a16:creationId xmlns:a16="http://schemas.microsoft.com/office/drawing/2014/main" id="{22EDF673-966E-4DCD-9A9F-89CC749ED8A0}"/>
              </a:ext>
            </a:extLst>
          </p:cNvPr>
          <p:cNvSpPr>
            <a:spLocks noGrp="1"/>
          </p:cNvSpPr>
          <p:nvPr>
            <p:ph type="title"/>
          </p:nvPr>
        </p:nvSpPr>
        <p:spPr>
          <a:xfrm>
            <a:off x="531814" y="560588"/>
            <a:ext cx="11089972" cy="418576"/>
          </a:xfrm>
        </p:spPr>
        <p:txBody>
          <a:bodyPr/>
          <a:lstStyle>
            <a:lvl1pPr>
              <a:lnSpc>
                <a:spcPct val="85000"/>
              </a:lnSpc>
              <a:defRPr>
                <a:solidFill>
                  <a:schemeClr val="bg1"/>
                </a:solidFill>
              </a:defRPr>
            </a:lvl1pPr>
          </a:lstStyle>
          <a:p>
            <a:r>
              <a:rPr lang="en-US"/>
              <a:t>Click to edit Master title style</a:t>
            </a:r>
            <a:endParaRPr lang="en-IN" dirty="0"/>
          </a:p>
        </p:txBody>
      </p:sp>
    </p:spTree>
    <p:extLst>
      <p:ext uri="{BB962C8B-B14F-4D97-AF65-F5344CB8AC3E}">
        <p14:creationId xmlns:p14="http://schemas.microsoft.com/office/powerpoint/2010/main" val="2965302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3 Blue on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243384101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7E2B9A3-0AB0-4FA9-BE30-99B8A88EB12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8134763" y="-1"/>
            <a:ext cx="4059776"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4" y="6445295"/>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7" name="Straight Connector 6">
            <a:extLst>
              <a:ext uri="{FF2B5EF4-FFF2-40B4-BE49-F238E27FC236}">
                <a16:creationId xmlns:a16="http://schemas.microsoft.com/office/drawing/2014/main" id="{747BD8F9-1D4E-4291-8770-E69192472F2F}"/>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ooter Placeholder 4">
            <a:extLst>
              <a:ext uri="{FF2B5EF4-FFF2-40B4-BE49-F238E27FC236}">
                <a16:creationId xmlns:a16="http://schemas.microsoft.com/office/drawing/2014/main" id="{767490F9-4012-46F8-ABED-EB2AEB970D53}"/>
              </a:ext>
            </a:extLst>
          </p:cNvPr>
          <p:cNvSpPr>
            <a:spLocks noGrp="1"/>
          </p:cNvSpPr>
          <p:nvPr>
            <p:ph type="ftr" sz="quarter" idx="3"/>
          </p:nvPr>
        </p:nvSpPr>
        <p:spPr>
          <a:xfrm>
            <a:off x="550863"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4" name="Group 23">
            <a:extLst>
              <a:ext uri="{FF2B5EF4-FFF2-40B4-BE49-F238E27FC236}">
                <a16:creationId xmlns:a16="http://schemas.microsoft.com/office/drawing/2014/main" id="{9BFAF012-FF52-4660-B1EB-E3DAD4E5D0D9}"/>
              </a:ext>
            </a:extLst>
          </p:cNvPr>
          <p:cNvGrpSpPr/>
          <p:nvPr userDrawn="1"/>
        </p:nvGrpSpPr>
        <p:grpSpPr>
          <a:xfrm>
            <a:off x="11979362" y="4535497"/>
            <a:ext cx="110800" cy="2041948"/>
            <a:chOff x="11979439" y="4535495"/>
            <a:chExt cx="110801" cy="2041947"/>
          </a:xfrm>
        </p:grpSpPr>
        <p:grpSp>
          <p:nvGrpSpPr>
            <p:cNvPr id="26" name="Group 25">
              <a:extLst>
                <a:ext uri="{FF2B5EF4-FFF2-40B4-BE49-F238E27FC236}">
                  <a16:creationId xmlns:a16="http://schemas.microsoft.com/office/drawing/2014/main" id="{563A8AA3-AFD6-4F1D-95AB-D3C5F7E6A748}"/>
                </a:ext>
              </a:extLst>
            </p:cNvPr>
            <p:cNvGrpSpPr/>
            <p:nvPr userDrawn="1"/>
          </p:nvGrpSpPr>
          <p:grpSpPr>
            <a:xfrm>
              <a:off x="11998460" y="6135518"/>
              <a:ext cx="68500" cy="441924"/>
              <a:chOff x="11998459" y="6162188"/>
              <a:chExt cx="68500" cy="441924"/>
            </a:xfrm>
          </p:grpSpPr>
          <p:sp>
            <p:nvSpPr>
              <p:cNvPr id="28" name="Freeform: Shape 27">
                <a:extLst>
                  <a:ext uri="{FF2B5EF4-FFF2-40B4-BE49-F238E27FC236}">
                    <a16:creationId xmlns:a16="http://schemas.microsoft.com/office/drawing/2014/main" id="{781A09B8-B6D7-496D-AC8E-E2CC99E1F047}"/>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Freeform: Shape 28">
                <a:extLst>
                  <a:ext uri="{FF2B5EF4-FFF2-40B4-BE49-F238E27FC236}">
                    <a16:creationId xmlns:a16="http://schemas.microsoft.com/office/drawing/2014/main" id="{77B1E538-1876-4C5E-8612-52D93329CC93}"/>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BEB775BB-2E5F-4B32-9B48-8DE1DD506FB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FDF313EF-4694-4121-BF30-C1139E1F9D1C}"/>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6F3BB4C7-5441-4DAF-B428-07833129A3C4}"/>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4ADF2282-0F9C-41BD-8919-3F118F7AFA19}"/>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107EBF3C-B087-4F18-8637-DB3F73785049}"/>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FE95DEE8-DE4E-456F-B56B-0D9C34409112}"/>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34E317DF-5709-4B5E-A764-DBE2AC16DCAC}"/>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ABAA8A11-8055-4872-829E-9B4ACFB0448C}"/>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F3D0752F-4BE1-4DEA-9A91-C12628B9D905}"/>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227F6B00-C84C-430B-B7C2-DFB7384C7332}"/>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C86C1E6A-A2B0-4B52-82F6-EA7C2BB679FC}"/>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7" name="Copyright">
              <a:extLst>
                <a:ext uri="{FF2B5EF4-FFF2-40B4-BE49-F238E27FC236}">
                  <a16:creationId xmlns:a16="http://schemas.microsoft.com/office/drawing/2014/main" id="{6F9ADEBF-B227-47BA-9FFB-3881EE358DB3}"/>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
        <p:nvSpPr>
          <p:cNvPr id="4" name="Title 3">
            <a:extLst>
              <a:ext uri="{FF2B5EF4-FFF2-40B4-BE49-F238E27FC236}">
                <a16:creationId xmlns:a16="http://schemas.microsoft.com/office/drawing/2014/main" id="{D6CAC9C2-9DC0-4151-8814-3516E0ADB8BC}"/>
              </a:ext>
            </a:extLst>
          </p:cNvPr>
          <p:cNvSpPr>
            <a:spLocks noGrp="1"/>
          </p:cNvSpPr>
          <p:nvPr>
            <p:ph type="title"/>
          </p:nvPr>
        </p:nvSpPr>
        <p:spPr>
          <a:xfrm>
            <a:off x="531813" y="560588"/>
            <a:ext cx="7061683" cy="422295"/>
          </a:xfrm>
        </p:spPr>
        <p:txBody>
          <a:bodyPr vert="horz" wrap="square" lIns="0" tIns="0" rIns="0" bIns="0" rtlCol="0" anchor="t">
            <a:spAutoFit/>
          </a:bodyPr>
          <a:lstStyle>
            <a:lvl1pPr>
              <a:defRPr lang="en-IN" dirty="0">
                <a:solidFill>
                  <a:schemeClr val="tx2"/>
                </a:solidFill>
              </a:defRPr>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13020993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2 Blue on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4F88C4-2B8F-234B-8137-AE1FB5324901}"/>
              </a:ext>
            </a:extLst>
          </p:cNvPr>
          <p:cNvGraphicFramePr>
            <a:graphicFrameLocks noChangeAspect="1"/>
          </p:cNvGraphicFramePr>
          <p:nvPr userDrawn="1">
            <p:custDataLst>
              <p:tags r:id="rId1"/>
            </p:custDataLst>
            <p:extLst>
              <p:ext uri="{D42A27DB-BD31-4B8C-83A1-F6EECF244321}">
                <p14:modId xmlns:p14="http://schemas.microsoft.com/office/powerpoint/2010/main" val="78811140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14F88C4-2B8F-234B-8137-AE1FB5324901}"/>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DC2C367-8056-426B-81B2-4B2C7238E5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5" name="Rectangle 4">
            <a:extLst>
              <a:ext uri="{FF2B5EF4-FFF2-40B4-BE49-F238E27FC236}">
                <a16:creationId xmlns:a16="http://schemas.microsoft.com/office/drawing/2014/main" id="{C22CE3DA-88E4-1842-8B01-A41F4FDEB96D}"/>
              </a:ext>
            </a:extLst>
          </p:cNvPr>
          <p:cNvSpPr/>
          <p:nvPr userDrawn="1"/>
        </p:nvSpPr>
        <p:spPr>
          <a:xfrm>
            <a:off x="6096000" y="-1"/>
            <a:ext cx="6098539" cy="6858001"/>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a:extLst>
              <a:ext uri="{FF2B5EF4-FFF2-40B4-BE49-F238E27FC236}">
                <a16:creationId xmlns:a16="http://schemas.microsoft.com/office/drawing/2014/main" id="{40105E0D-AB4A-FA48-B246-B9BE74833DEF}"/>
              </a:ext>
            </a:extLst>
          </p:cNvPr>
          <p:cNvSpPr>
            <a:spLocks noGrp="1"/>
          </p:cNvSpPr>
          <p:nvPr>
            <p:ph type="sldNum" sz="quarter" idx="11"/>
          </p:nvPr>
        </p:nvSpPr>
        <p:spPr>
          <a:xfrm>
            <a:off x="11490454" y="6445295"/>
            <a:ext cx="150683"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9" name="Straight Connector 8">
            <a:extLst>
              <a:ext uri="{FF2B5EF4-FFF2-40B4-BE49-F238E27FC236}">
                <a16:creationId xmlns:a16="http://schemas.microsoft.com/office/drawing/2014/main" id="{C8C5468B-3210-455B-960F-ACC92937B434}"/>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Footer Placeholder 4">
            <a:extLst>
              <a:ext uri="{FF2B5EF4-FFF2-40B4-BE49-F238E27FC236}">
                <a16:creationId xmlns:a16="http://schemas.microsoft.com/office/drawing/2014/main" id="{D9F423ED-15C9-4DBA-A5CC-A74A55A44E25}"/>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grpSp>
        <p:nvGrpSpPr>
          <p:cNvPr id="25" name="Group 24">
            <a:extLst>
              <a:ext uri="{FF2B5EF4-FFF2-40B4-BE49-F238E27FC236}">
                <a16:creationId xmlns:a16="http://schemas.microsoft.com/office/drawing/2014/main" id="{8623CBF1-457C-4491-90EE-6DE3BD9C2B8C}"/>
              </a:ext>
            </a:extLst>
          </p:cNvPr>
          <p:cNvGrpSpPr/>
          <p:nvPr userDrawn="1"/>
        </p:nvGrpSpPr>
        <p:grpSpPr>
          <a:xfrm>
            <a:off x="11979362" y="4535497"/>
            <a:ext cx="110800" cy="2041948"/>
            <a:chOff x="11979439" y="4535495"/>
            <a:chExt cx="110801" cy="2041947"/>
          </a:xfrm>
        </p:grpSpPr>
        <p:grpSp>
          <p:nvGrpSpPr>
            <p:cNvPr id="27" name="Group 26">
              <a:extLst>
                <a:ext uri="{FF2B5EF4-FFF2-40B4-BE49-F238E27FC236}">
                  <a16:creationId xmlns:a16="http://schemas.microsoft.com/office/drawing/2014/main" id="{8C5D61D5-4D53-4B2F-830C-7C2D09806F89}"/>
                </a:ext>
              </a:extLst>
            </p:cNvPr>
            <p:cNvGrpSpPr/>
            <p:nvPr userDrawn="1"/>
          </p:nvGrpSpPr>
          <p:grpSpPr>
            <a:xfrm>
              <a:off x="11998460" y="6135518"/>
              <a:ext cx="68500" cy="441924"/>
              <a:chOff x="11998459" y="6162188"/>
              <a:chExt cx="68500" cy="441924"/>
            </a:xfrm>
          </p:grpSpPr>
          <p:sp>
            <p:nvSpPr>
              <p:cNvPr id="29" name="Freeform: Shape 28">
                <a:extLst>
                  <a:ext uri="{FF2B5EF4-FFF2-40B4-BE49-F238E27FC236}">
                    <a16:creationId xmlns:a16="http://schemas.microsoft.com/office/drawing/2014/main" id="{1E4918B8-A176-47C4-9264-39A91C78CD7E}"/>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Freeform: Shape 29">
                <a:extLst>
                  <a:ext uri="{FF2B5EF4-FFF2-40B4-BE49-F238E27FC236}">
                    <a16:creationId xmlns:a16="http://schemas.microsoft.com/office/drawing/2014/main" id="{3201241E-6654-4B58-A757-746A35947F4F}"/>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1" name="Freeform: Shape 30">
                <a:extLst>
                  <a:ext uri="{FF2B5EF4-FFF2-40B4-BE49-F238E27FC236}">
                    <a16:creationId xmlns:a16="http://schemas.microsoft.com/office/drawing/2014/main" id="{AC0D2E0D-CECA-462E-BAF3-CF92D72544E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2" name="Freeform: Shape 31">
                <a:extLst>
                  <a:ext uri="{FF2B5EF4-FFF2-40B4-BE49-F238E27FC236}">
                    <a16:creationId xmlns:a16="http://schemas.microsoft.com/office/drawing/2014/main" id="{A50CAD15-5BF3-4472-BDB9-3E3E4742DD6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3" name="Freeform: Shape 32">
                <a:extLst>
                  <a:ext uri="{FF2B5EF4-FFF2-40B4-BE49-F238E27FC236}">
                    <a16:creationId xmlns:a16="http://schemas.microsoft.com/office/drawing/2014/main" id="{3C3511C1-3179-44B4-BB52-D2B10DA8A6E2}"/>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Freeform: Shape 33">
                <a:extLst>
                  <a:ext uri="{FF2B5EF4-FFF2-40B4-BE49-F238E27FC236}">
                    <a16:creationId xmlns:a16="http://schemas.microsoft.com/office/drawing/2014/main" id="{07DD1BCC-9230-417B-A5CC-E1D3F6F61041}"/>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Freeform: Shape 34">
                <a:extLst>
                  <a:ext uri="{FF2B5EF4-FFF2-40B4-BE49-F238E27FC236}">
                    <a16:creationId xmlns:a16="http://schemas.microsoft.com/office/drawing/2014/main" id="{E7A77373-FE9B-46C2-BEB4-F8B0A94BD53E}"/>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CB8ABB54-E991-461F-9791-D895B90E6700}"/>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F773B4D2-2297-4AFE-A952-85F190728CC5}"/>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E052044D-7360-4930-ACEF-75B0996C9E40}"/>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78EE721A-1842-4613-97C0-83F42E192EFE}"/>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E04EC6AA-4D0D-4D6B-A317-D59028CD1190}"/>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33B47ABB-E212-4C3A-93F4-8ECF298B2F14}"/>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8" name="Copyright">
              <a:extLst>
                <a:ext uri="{FF2B5EF4-FFF2-40B4-BE49-F238E27FC236}">
                  <a16:creationId xmlns:a16="http://schemas.microsoft.com/office/drawing/2014/main" id="{63A391B4-F2D4-4CEA-BB2D-6FE9C17F564E}"/>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
        <p:nvSpPr>
          <p:cNvPr id="4" name="Title 3">
            <a:extLst>
              <a:ext uri="{FF2B5EF4-FFF2-40B4-BE49-F238E27FC236}">
                <a16:creationId xmlns:a16="http://schemas.microsoft.com/office/drawing/2014/main" id="{93E1D190-1D55-4D58-B05F-8B0C78FE1DC0}"/>
              </a:ext>
            </a:extLst>
          </p:cNvPr>
          <p:cNvSpPr>
            <a:spLocks noGrp="1"/>
          </p:cNvSpPr>
          <p:nvPr>
            <p:ph type="title"/>
          </p:nvPr>
        </p:nvSpPr>
        <p:spPr>
          <a:xfrm>
            <a:off x="531813" y="560588"/>
            <a:ext cx="5123552" cy="837046"/>
          </a:xfrm>
        </p:spPr>
        <p:txBody>
          <a:bodyPr vert="horz" wrap="square" lIns="0" tIns="0" rIns="0" bIns="0" rtlCol="0" anchor="t">
            <a:spAutoFit/>
          </a:bodyPr>
          <a:lstStyle>
            <a:lvl1pPr>
              <a:defRPr lang="en-IN" dirty="0"/>
            </a:lvl1pPr>
          </a:lstStyle>
          <a:p>
            <a:pPr lvl="0">
              <a:lnSpc>
                <a:spcPct val="85000"/>
              </a:lnSpc>
            </a:pPr>
            <a:r>
              <a:rPr lang="en-US"/>
              <a:t>Click to edit Master title style</a:t>
            </a:r>
            <a:endParaRPr lang="en-IN" dirty="0"/>
          </a:p>
        </p:txBody>
      </p:sp>
    </p:spTree>
    <p:extLst>
      <p:ext uri="{BB962C8B-B14F-4D97-AF65-F5344CB8AC3E}">
        <p14:creationId xmlns:p14="http://schemas.microsoft.com/office/powerpoint/2010/main" val="12492326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Breaker Slide_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194811257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6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8" name="Picture 7">
            <a:extLst>
              <a:ext uri="{FF2B5EF4-FFF2-40B4-BE49-F238E27FC236}">
                <a16:creationId xmlns:a16="http://schemas.microsoft.com/office/drawing/2014/main" id="{F99A2C76-32EA-4992-A965-D9260A5D160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482E60DA-1F02-9A45-8CE9-6CC78A3380F0}"/>
              </a:ext>
            </a:extLst>
          </p:cNvPr>
          <p:cNvSpPr/>
          <p:nvPr userDrawn="1"/>
        </p:nvSpPr>
        <p:spPr>
          <a:xfrm>
            <a:off x="1" y="0"/>
            <a:ext cx="2682587" cy="6858000"/>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1D93BD1C-9237-8249-950A-62A7C86034D0}"/>
              </a:ext>
            </a:extLst>
          </p:cNvPr>
          <p:cNvSpPr/>
          <p:nvPr userDrawn="1"/>
        </p:nvSpPr>
        <p:spPr>
          <a:xfrm>
            <a:off x="1" y="3700464"/>
            <a:ext cx="9412014" cy="2414587"/>
          </a:xfrm>
          <a:prstGeom prst="rect">
            <a:avLst/>
          </a:prstGeom>
          <a:gradFill flip="none" rotWithShape="1">
            <a:gsLst>
              <a:gs pos="0">
                <a:schemeClr val="tx2">
                  <a:lumMod val="50000"/>
                </a:schemeClr>
              </a:gs>
              <a:gs pos="55000">
                <a:srgbClr val="385ED2"/>
              </a:gs>
              <a:gs pos="76000">
                <a:schemeClr val="tx2">
                  <a:lumMod val="75000"/>
                  <a:lumOff val="25000"/>
                  <a:alpha val="90000"/>
                </a:schemeClr>
              </a:gs>
              <a:gs pos="100000">
                <a:schemeClr val="accent3">
                  <a:lumMod val="60000"/>
                  <a:lumOff val="40000"/>
                  <a:alpha val="9000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400" dirty="0" err="1">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737592" y="4108436"/>
            <a:ext cx="8494899" cy="1569660"/>
          </a:xfrm>
          <a:effectLst>
            <a:outerShdw blurRad="190500" dir="2700000" algn="tl" rotWithShape="0">
              <a:prstClr val="black">
                <a:alpha val="30000"/>
              </a:prstClr>
            </a:outerShdw>
          </a:effectLst>
        </p:spPr>
        <p:txBody>
          <a:bodyPr vert="horz" wrap="square" lIns="0" tIns="0" rIns="0" bIns="0" rtlCol="0" anchor="ctr">
            <a:spAutoFit/>
          </a:bodyPr>
          <a:lstStyle>
            <a:lvl1pPr>
              <a:lnSpc>
                <a:spcPct val="80000"/>
              </a:lnSpc>
              <a:defRPr lang="en-US" sz="6000" dirty="0">
                <a:solidFill>
                  <a:schemeClr val="bg1"/>
                </a:solidFill>
              </a:defRPr>
            </a:lvl1pPr>
          </a:lstStyle>
          <a:p>
            <a:pPr lvl="0">
              <a:lnSpc>
                <a:spcPct val="85000"/>
              </a:lnSpc>
            </a:pPr>
            <a:r>
              <a:rPr lang="en-US"/>
              <a:t>Click to edit Master title style</a:t>
            </a:r>
            <a:endParaRPr lang="en-US" dirty="0"/>
          </a:p>
        </p:txBody>
      </p:sp>
      <p:grpSp>
        <p:nvGrpSpPr>
          <p:cNvPr id="12" name="Group 11">
            <a:extLst>
              <a:ext uri="{FF2B5EF4-FFF2-40B4-BE49-F238E27FC236}">
                <a16:creationId xmlns:a16="http://schemas.microsoft.com/office/drawing/2014/main" id="{1A4D7170-2B51-4AFC-B047-0F5B3A69E471}"/>
              </a:ext>
            </a:extLst>
          </p:cNvPr>
          <p:cNvGrpSpPr/>
          <p:nvPr userDrawn="1"/>
        </p:nvGrpSpPr>
        <p:grpSpPr>
          <a:xfrm>
            <a:off x="11998459" y="6162188"/>
            <a:ext cx="68500" cy="441924"/>
            <a:chOff x="11998459" y="6162188"/>
            <a:chExt cx="68500" cy="441924"/>
          </a:xfrm>
          <a:solidFill>
            <a:schemeClr val="bg1"/>
          </a:solidFill>
        </p:grpSpPr>
        <p:sp>
          <p:nvSpPr>
            <p:cNvPr id="13" name="Freeform: Shape 12">
              <a:extLst>
                <a:ext uri="{FF2B5EF4-FFF2-40B4-BE49-F238E27FC236}">
                  <a16:creationId xmlns:a16="http://schemas.microsoft.com/office/drawing/2014/main" id="{DDD1615D-0D55-4B48-87A2-0F30A4E3D8E7}"/>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7C8D3D7F-D19B-49DE-9CB3-221A0639516B}"/>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Freeform: Shape 15">
              <a:extLst>
                <a:ext uri="{FF2B5EF4-FFF2-40B4-BE49-F238E27FC236}">
                  <a16:creationId xmlns:a16="http://schemas.microsoft.com/office/drawing/2014/main" id="{E30BC6AD-EFFB-4263-A0EB-5A8265D4385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A341753F-E8F7-47E2-8A08-516073C6B573}"/>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F3E2B82A-AA52-459B-A885-2C9E46A7CA08}"/>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BDCD4539-FE2A-4741-BBEF-2BADE6F5B99D}"/>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63FB79E5-53C4-46E5-AAF3-BCDBDA5A2D1D}"/>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D09CEBDE-5D0C-41B5-85C2-CBC9DA810EFB}"/>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0887E364-69C8-42A1-811A-4726514CBCE3}"/>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18A0E0BB-B67F-4B6F-A66E-3D42CC14F9E7}"/>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Freeform: Shape 23">
              <a:extLst>
                <a:ext uri="{FF2B5EF4-FFF2-40B4-BE49-F238E27FC236}">
                  <a16:creationId xmlns:a16="http://schemas.microsoft.com/office/drawing/2014/main" id="{797C39D0-A99F-467C-9FAD-1FEC939449C9}"/>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Freeform: Shape 24">
              <a:extLst>
                <a:ext uri="{FF2B5EF4-FFF2-40B4-BE49-F238E27FC236}">
                  <a16:creationId xmlns:a16="http://schemas.microsoft.com/office/drawing/2014/main" id="{FB512C9A-2B27-4460-B3C8-AA6460E8DA65}"/>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Freeform: Shape 25">
              <a:extLst>
                <a:ext uri="{FF2B5EF4-FFF2-40B4-BE49-F238E27FC236}">
                  <a16:creationId xmlns:a16="http://schemas.microsoft.com/office/drawing/2014/main" id="{6A1FA1F5-B76B-4B98-99DC-DD1D17B7F23E}"/>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grpFill/>
            <a:ln w="1705" cap="flat">
              <a:noFill/>
              <a:prstDash val="solid"/>
              <a:miter/>
            </a:ln>
          </p:spPr>
          <p:txBody>
            <a:bodyPr rtlCol="0" anchor="ctr"/>
            <a:lstStyle/>
            <a:p>
              <a:endParaRPr lang="en-IN" sz="14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27" name="Copyright">
            <a:extLst>
              <a:ext uri="{FF2B5EF4-FFF2-40B4-BE49-F238E27FC236}">
                <a16:creationId xmlns:a16="http://schemas.microsoft.com/office/drawing/2014/main" id="{EB60B0AE-F9C0-4FBF-9FE6-F8CE2ED57C40}"/>
              </a:ext>
            </a:extLst>
          </p:cNvPr>
          <p:cNvSpPr txBox="1"/>
          <p:nvPr userDrawn="1"/>
        </p:nvSpPr>
        <p:spPr>
          <a:xfrm rot="16200000">
            <a:off x="11250972"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1"/>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sp>
        <p:nvSpPr>
          <p:cNvPr id="28" name="Slide Number Placeholder 5">
            <a:extLst>
              <a:ext uri="{FF2B5EF4-FFF2-40B4-BE49-F238E27FC236}">
                <a16:creationId xmlns:a16="http://schemas.microsoft.com/office/drawing/2014/main" id="{4B037CC6-E5CE-4CBE-B183-A4AF78E15EC6}"/>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spTree>
    <p:extLst>
      <p:ext uri="{BB962C8B-B14F-4D97-AF65-F5344CB8AC3E}">
        <p14:creationId xmlns:p14="http://schemas.microsoft.com/office/powerpoint/2010/main" val="723903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_2">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38369F-F8B4-42F9-9E33-ED43D3902465}"/>
              </a:ext>
            </a:extLst>
          </p:cNvPr>
          <p:cNvGraphicFramePr>
            <a:graphicFrameLocks noChangeAspect="1"/>
          </p:cNvGraphicFramePr>
          <p:nvPr userDrawn="1">
            <p:custDataLst>
              <p:tags r:id="rId1"/>
            </p:custDataLst>
            <p:extLst>
              <p:ext uri="{D42A27DB-BD31-4B8C-83A1-F6EECF244321}">
                <p14:modId xmlns:p14="http://schemas.microsoft.com/office/powerpoint/2010/main" val="200457384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F38369F-F8B4-42F9-9E33-ED43D390246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06F88BD-D39D-4B55-A16B-68F5F7E3D6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60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pic>
        <p:nvPicPr>
          <p:cNvPr id="6" name="Picture 5">
            <a:extLst>
              <a:ext uri="{FF2B5EF4-FFF2-40B4-BE49-F238E27FC236}">
                <a16:creationId xmlns:a16="http://schemas.microsoft.com/office/drawing/2014/main" id="{92E076F7-2F5B-46F9-A7D4-BCD4A1BF4FBE}"/>
              </a:ext>
            </a:extLst>
          </p:cNvPr>
          <p:cNvPicPr>
            <a:picLocks noChangeAspect="1"/>
          </p:cNvPicPr>
          <p:nvPr userDrawn="1"/>
        </p:nvPicPr>
        <p:blipFill>
          <a:blip r:embed="rId6">
            <a:grayscl/>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9" name="Rectangle 28">
            <a:extLst>
              <a:ext uri="{FF2B5EF4-FFF2-40B4-BE49-F238E27FC236}">
                <a16:creationId xmlns:a16="http://schemas.microsoft.com/office/drawing/2014/main" id="{05571307-B5A1-49FA-8B2A-10157FD7593A}"/>
              </a:ext>
            </a:extLst>
          </p:cNvPr>
          <p:cNvSpPr/>
          <p:nvPr userDrawn="1"/>
        </p:nvSpPr>
        <p:spPr>
          <a:xfrm>
            <a:off x="0" y="0"/>
            <a:ext cx="12192000" cy="6858000"/>
          </a:xfrm>
          <a:prstGeom prst="rect">
            <a:avLst/>
          </a:prstGeom>
          <a:gradFill flip="none" rotWithShape="1">
            <a:gsLst>
              <a:gs pos="16000">
                <a:schemeClr val="tx2">
                  <a:lumMod val="50000"/>
                </a:schemeClr>
              </a:gs>
              <a:gs pos="55000">
                <a:schemeClr val="tx2">
                  <a:lumMod val="75000"/>
                  <a:alpha val="90000"/>
                </a:schemeClr>
              </a:gs>
              <a:gs pos="85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sym typeface="Calibri" panose="020F0502020204030204" pitchFamily="34" charset="0"/>
            </a:endParaRPr>
          </a:p>
        </p:txBody>
      </p:sp>
      <p:sp>
        <p:nvSpPr>
          <p:cNvPr id="9" name="Title 1">
            <a:extLst>
              <a:ext uri="{FF2B5EF4-FFF2-40B4-BE49-F238E27FC236}">
                <a16:creationId xmlns:a16="http://schemas.microsoft.com/office/drawing/2014/main" id="{3410CA7A-4558-C443-9C75-2C8E863B7787}"/>
              </a:ext>
            </a:extLst>
          </p:cNvPr>
          <p:cNvSpPr>
            <a:spLocks noGrp="1"/>
          </p:cNvSpPr>
          <p:nvPr>
            <p:ph type="title"/>
          </p:nvPr>
        </p:nvSpPr>
        <p:spPr>
          <a:xfrm>
            <a:off x="992390" y="4026897"/>
            <a:ext cx="6785798" cy="1569660"/>
          </a:xfrm>
          <a:effectLst>
            <a:outerShdw blurRad="190500" dir="2700000" algn="tl" rotWithShape="0">
              <a:prstClr val="black">
                <a:alpha val="30000"/>
              </a:prstClr>
            </a:outerShdw>
          </a:effectLst>
        </p:spPr>
        <p:txBody>
          <a:bodyPr vert="horz" wrap="square" lIns="0" tIns="0" rIns="0" bIns="0" rtlCol="0" anchor="b">
            <a:spAutoFit/>
          </a:bodyPr>
          <a:lstStyle>
            <a:lvl1pPr>
              <a:lnSpc>
                <a:spcPct val="80000"/>
              </a:lnSpc>
              <a:defRPr lang="en-US" sz="6000" dirty="0">
                <a:solidFill>
                  <a:schemeClr val="bg1"/>
                </a:solidFill>
              </a:defRPr>
            </a:lvl1pPr>
          </a:lstStyle>
          <a:p>
            <a:pPr lvl="0">
              <a:lnSpc>
                <a:spcPct val="85000"/>
              </a:lnSpc>
            </a:pPr>
            <a:r>
              <a:rPr lang="en-US"/>
              <a:t>Click to edit Master title style</a:t>
            </a:r>
            <a:endParaRPr lang="en-US" dirty="0"/>
          </a:p>
        </p:txBody>
      </p:sp>
      <p:sp>
        <p:nvSpPr>
          <p:cNvPr id="28" name="Slide Number Placeholder 5">
            <a:extLst>
              <a:ext uri="{FF2B5EF4-FFF2-40B4-BE49-F238E27FC236}">
                <a16:creationId xmlns:a16="http://schemas.microsoft.com/office/drawing/2014/main" id="{4B037CC6-E5CE-4CBE-B183-A4AF78E15EC6}"/>
              </a:ext>
            </a:extLst>
          </p:cNvPr>
          <p:cNvSpPr>
            <a:spLocks noGrp="1"/>
          </p:cNvSpPr>
          <p:nvPr>
            <p:ph type="sldNum" sz="quarter" idx="11"/>
          </p:nvPr>
        </p:nvSpPr>
        <p:spPr>
          <a:xfrm>
            <a:off x="11490154" y="6465615"/>
            <a:ext cx="150682" cy="138499"/>
          </a:xfrm>
        </p:spPr>
        <p:txBody>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8F8D7F04-0843-CE4E-9080-A55527BC6FD9}" type="slidenum">
              <a:rPr lang="en-IN" smtClean="0"/>
              <a:pPr>
                <a:lnSpc>
                  <a:spcPct val="90000"/>
                </a:lnSpc>
              </a:pPr>
              <a:t>‹#›</a:t>
            </a:fld>
            <a:endParaRPr lang="en-IN" dirty="0"/>
          </a:p>
        </p:txBody>
      </p:sp>
      <p:cxnSp>
        <p:nvCxnSpPr>
          <p:cNvPr id="30" name="Straight Connector 29">
            <a:extLst>
              <a:ext uri="{FF2B5EF4-FFF2-40B4-BE49-F238E27FC236}">
                <a16:creationId xmlns:a16="http://schemas.microsoft.com/office/drawing/2014/main" id="{5B1B01B0-505C-4864-BC9B-FBCE18D02D9C}"/>
              </a:ext>
            </a:extLst>
          </p:cNvPr>
          <p:cNvCxnSpPr>
            <a:cxnSpLocks/>
          </p:cNvCxnSpPr>
          <p:nvPr userDrawn="1"/>
        </p:nvCxnSpPr>
        <p:spPr>
          <a:xfrm>
            <a:off x="992389" y="5712304"/>
            <a:ext cx="154246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95DDDC21-5EC0-4BC6-A759-2D861F3A42C0}"/>
              </a:ext>
            </a:extLst>
          </p:cNvPr>
          <p:cNvGrpSpPr/>
          <p:nvPr userDrawn="1"/>
        </p:nvGrpSpPr>
        <p:grpSpPr>
          <a:xfrm>
            <a:off x="11979362" y="4535497"/>
            <a:ext cx="110800" cy="2041948"/>
            <a:chOff x="11979439" y="4535495"/>
            <a:chExt cx="110801" cy="2041947"/>
          </a:xfrm>
        </p:grpSpPr>
        <p:grpSp>
          <p:nvGrpSpPr>
            <p:cNvPr id="32" name="Group 31">
              <a:extLst>
                <a:ext uri="{FF2B5EF4-FFF2-40B4-BE49-F238E27FC236}">
                  <a16:creationId xmlns:a16="http://schemas.microsoft.com/office/drawing/2014/main" id="{6CE34071-C191-4EA0-879B-938D0D7FB2DC}"/>
                </a:ext>
              </a:extLst>
            </p:cNvPr>
            <p:cNvGrpSpPr/>
            <p:nvPr userDrawn="1"/>
          </p:nvGrpSpPr>
          <p:grpSpPr>
            <a:xfrm>
              <a:off x="11998460" y="6135518"/>
              <a:ext cx="68500" cy="441924"/>
              <a:chOff x="11998459" y="6162188"/>
              <a:chExt cx="68500" cy="441924"/>
            </a:xfrm>
          </p:grpSpPr>
          <p:sp>
            <p:nvSpPr>
              <p:cNvPr id="35" name="Freeform: Shape 34">
                <a:extLst>
                  <a:ext uri="{FF2B5EF4-FFF2-40B4-BE49-F238E27FC236}">
                    <a16:creationId xmlns:a16="http://schemas.microsoft.com/office/drawing/2014/main" id="{86C589D3-2A68-47B4-A186-DCD2A83FCFC8}"/>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Freeform: Shape 35">
                <a:extLst>
                  <a:ext uri="{FF2B5EF4-FFF2-40B4-BE49-F238E27FC236}">
                    <a16:creationId xmlns:a16="http://schemas.microsoft.com/office/drawing/2014/main" id="{4BB41610-46EC-428B-835A-19794F87B288}"/>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7" name="Freeform: Shape 36">
                <a:extLst>
                  <a:ext uri="{FF2B5EF4-FFF2-40B4-BE49-F238E27FC236}">
                    <a16:creationId xmlns:a16="http://schemas.microsoft.com/office/drawing/2014/main" id="{335B418E-1CF7-49D6-9410-F4E0F9CA8FDC}"/>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8" name="Freeform: Shape 37">
                <a:extLst>
                  <a:ext uri="{FF2B5EF4-FFF2-40B4-BE49-F238E27FC236}">
                    <a16:creationId xmlns:a16="http://schemas.microsoft.com/office/drawing/2014/main" id="{75874F1C-8BBD-43D9-9576-2326771CDA5E}"/>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39" name="Freeform: Shape 38">
                <a:extLst>
                  <a:ext uri="{FF2B5EF4-FFF2-40B4-BE49-F238E27FC236}">
                    <a16:creationId xmlns:a16="http://schemas.microsoft.com/office/drawing/2014/main" id="{41BF7ED0-D40C-414C-A361-03E0EC0CA1B8}"/>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0" name="Freeform: Shape 39">
                <a:extLst>
                  <a:ext uri="{FF2B5EF4-FFF2-40B4-BE49-F238E27FC236}">
                    <a16:creationId xmlns:a16="http://schemas.microsoft.com/office/drawing/2014/main" id="{B0A1FE6F-2C49-4E56-BBB6-F7F2308FE7A5}"/>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Freeform: Shape 40">
                <a:extLst>
                  <a:ext uri="{FF2B5EF4-FFF2-40B4-BE49-F238E27FC236}">
                    <a16:creationId xmlns:a16="http://schemas.microsoft.com/office/drawing/2014/main" id="{8FE97711-BCB1-4A87-B444-FE49A24C954C}"/>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2" name="Freeform: Shape 41">
                <a:extLst>
                  <a:ext uri="{FF2B5EF4-FFF2-40B4-BE49-F238E27FC236}">
                    <a16:creationId xmlns:a16="http://schemas.microsoft.com/office/drawing/2014/main" id="{DC90751F-BC28-4C38-9AEE-4FE522001DE3}"/>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3" name="Freeform: Shape 42">
                <a:extLst>
                  <a:ext uri="{FF2B5EF4-FFF2-40B4-BE49-F238E27FC236}">
                    <a16:creationId xmlns:a16="http://schemas.microsoft.com/office/drawing/2014/main" id="{4759EB0F-4722-48F9-98B5-35600B2F5F54}"/>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4" name="Freeform: Shape 43">
                <a:extLst>
                  <a:ext uri="{FF2B5EF4-FFF2-40B4-BE49-F238E27FC236}">
                    <a16:creationId xmlns:a16="http://schemas.microsoft.com/office/drawing/2014/main" id="{1E9ED425-DEE8-4FE5-B40D-E5D7FC3B173C}"/>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5" name="Freeform: Shape 44">
                <a:extLst>
                  <a:ext uri="{FF2B5EF4-FFF2-40B4-BE49-F238E27FC236}">
                    <a16:creationId xmlns:a16="http://schemas.microsoft.com/office/drawing/2014/main" id="{6FED47B5-7813-41FF-82AD-062C1EBA79EB}"/>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6" name="Freeform: Shape 45">
                <a:extLst>
                  <a:ext uri="{FF2B5EF4-FFF2-40B4-BE49-F238E27FC236}">
                    <a16:creationId xmlns:a16="http://schemas.microsoft.com/office/drawing/2014/main" id="{3412D8B3-B39C-4308-9921-278312CC9BDA}"/>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47" name="Freeform: Shape 46">
                <a:extLst>
                  <a:ext uri="{FF2B5EF4-FFF2-40B4-BE49-F238E27FC236}">
                    <a16:creationId xmlns:a16="http://schemas.microsoft.com/office/drawing/2014/main" id="{279E12B4-9493-4742-A8EB-9E495955EF01}"/>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34" name="Copyright">
              <a:extLst>
                <a:ext uri="{FF2B5EF4-FFF2-40B4-BE49-F238E27FC236}">
                  <a16:creationId xmlns:a16="http://schemas.microsoft.com/office/drawing/2014/main" id="{063EE5AF-0F23-4E4D-946B-2EF723C73A98}"/>
                </a:ext>
              </a:extLst>
            </p:cNvPr>
            <p:cNvSpPr txBox="1"/>
            <p:nvPr userDrawn="1"/>
          </p:nvSpPr>
          <p:spPr>
            <a:xfrm rot="16200000">
              <a:off x="11250972" y="5263962"/>
              <a:ext cx="1567736"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bg2"/>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Tree>
    <p:extLst>
      <p:ext uri="{BB962C8B-B14F-4D97-AF65-F5344CB8AC3E}">
        <p14:creationId xmlns:p14="http://schemas.microsoft.com/office/powerpoint/2010/main" val="2924672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2A5D0A-48AF-9842-B1AC-D745108EB272}"/>
              </a:ext>
            </a:extLst>
          </p:cNvPr>
          <p:cNvGraphicFramePr>
            <a:graphicFrameLocks noChangeAspect="1"/>
          </p:cNvGraphicFramePr>
          <p:nvPr userDrawn="1">
            <p:custDataLst>
              <p:tags r:id="rId1"/>
            </p:custDataLst>
            <p:extLst>
              <p:ext uri="{D42A27DB-BD31-4B8C-83A1-F6EECF244321}">
                <p14:modId xmlns:p14="http://schemas.microsoft.com/office/powerpoint/2010/main" val="36702073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212A5D0A-48AF-9842-B1AC-D745108EB272}"/>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470352E-C508-1946-A92F-A16134DF1D26}"/>
              </a:ext>
            </a:extLst>
          </p:cNvPr>
          <p:cNvSpPr/>
          <p:nvPr userDrawn="1"/>
        </p:nvSpPr>
        <p:spPr>
          <a:xfrm>
            <a:off x="0" y="0"/>
            <a:ext cx="12192000" cy="6858000"/>
          </a:xfrm>
          <a:prstGeom prst="rect">
            <a:avLst/>
          </a:prstGeom>
          <a:gradFill flip="none" rotWithShape="1">
            <a:gsLst>
              <a:gs pos="16000">
                <a:schemeClr val="tx2">
                  <a:lumMod val="50000"/>
                </a:schemeClr>
              </a:gs>
              <a:gs pos="45000">
                <a:schemeClr val="tx2">
                  <a:lumMod val="75000"/>
                  <a:alpha val="90000"/>
                </a:schemeClr>
              </a:gs>
              <a:gs pos="79000">
                <a:srgbClr val="036DFF">
                  <a:alpha val="80000"/>
                </a:srgbClr>
              </a:gs>
              <a:gs pos="100000">
                <a:schemeClr val="accent3">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latin typeface="Calibri" panose="020F0502020204030204" pitchFamily="34" charset="0"/>
              <a:cs typeface="Calibri" panose="020F0502020204030204" pitchFamily="34" charset="0"/>
              <a:sym typeface="Calibri" panose="020F0502020204030204" pitchFamily="34" charset="0"/>
            </a:endParaRPr>
          </a:p>
        </p:txBody>
      </p:sp>
      <p:pic>
        <p:nvPicPr>
          <p:cNvPr id="2" name="Graphic 1">
            <a:extLst>
              <a:ext uri="{FF2B5EF4-FFF2-40B4-BE49-F238E27FC236}">
                <a16:creationId xmlns:a16="http://schemas.microsoft.com/office/drawing/2014/main" id="{63E76732-5A5F-B03D-320E-52CD6F1CBCF5}"/>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43457" y="2592164"/>
            <a:ext cx="4386551" cy="1640232"/>
          </a:xfrm>
          <a:prstGeom prst="rect">
            <a:avLst/>
          </a:prstGeom>
        </p:spPr>
      </p:pic>
      <p:sp>
        <p:nvSpPr>
          <p:cNvPr id="6" name="TextBox 5">
            <a:extLst>
              <a:ext uri="{FF2B5EF4-FFF2-40B4-BE49-F238E27FC236}">
                <a16:creationId xmlns:a16="http://schemas.microsoft.com/office/drawing/2014/main" id="{8106A152-DC8B-0C47-8CFD-D99759D28F81}"/>
              </a:ext>
            </a:extLst>
          </p:cNvPr>
          <p:cNvSpPr txBox="1"/>
          <p:nvPr userDrawn="1"/>
        </p:nvSpPr>
        <p:spPr>
          <a:xfrm>
            <a:off x="550863" y="5965461"/>
            <a:ext cx="3039294" cy="369332"/>
          </a:xfrm>
          <a:prstGeom prst="rect">
            <a:avLst/>
          </a:prstGeom>
          <a:noFill/>
        </p:spPr>
        <p:txBody>
          <a:bodyPr wrap="none" lIns="0" tIns="0" rIns="0" bIns="0" rtlCol="0">
            <a:spAutoFit/>
          </a:bodyPr>
          <a:lstStyle/>
          <a:p>
            <a:pPr algn="l"/>
            <a:r>
              <a:rPr lang="en-GB" sz="1200" b="1" i="0" u="none" dirty="0">
                <a:solidFill>
                  <a:schemeClr val="accent3">
                    <a:lumMod val="60000"/>
                    <a:lumOff val="40000"/>
                  </a:schemeClr>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www.infomineo.com</a:t>
            </a:r>
          </a:p>
          <a:p>
            <a:pPr algn="l"/>
            <a:r>
              <a:rPr lang="en-GB" sz="1200" b="0" i="0" dirty="0">
                <a:solidFill>
                  <a:schemeClr val="bg1"/>
                </a:solidFill>
                <a:latin typeface="Calibri" panose="020F0502020204030204" pitchFamily="34" charset="0"/>
                <a:ea typeface="Roboto Light" panose="02000000000000000000" pitchFamily="2" charset="0"/>
                <a:cs typeface="Calibri" panose="020F0502020204030204" pitchFamily="34" charset="0"/>
                <a:sym typeface="Calibri" panose="020F0502020204030204" pitchFamily="34" charset="0"/>
              </a:rPr>
              <a:t>Infomineo Copyright © 2023. All rights reserved.</a:t>
            </a:r>
          </a:p>
        </p:txBody>
      </p:sp>
      <p:pic>
        <p:nvPicPr>
          <p:cNvPr id="30" name="Picture 29">
            <a:hlinkClick r:id="rId7"/>
            <a:extLst>
              <a:ext uri="{FF2B5EF4-FFF2-40B4-BE49-F238E27FC236}">
                <a16:creationId xmlns:a16="http://schemas.microsoft.com/office/drawing/2014/main" id="{3ED467EF-C028-4376-B7C8-A8830D77CF7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323329" y="5965461"/>
            <a:ext cx="370332" cy="370332"/>
          </a:xfrm>
          <a:prstGeom prst="rect">
            <a:avLst/>
          </a:prstGeom>
        </p:spPr>
      </p:pic>
      <p:pic>
        <p:nvPicPr>
          <p:cNvPr id="32" name="Picture 31">
            <a:hlinkClick r:id="rId9"/>
            <a:extLst>
              <a:ext uri="{FF2B5EF4-FFF2-40B4-BE49-F238E27FC236}">
                <a16:creationId xmlns:a16="http://schemas.microsoft.com/office/drawing/2014/main" id="{3BF2889F-2FC0-49EE-9DAD-8868FC3BE522}"/>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825965" y="5965461"/>
            <a:ext cx="368808" cy="370332"/>
          </a:xfrm>
          <a:prstGeom prst="rect">
            <a:avLst/>
          </a:prstGeom>
        </p:spPr>
      </p:pic>
      <p:pic>
        <p:nvPicPr>
          <p:cNvPr id="34" name="Picture 33">
            <a:hlinkClick r:id="rId11"/>
            <a:extLst>
              <a:ext uri="{FF2B5EF4-FFF2-40B4-BE49-F238E27FC236}">
                <a16:creationId xmlns:a16="http://schemas.microsoft.com/office/drawing/2014/main" id="{96507CF0-D683-43B8-9352-634205E2EC2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328600" y="5965461"/>
            <a:ext cx="368808" cy="370332"/>
          </a:xfrm>
          <a:prstGeom prst="rect">
            <a:avLst/>
          </a:prstGeom>
        </p:spPr>
      </p:pic>
    </p:spTree>
    <p:extLst>
      <p:ext uri="{BB962C8B-B14F-4D97-AF65-F5344CB8AC3E}">
        <p14:creationId xmlns:p14="http://schemas.microsoft.com/office/powerpoint/2010/main" val="27028138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uides">
    <p:spTree>
      <p:nvGrpSpPr>
        <p:cNvPr id="1" name=""/>
        <p:cNvGrpSpPr/>
        <p:nvPr/>
      </p:nvGrpSpPr>
      <p:grpSpPr>
        <a:xfrm>
          <a:off x="0" y="0"/>
          <a:ext cx="0" cy="0"/>
          <a:chOff x="0" y="0"/>
          <a:chExt cx="0" cy="0"/>
        </a:xfrm>
      </p:grpSpPr>
      <p:graphicFrame>
        <p:nvGraphicFramePr>
          <p:cNvPr id="49" name="Object 48" hidden="1">
            <a:extLst>
              <a:ext uri="{FF2B5EF4-FFF2-40B4-BE49-F238E27FC236}">
                <a16:creationId xmlns:a16="http://schemas.microsoft.com/office/drawing/2014/main" id="{C7E8C095-69F2-4BC8-964E-A1BFE9309E4B}"/>
              </a:ext>
            </a:extLst>
          </p:cNvPr>
          <p:cNvGraphicFramePr>
            <a:graphicFrameLocks noChangeAspect="1"/>
          </p:cNvGraphicFramePr>
          <p:nvPr userDrawn="1">
            <p:custDataLst>
              <p:tags r:id="rId1"/>
            </p:custDataLst>
            <p:extLst>
              <p:ext uri="{D42A27DB-BD31-4B8C-83A1-F6EECF244321}">
                <p14:modId xmlns:p14="http://schemas.microsoft.com/office/powerpoint/2010/main" val="3613833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9" name="Object 48" hidden="1">
                        <a:extLst>
                          <a:ext uri="{FF2B5EF4-FFF2-40B4-BE49-F238E27FC236}">
                            <a16:creationId xmlns:a16="http://schemas.microsoft.com/office/drawing/2014/main" id="{C7E8C095-69F2-4BC8-964E-A1BFE9309E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B5F11C0-1445-4182-AF87-C63E0DB6CE2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7" name="Freeform: Shape 95">
            <a:extLst>
              <a:ext uri="{FF2B5EF4-FFF2-40B4-BE49-F238E27FC236}">
                <a16:creationId xmlns:a16="http://schemas.microsoft.com/office/drawing/2014/main" id="{E5A08834-247C-4C9E-93E7-8514C051C060}"/>
              </a:ext>
            </a:extLst>
          </p:cNvPr>
          <p:cNvSpPr/>
          <p:nvPr userDrawn="1"/>
        </p:nvSpPr>
        <p:spPr>
          <a:xfrm>
            <a:off x="0" y="0"/>
            <a:ext cx="12193200" cy="6858000"/>
          </a:xfrm>
          <a:custGeom>
            <a:avLst/>
            <a:gdLst>
              <a:gd name="connsiteX0" fmla="*/ 566584 w 12193200"/>
              <a:gd name="connsiteY0" fmla="*/ 549276 h 6858000"/>
              <a:gd name="connsiteX1" fmla="*/ 566584 w 12193200"/>
              <a:gd name="connsiteY1" fmla="*/ 6308726 h 6858000"/>
              <a:gd name="connsiteX2" fmla="*/ 11641138 w 12193200"/>
              <a:gd name="connsiteY2" fmla="*/ 6308726 h 6858000"/>
              <a:gd name="connsiteX3" fmla="*/ 11641138 w 12193200"/>
              <a:gd name="connsiteY3" fmla="*/ 549276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5000"/>
            </a:srgbClr>
          </a:solidFill>
          <a:ln w="9525">
            <a:noFill/>
            <a:miter lim="800000"/>
            <a:headEnd/>
            <a:tailEnd/>
          </a:ln>
        </p:spPr>
        <p:txBody>
          <a:bodyPr vert="horz" wrap="square" lIns="91438" tIns="45719" rIns="91438" bIns="45719" numCol="1" anchor="t" anchorCtr="0" compatLnSpc="1">
            <a:prstTxWarp prst="textNoShape">
              <a:avLst/>
            </a:prstTxWarp>
            <a:noAutofit/>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50" name="Group 49">
            <a:extLst>
              <a:ext uri="{FF2B5EF4-FFF2-40B4-BE49-F238E27FC236}">
                <a16:creationId xmlns:a16="http://schemas.microsoft.com/office/drawing/2014/main" id="{D59B0D14-7DD8-45E2-B968-99300FF0D28D}"/>
              </a:ext>
            </a:extLst>
          </p:cNvPr>
          <p:cNvGrpSpPr/>
          <p:nvPr userDrawn="1"/>
        </p:nvGrpSpPr>
        <p:grpSpPr>
          <a:xfrm>
            <a:off x="-600" y="549275"/>
            <a:ext cx="12193200" cy="5759450"/>
            <a:chOff x="-600" y="549275"/>
            <a:chExt cx="12193200" cy="5759450"/>
          </a:xfrm>
        </p:grpSpPr>
        <p:cxnSp>
          <p:nvCxnSpPr>
            <p:cNvPr id="24" name="Straight Connector 23">
              <a:extLst>
                <a:ext uri="{FF2B5EF4-FFF2-40B4-BE49-F238E27FC236}">
                  <a16:creationId xmlns:a16="http://schemas.microsoft.com/office/drawing/2014/main" id="{EFD9771C-C32F-443B-97DA-AB808B787FCB}"/>
                </a:ext>
              </a:extLst>
            </p:cNvPr>
            <p:cNvCxnSpPr/>
            <p:nvPr/>
          </p:nvCxnSpPr>
          <p:spPr>
            <a:xfrm>
              <a:off x="-600" y="54927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ACFDCFA-8871-4375-9DD7-4FC5886280A9}"/>
                </a:ext>
              </a:extLst>
            </p:cNvPr>
            <p:cNvCxnSpPr/>
            <p:nvPr/>
          </p:nvCxnSpPr>
          <p:spPr>
            <a:xfrm>
              <a:off x="-600" y="107286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BCC4B7F-FEF1-4EA1-831D-C9AA6F5F064E}"/>
                </a:ext>
              </a:extLst>
            </p:cNvPr>
            <p:cNvCxnSpPr/>
            <p:nvPr/>
          </p:nvCxnSpPr>
          <p:spPr>
            <a:xfrm>
              <a:off x="-600" y="133465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1DCA16-8F73-4630-BDD0-2A70C4A58AB4}"/>
                </a:ext>
              </a:extLst>
            </p:cNvPr>
            <p:cNvCxnSpPr/>
            <p:nvPr/>
          </p:nvCxnSpPr>
          <p:spPr>
            <a:xfrm>
              <a:off x="-600" y="159644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C31EB1-B3A4-46CF-BFA4-063B67EE1C0D}"/>
                </a:ext>
              </a:extLst>
            </p:cNvPr>
            <p:cNvCxnSpPr/>
            <p:nvPr/>
          </p:nvCxnSpPr>
          <p:spPr>
            <a:xfrm>
              <a:off x="-600" y="185824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93E6A85-DDE0-4463-B476-9FA784357023}"/>
                </a:ext>
              </a:extLst>
            </p:cNvPr>
            <p:cNvCxnSpPr/>
            <p:nvPr/>
          </p:nvCxnSpPr>
          <p:spPr>
            <a:xfrm>
              <a:off x="-600" y="212003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A4D7F3C-5BD5-4AC2-88A1-966E801F5AED}"/>
                </a:ext>
              </a:extLst>
            </p:cNvPr>
            <p:cNvCxnSpPr/>
            <p:nvPr/>
          </p:nvCxnSpPr>
          <p:spPr>
            <a:xfrm>
              <a:off x="-600" y="238182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2775BB7-F520-4F81-AF6D-F59D1B76F55E}"/>
                </a:ext>
              </a:extLst>
            </p:cNvPr>
            <p:cNvCxnSpPr/>
            <p:nvPr/>
          </p:nvCxnSpPr>
          <p:spPr>
            <a:xfrm>
              <a:off x="-600" y="264361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CB72474-2AC2-420E-BDB5-E5A722B50684}"/>
                </a:ext>
              </a:extLst>
            </p:cNvPr>
            <p:cNvCxnSpPr/>
            <p:nvPr/>
          </p:nvCxnSpPr>
          <p:spPr>
            <a:xfrm>
              <a:off x="-600" y="290541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7F88338-30AC-49A0-A5C4-EC7BD34E1FA6}"/>
                </a:ext>
              </a:extLst>
            </p:cNvPr>
            <p:cNvCxnSpPr/>
            <p:nvPr/>
          </p:nvCxnSpPr>
          <p:spPr>
            <a:xfrm>
              <a:off x="-600" y="316720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A4A82DD-B8CC-462B-93E9-CBC87352521F}"/>
                </a:ext>
              </a:extLst>
            </p:cNvPr>
            <p:cNvCxnSpPr/>
            <p:nvPr/>
          </p:nvCxnSpPr>
          <p:spPr>
            <a:xfrm>
              <a:off x="-600" y="342899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86DFAD-90A1-4761-A1F6-2CECC9F3CEB8}"/>
                </a:ext>
              </a:extLst>
            </p:cNvPr>
            <p:cNvCxnSpPr/>
            <p:nvPr/>
          </p:nvCxnSpPr>
          <p:spPr>
            <a:xfrm>
              <a:off x="-600" y="3690791"/>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A73AC16-3E18-48F7-97ED-8B5A48560A3B}"/>
                </a:ext>
              </a:extLst>
            </p:cNvPr>
            <p:cNvCxnSpPr/>
            <p:nvPr/>
          </p:nvCxnSpPr>
          <p:spPr>
            <a:xfrm>
              <a:off x="-600" y="3952584"/>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2B4CC9-D426-40F8-825B-C7E1196189B4}"/>
                </a:ext>
              </a:extLst>
            </p:cNvPr>
            <p:cNvCxnSpPr/>
            <p:nvPr/>
          </p:nvCxnSpPr>
          <p:spPr>
            <a:xfrm>
              <a:off x="-600" y="4214377"/>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DD5A36E-8435-4B1C-8462-1C956794FC17}"/>
                </a:ext>
              </a:extLst>
            </p:cNvPr>
            <p:cNvCxnSpPr/>
            <p:nvPr/>
          </p:nvCxnSpPr>
          <p:spPr>
            <a:xfrm>
              <a:off x="-600" y="4476170"/>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D85A532-653B-4FD3-A2B9-908071F117D2}"/>
                </a:ext>
              </a:extLst>
            </p:cNvPr>
            <p:cNvCxnSpPr/>
            <p:nvPr/>
          </p:nvCxnSpPr>
          <p:spPr>
            <a:xfrm>
              <a:off x="-600" y="4737963"/>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E1136A-6637-439F-89A7-D7F878D15199}"/>
                </a:ext>
              </a:extLst>
            </p:cNvPr>
            <p:cNvCxnSpPr/>
            <p:nvPr/>
          </p:nvCxnSpPr>
          <p:spPr>
            <a:xfrm>
              <a:off x="-600" y="4999756"/>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A0A4627-9F33-480E-B584-D2625F29AB95}"/>
                </a:ext>
              </a:extLst>
            </p:cNvPr>
            <p:cNvCxnSpPr/>
            <p:nvPr/>
          </p:nvCxnSpPr>
          <p:spPr>
            <a:xfrm>
              <a:off x="-600" y="5261549"/>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9037A92-0EC2-4FBA-A847-8D0F6C45AD99}"/>
                </a:ext>
              </a:extLst>
            </p:cNvPr>
            <p:cNvCxnSpPr/>
            <p:nvPr/>
          </p:nvCxnSpPr>
          <p:spPr>
            <a:xfrm>
              <a:off x="-600" y="5523342"/>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B45D501-68B8-4FBE-8794-3CDE530B5439}"/>
                </a:ext>
              </a:extLst>
            </p:cNvPr>
            <p:cNvCxnSpPr/>
            <p:nvPr userDrawn="1"/>
          </p:nvCxnSpPr>
          <p:spPr>
            <a:xfrm>
              <a:off x="-600" y="578513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C63DF98-DC31-4B0A-9A94-9B9C493BD0DD}"/>
                </a:ext>
              </a:extLst>
            </p:cNvPr>
            <p:cNvCxnSpPr/>
            <p:nvPr userDrawn="1"/>
          </p:nvCxnSpPr>
          <p:spPr>
            <a:xfrm>
              <a:off x="-600" y="81106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97F595-E8CD-4823-A296-F9B434149D35}"/>
                </a:ext>
              </a:extLst>
            </p:cNvPr>
            <p:cNvCxnSpPr/>
            <p:nvPr userDrawn="1"/>
          </p:nvCxnSpPr>
          <p:spPr>
            <a:xfrm>
              <a:off x="-600" y="6308725"/>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767E29-78AA-446B-8F14-50FFE81A75D5}"/>
                </a:ext>
              </a:extLst>
            </p:cNvPr>
            <p:cNvCxnSpPr/>
            <p:nvPr userDrawn="1"/>
          </p:nvCxnSpPr>
          <p:spPr>
            <a:xfrm>
              <a:off x="-600" y="6046928"/>
              <a:ext cx="12193200" cy="0"/>
            </a:xfrm>
            <a:prstGeom prst="line">
              <a:avLst/>
            </a:prstGeom>
            <a:ln w="9525">
              <a:solidFill>
                <a:schemeClr val="tx2">
                  <a:alpha val="20000"/>
                </a:schemeClr>
              </a:solidFill>
              <a:miter lim="800000"/>
            </a:ln>
          </p:spPr>
          <p:style>
            <a:lnRef idx="1">
              <a:schemeClr val="accent1"/>
            </a:lnRef>
            <a:fillRef idx="0">
              <a:schemeClr val="accent1"/>
            </a:fillRef>
            <a:effectRef idx="0">
              <a:schemeClr val="accent1"/>
            </a:effectRef>
            <a:fontRef idx="minor">
              <a:schemeClr val="tx1"/>
            </a:fontRef>
          </p:style>
        </p:cxnSp>
      </p:grpSp>
      <p:sp>
        <p:nvSpPr>
          <p:cNvPr id="9" name="Footnote measure">
            <a:extLst>
              <a:ext uri="{FF2B5EF4-FFF2-40B4-BE49-F238E27FC236}">
                <a16:creationId xmlns:a16="http://schemas.microsoft.com/office/drawing/2014/main" id="{FCB67C59-94A5-43D0-98F3-D2DF706BE603}"/>
              </a:ext>
            </a:extLst>
          </p:cNvPr>
          <p:cNvSpPr>
            <a:spLocks noChangeArrowheads="1"/>
          </p:cNvSpPr>
          <p:nvPr userDrawn="1"/>
        </p:nvSpPr>
        <p:spPr bwMode="auto">
          <a:xfrm>
            <a:off x="550264" y="6308722"/>
            <a:ext cx="11090873" cy="261799"/>
          </a:xfrm>
          <a:prstGeom prst="rect">
            <a:avLst/>
          </a:prstGeom>
          <a:solidFill>
            <a:srgbClr val="FF0000">
              <a:alpha val="10000"/>
            </a:srgbClr>
          </a:solidFill>
          <a:ln w="9525">
            <a:noFill/>
            <a:miter lim="800000"/>
            <a:headEnd/>
            <a:tailEnd/>
          </a:ln>
        </p:spPr>
        <p:txBody>
          <a:bodyPr vert="horz" wrap="square" lIns="91438" tIns="45719" rIns="91438" bIns="45719" numCol="1" anchor="t" anchorCtr="0" compatLnSpc="1">
            <a:prstTxWarp prst="textNoShape">
              <a:avLst/>
            </a:prstTxWarp>
            <a:noAutofit/>
          </a:bodyPr>
          <a:lstStyle/>
          <a:p>
            <a:pPr lvl="0"/>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0" name="Whitespace measure">
            <a:extLst>
              <a:ext uri="{FF2B5EF4-FFF2-40B4-BE49-F238E27FC236}">
                <a16:creationId xmlns:a16="http://schemas.microsoft.com/office/drawing/2014/main" id="{B9FA0CC8-4D85-4377-9762-D979C28385FB}"/>
              </a:ext>
            </a:extLst>
          </p:cNvPr>
          <p:cNvSpPr>
            <a:spLocks noChangeArrowheads="1"/>
          </p:cNvSpPr>
          <p:nvPr userDrawn="1"/>
        </p:nvSpPr>
        <p:spPr bwMode="auto">
          <a:xfrm>
            <a:off x="550864" y="1348222"/>
            <a:ext cx="11105556" cy="509202"/>
          </a:xfrm>
          <a:prstGeom prst="rect">
            <a:avLst/>
          </a:prstGeom>
          <a:solidFill>
            <a:srgbClr val="FF0000">
              <a:alpha val="5000"/>
            </a:srgbClr>
          </a:solidFill>
          <a:ln w="9525">
            <a:noFill/>
            <a:miter lim="800000"/>
            <a:headEnd/>
            <a:tailEnd/>
          </a:ln>
        </p:spPr>
        <p:txBody>
          <a:bodyPr vert="horz" wrap="square" lIns="91438" tIns="45719" rIns="91438" bIns="45719" numCol="1" anchor="t" anchorCtr="0" compatLnSpc="1">
            <a:prstTxWarp prst="textNoShape">
              <a:avLst/>
            </a:prstTxWarp>
            <a:noAutofit/>
          </a:bodyPr>
          <a:lstStyle/>
          <a:p>
            <a:pPr lvl="0"/>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1" name="Live area">
            <a:extLst>
              <a:ext uri="{FF2B5EF4-FFF2-40B4-BE49-F238E27FC236}">
                <a16:creationId xmlns:a16="http://schemas.microsoft.com/office/drawing/2014/main" id="{AA787823-C275-4031-9AC7-3513520EE759}"/>
              </a:ext>
            </a:extLst>
          </p:cNvPr>
          <p:cNvSpPr/>
          <p:nvPr userDrawn="1"/>
        </p:nvSpPr>
        <p:spPr>
          <a:xfrm>
            <a:off x="550864" y="2120034"/>
            <a:ext cx="11090275" cy="418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chemeClr val="tx2">
                <a:alpha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grpSp>
        <p:nvGrpSpPr>
          <p:cNvPr id="12" name="Group 11">
            <a:extLst>
              <a:ext uri="{FF2B5EF4-FFF2-40B4-BE49-F238E27FC236}">
                <a16:creationId xmlns:a16="http://schemas.microsoft.com/office/drawing/2014/main" id="{EF1AA03C-D537-4B50-8AA2-DE2B0859A9E0}"/>
              </a:ext>
            </a:extLst>
          </p:cNvPr>
          <p:cNvGrpSpPr/>
          <p:nvPr userDrawn="1"/>
        </p:nvGrpSpPr>
        <p:grpSpPr>
          <a:xfrm>
            <a:off x="1215339" y="1857423"/>
            <a:ext cx="9763000" cy="4458091"/>
            <a:chOff x="1215339" y="549274"/>
            <a:chExt cx="9763000" cy="5759450"/>
          </a:xfrm>
          <a:solidFill>
            <a:schemeClr val="tx2">
              <a:lumMod val="40000"/>
              <a:lumOff val="60000"/>
              <a:alpha val="10000"/>
            </a:schemeClr>
          </a:solidFill>
        </p:grpSpPr>
        <p:sp>
          <p:nvSpPr>
            <p:cNvPr id="13" name="Rectangle 34">
              <a:extLst>
                <a:ext uri="{FF2B5EF4-FFF2-40B4-BE49-F238E27FC236}">
                  <a16:creationId xmlns:a16="http://schemas.microsoft.com/office/drawing/2014/main" id="{CEBF00D2-4B24-426D-BD4A-087B43FE3715}"/>
                </a:ext>
              </a:extLst>
            </p:cNvPr>
            <p:cNvSpPr>
              <a:spLocks noChangeArrowheads="1"/>
            </p:cNvSpPr>
            <p:nvPr/>
          </p:nvSpPr>
          <p:spPr bwMode="auto">
            <a:xfrm>
              <a:off x="690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4" name="Rectangle 35">
              <a:extLst>
                <a:ext uri="{FF2B5EF4-FFF2-40B4-BE49-F238E27FC236}">
                  <a16:creationId xmlns:a16="http://schemas.microsoft.com/office/drawing/2014/main" id="{6BD82B4A-4BB0-4614-B13C-4CFCC7A227D9}"/>
                </a:ext>
              </a:extLst>
            </p:cNvPr>
            <p:cNvSpPr>
              <a:spLocks noChangeArrowheads="1"/>
            </p:cNvSpPr>
            <p:nvPr/>
          </p:nvSpPr>
          <p:spPr bwMode="auto">
            <a:xfrm>
              <a:off x="879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5" name="Rectangle 36">
              <a:extLst>
                <a:ext uri="{FF2B5EF4-FFF2-40B4-BE49-F238E27FC236}">
                  <a16:creationId xmlns:a16="http://schemas.microsoft.com/office/drawing/2014/main" id="{BF9ACD5F-BA8A-4218-BB75-6E90A13EF900}"/>
                </a:ext>
              </a:extLst>
            </p:cNvPr>
            <p:cNvSpPr>
              <a:spLocks noChangeArrowheads="1"/>
            </p:cNvSpPr>
            <p:nvPr/>
          </p:nvSpPr>
          <p:spPr bwMode="auto">
            <a:xfrm>
              <a:off x="784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6" name="Rectangle 37">
              <a:extLst>
                <a:ext uri="{FF2B5EF4-FFF2-40B4-BE49-F238E27FC236}">
                  <a16:creationId xmlns:a16="http://schemas.microsoft.com/office/drawing/2014/main" id="{379A22D2-DA96-41ED-9D9E-1155426DFFBD}"/>
                </a:ext>
              </a:extLst>
            </p:cNvPr>
            <p:cNvSpPr>
              <a:spLocks noChangeArrowheads="1"/>
            </p:cNvSpPr>
            <p:nvPr/>
          </p:nvSpPr>
          <p:spPr bwMode="auto">
            <a:xfrm>
              <a:off x="974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7" name="Rectangle 38">
              <a:extLst>
                <a:ext uri="{FF2B5EF4-FFF2-40B4-BE49-F238E27FC236}">
                  <a16:creationId xmlns:a16="http://schemas.microsoft.com/office/drawing/2014/main" id="{7EF7963D-A1E1-415D-8969-F027A75D12FE}"/>
                </a:ext>
              </a:extLst>
            </p:cNvPr>
            <p:cNvSpPr>
              <a:spLocks noChangeArrowheads="1"/>
            </p:cNvSpPr>
            <p:nvPr/>
          </p:nvSpPr>
          <p:spPr bwMode="auto">
            <a:xfrm>
              <a:off x="1069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8" name="Rectangle 39">
              <a:extLst>
                <a:ext uri="{FF2B5EF4-FFF2-40B4-BE49-F238E27FC236}">
                  <a16:creationId xmlns:a16="http://schemas.microsoft.com/office/drawing/2014/main" id="{BBE34D05-AF10-4FE9-A201-F9E2A8027014}"/>
                </a:ext>
              </a:extLst>
            </p:cNvPr>
            <p:cNvSpPr>
              <a:spLocks noChangeArrowheads="1"/>
            </p:cNvSpPr>
            <p:nvPr/>
          </p:nvSpPr>
          <p:spPr bwMode="auto">
            <a:xfrm>
              <a:off x="5952839" y="549274"/>
              <a:ext cx="288000" cy="5759450"/>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19" name="Rectangle 40">
              <a:extLst>
                <a:ext uri="{FF2B5EF4-FFF2-40B4-BE49-F238E27FC236}">
                  <a16:creationId xmlns:a16="http://schemas.microsoft.com/office/drawing/2014/main" id="{349BF860-A8A0-4AB9-B299-1AF8241953E9}"/>
                </a:ext>
              </a:extLst>
            </p:cNvPr>
            <p:cNvSpPr>
              <a:spLocks noChangeArrowheads="1"/>
            </p:cNvSpPr>
            <p:nvPr/>
          </p:nvSpPr>
          <p:spPr bwMode="auto">
            <a:xfrm>
              <a:off x="121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41">
              <a:extLst>
                <a:ext uri="{FF2B5EF4-FFF2-40B4-BE49-F238E27FC236}">
                  <a16:creationId xmlns:a16="http://schemas.microsoft.com/office/drawing/2014/main" id="{3E2A80A6-61F6-4E58-B43B-059CCD29CD23}"/>
                </a:ext>
              </a:extLst>
            </p:cNvPr>
            <p:cNvSpPr>
              <a:spLocks noChangeArrowheads="1"/>
            </p:cNvSpPr>
            <p:nvPr/>
          </p:nvSpPr>
          <p:spPr bwMode="auto">
            <a:xfrm>
              <a:off x="2162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1" name="Rectangle 42">
              <a:extLst>
                <a:ext uri="{FF2B5EF4-FFF2-40B4-BE49-F238E27FC236}">
                  <a16:creationId xmlns:a16="http://schemas.microsoft.com/office/drawing/2014/main" id="{0F927BDE-7613-4A1B-9405-C18A0AA0230E}"/>
                </a:ext>
              </a:extLst>
            </p:cNvPr>
            <p:cNvSpPr>
              <a:spLocks noChangeArrowheads="1"/>
            </p:cNvSpPr>
            <p:nvPr/>
          </p:nvSpPr>
          <p:spPr bwMode="auto">
            <a:xfrm>
              <a:off x="3110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2" name="Rectangle 43">
              <a:extLst>
                <a:ext uri="{FF2B5EF4-FFF2-40B4-BE49-F238E27FC236}">
                  <a16:creationId xmlns:a16="http://schemas.microsoft.com/office/drawing/2014/main" id="{9D0BF9DE-3D09-432F-B97F-D68AFE1C7D42}"/>
                </a:ext>
              </a:extLst>
            </p:cNvPr>
            <p:cNvSpPr>
              <a:spLocks noChangeArrowheads="1"/>
            </p:cNvSpPr>
            <p:nvPr/>
          </p:nvSpPr>
          <p:spPr bwMode="auto">
            <a:xfrm>
              <a:off x="40578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sp>
          <p:nvSpPr>
            <p:cNvPr id="23" name="Rectangle 44">
              <a:extLst>
                <a:ext uri="{FF2B5EF4-FFF2-40B4-BE49-F238E27FC236}">
                  <a16:creationId xmlns:a16="http://schemas.microsoft.com/office/drawing/2014/main" id="{7807AD9B-3A59-4121-9F68-FB858FD6D2BC}"/>
                </a:ext>
              </a:extLst>
            </p:cNvPr>
            <p:cNvSpPr>
              <a:spLocks noChangeArrowheads="1"/>
            </p:cNvSpPr>
            <p:nvPr/>
          </p:nvSpPr>
          <p:spPr bwMode="auto">
            <a:xfrm>
              <a:off x="5005339" y="549274"/>
              <a:ext cx="288000" cy="5759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Calibri" panose="020F0502020204030204" pitchFamily="34" charset="0"/>
                <a:cs typeface="Calibri" panose="020F0502020204030204" pitchFamily="34" charset="0"/>
                <a:sym typeface="Calibri" panose="020F0502020204030204" pitchFamily="34" charset="0"/>
              </a:endParaRPr>
            </a:p>
          </p:txBody>
        </p:sp>
      </p:grpSp>
      <p:sp>
        <p:nvSpPr>
          <p:cNvPr id="47" name="Footnote example">
            <a:extLst>
              <a:ext uri="{FF2B5EF4-FFF2-40B4-BE49-F238E27FC236}">
                <a16:creationId xmlns:a16="http://schemas.microsoft.com/office/drawing/2014/main" id="{DBF27226-1CAE-4EC3-B7C2-CD7BFF212B2F}"/>
              </a:ext>
            </a:extLst>
          </p:cNvPr>
          <p:cNvSpPr txBox="1"/>
          <p:nvPr userDrawn="1"/>
        </p:nvSpPr>
        <p:spPr>
          <a:xfrm>
            <a:off x="550863" y="6310249"/>
            <a:ext cx="9030915" cy="276999"/>
          </a:xfrm>
          <a:prstGeom prst="rect">
            <a:avLst/>
          </a:prstGeom>
          <a:noFill/>
        </p:spPr>
        <p:txBody>
          <a:bodyPr wrap="square" lIns="0" tIns="0" rIns="0" bIns="0" rtlCol="0" anchor="b">
            <a:spAutoFit/>
          </a:bodyPr>
          <a:lstStyle/>
          <a:p>
            <a:pPr marL="0" marR="0" lvl="0" indent="0" algn="l" defTabSz="91440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Footnotes/Notes</a:t>
            </a:r>
          </a:p>
          <a:p>
            <a:pPr marL="0" marR="0" lvl="0" indent="0" algn="l" defTabSz="914406"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rPr>
              <a:t>Source: Include a source here</a:t>
            </a:r>
          </a:p>
        </p:txBody>
      </p:sp>
      <p:sp>
        <p:nvSpPr>
          <p:cNvPr id="5" name="Slide Number Placeholder 4">
            <a:extLst>
              <a:ext uri="{FF2B5EF4-FFF2-40B4-BE49-F238E27FC236}">
                <a16:creationId xmlns:a16="http://schemas.microsoft.com/office/drawing/2014/main" id="{75491C5D-1CCA-4AD2-960D-E2D2520D37E4}"/>
              </a:ext>
            </a:extLst>
          </p:cNvPr>
          <p:cNvSpPr>
            <a:spLocks noGrp="1"/>
          </p:cNvSpPr>
          <p:nvPr userDrawn="1">
            <p:ph type="sldNum" sz="quarter" idx="12"/>
          </p:nvPr>
        </p:nvSpPr>
        <p:spPr>
          <a:xfrm>
            <a:off x="11490154" y="6450226"/>
            <a:ext cx="150682" cy="1538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2547BBBC-05CB-49BC-A9CC-2D869F0C1D2C}" type="slidenum">
              <a:rPr lang="en-IN" smtClean="0"/>
              <a:pPr/>
              <a:t>‹#›</a:t>
            </a:fld>
            <a:endParaRPr lang="en-IN"/>
          </a:p>
        </p:txBody>
      </p:sp>
      <p:grpSp>
        <p:nvGrpSpPr>
          <p:cNvPr id="2" name="Group 1">
            <a:extLst>
              <a:ext uri="{FF2B5EF4-FFF2-40B4-BE49-F238E27FC236}">
                <a16:creationId xmlns:a16="http://schemas.microsoft.com/office/drawing/2014/main" id="{0A5092CC-99B7-42FA-B922-D9A469AA61A3}"/>
              </a:ext>
            </a:extLst>
          </p:cNvPr>
          <p:cNvGrpSpPr/>
          <p:nvPr userDrawn="1"/>
        </p:nvGrpSpPr>
        <p:grpSpPr>
          <a:xfrm>
            <a:off x="550864" y="6156604"/>
            <a:ext cx="11089971" cy="55199"/>
            <a:chOff x="550864" y="6156603"/>
            <a:chExt cx="11089971" cy="55199"/>
          </a:xfrm>
        </p:grpSpPr>
        <p:sp>
          <p:nvSpPr>
            <p:cNvPr id="51" name="Rectangle 50">
              <a:extLst>
                <a:ext uri="{FF2B5EF4-FFF2-40B4-BE49-F238E27FC236}">
                  <a16:creationId xmlns:a16="http://schemas.microsoft.com/office/drawing/2014/main" id="{C7D78F6B-68EA-4677-8270-E6CE44B4A9DC}"/>
                </a:ext>
              </a:extLst>
            </p:cNvPr>
            <p:cNvSpPr/>
            <p:nvPr userDrawn="1"/>
          </p:nvSpPr>
          <p:spPr>
            <a:xfrm>
              <a:off x="550864"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2" name="Rectangle 51">
              <a:extLst>
                <a:ext uri="{FF2B5EF4-FFF2-40B4-BE49-F238E27FC236}">
                  <a16:creationId xmlns:a16="http://schemas.microsoft.com/office/drawing/2014/main" id="{B6E6D155-C668-4620-947B-CD6756DB3E3F}"/>
                </a:ext>
              </a:extLst>
            </p:cNvPr>
            <p:cNvSpPr/>
            <p:nvPr userDrawn="1"/>
          </p:nvSpPr>
          <p:spPr>
            <a:xfrm>
              <a:off x="5104050"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3" name="Rectangle 52">
              <a:extLst>
                <a:ext uri="{FF2B5EF4-FFF2-40B4-BE49-F238E27FC236}">
                  <a16:creationId xmlns:a16="http://schemas.microsoft.com/office/drawing/2014/main" id="{53A33606-AE46-4272-A076-D6F1DEF2BE14}"/>
                </a:ext>
              </a:extLst>
            </p:cNvPr>
            <p:cNvSpPr/>
            <p:nvPr userDrawn="1"/>
          </p:nvSpPr>
          <p:spPr>
            <a:xfrm>
              <a:off x="7380643"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4" name="Rectangle 53">
              <a:extLst>
                <a:ext uri="{FF2B5EF4-FFF2-40B4-BE49-F238E27FC236}">
                  <a16:creationId xmlns:a16="http://schemas.microsoft.com/office/drawing/2014/main" id="{97AF00D4-2C2C-4B64-AC48-30E76E740B68}"/>
                </a:ext>
              </a:extLst>
            </p:cNvPr>
            <p:cNvSpPr/>
            <p:nvPr userDrawn="1"/>
          </p:nvSpPr>
          <p:spPr>
            <a:xfrm>
              <a:off x="9657235"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5" name="Rectangle 54">
              <a:extLst>
                <a:ext uri="{FF2B5EF4-FFF2-40B4-BE49-F238E27FC236}">
                  <a16:creationId xmlns:a16="http://schemas.microsoft.com/office/drawing/2014/main" id="{F53F07A3-100A-4285-8103-25EB4F518B92}"/>
                </a:ext>
              </a:extLst>
            </p:cNvPr>
            <p:cNvSpPr/>
            <p:nvPr userDrawn="1"/>
          </p:nvSpPr>
          <p:spPr>
            <a:xfrm>
              <a:off x="2827457" y="6156603"/>
              <a:ext cx="1983600" cy="55199"/>
            </a:xfrm>
            <a:prstGeom prst="rect">
              <a:avLst/>
            </a:prstGeom>
            <a:solidFill>
              <a:schemeClr val="tx2">
                <a:lumMod val="40000"/>
                <a:lumOff val="60000"/>
                <a:alpha val="3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grpSp>
        <p:nvGrpSpPr>
          <p:cNvPr id="56" name="Group 55">
            <a:extLst>
              <a:ext uri="{FF2B5EF4-FFF2-40B4-BE49-F238E27FC236}">
                <a16:creationId xmlns:a16="http://schemas.microsoft.com/office/drawing/2014/main" id="{9C3F2152-358B-4AF4-9E4C-FFC021458588}"/>
              </a:ext>
            </a:extLst>
          </p:cNvPr>
          <p:cNvGrpSpPr/>
          <p:nvPr userDrawn="1"/>
        </p:nvGrpSpPr>
        <p:grpSpPr>
          <a:xfrm>
            <a:off x="11979364" y="4535495"/>
            <a:ext cx="110800" cy="2041949"/>
            <a:chOff x="11979441" y="4535494"/>
            <a:chExt cx="110801" cy="2041949"/>
          </a:xfrm>
        </p:grpSpPr>
        <p:grpSp>
          <p:nvGrpSpPr>
            <p:cNvPr id="57" name="Group 56">
              <a:extLst>
                <a:ext uri="{FF2B5EF4-FFF2-40B4-BE49-F238E27FC236}">
                  <a16:creationId xmlns:a16="http://schemas.microsoft.com/office/drawing/2014/main" id="{0EE3E2D1-AA6B-4858-AEA5-CA4E153942A1}"/>
                </a:ext>
              </a:extLst>
            </p:cNvPr>
            <p:cNvGrpSpPr/>
            <p:nvPr userDrawn="1"/>
          </p:nvGrpSpPr>
          <p:grpSpPr>
            <a:xfrm>
              <a:off x="11998460" y="6135518"/>
              <a:ext cx="68500" cy="441924"/>
              <a:chOff x="11998459" y="6162188"/>
              <a:chExt cx="68500" cy="441924"/>
            </a:xfrm>
          </p:grpSpPr>
          <p:sp>
            <p:nvSpPr>
              <p:cNvPr id="60" name="Freeform: Shape 59">
                <a:extLst>
                  <a:ext uri="{FF2B5EF4-FFF2-40B4-BE49-F238E27FC236}">
                    <a16:creationId xmlns:a16="http://schemas.microsoft.com/office/drawing/2014/main" id="{8F01DC23-2710-4E23-8ECF-D42A01049798}"/>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1" name="Freeform: Shape 60">
                <a:extLst>
                  <a:ext uri="{FF2B5EF4-FFF2-40B4-BE49-F238E27FC236}">
                    <a16:creationId xmlns:a16="http://schemas.microsoft.com/office/drawing/2014/main" id="{625F897C-F6DC-43F6-83A9-103566BB7B1A}"/>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2" name="Freeform: Shape 61">
                <a:extLst>
                  <a:ext uri="{FF2B5EF4-FFF2-40B4-BE49-F238E27FC236}">
                    <a16:creationId xmlns:a16="http://schemas.microsoft.com/office/drawing/2014/main" id="{297483D6-4F68-4046-9938-3975F46B128B}"/>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3" name="Freeform: Shape 62">
                <a:extLst>
                  <a:ext uri="{FF2B5EF4-FFF2-40B4-BE49-F238E27FC236}">
                    <a16:creationId xmlns:a16="http://schemas.microsoft.com/office/drawing/2014/main" id="{60260B8F-626E-4F6C-82D6-73BBB93D898A}"/>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4" name="Freeform: Shape 63">
                <a:extLst>
                  <a:ext uri="{FF2B5EF4-FFF2-40B4-BE49-F238E27FC236}">
                    <a16:creationId xmlns:a16="http://schemas.microsoft.com/office/drawing/2014/main" id="{C8041FBB-4E11-4186-939C-922BB885CE7F}"/>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5" name="Freeform: Shape 64">
                <a:extLst>
                  <a:ext uri="{FF2B5EF4-FFF2-40B4-BE49-F238E27FC236}">
                    <a16:creationId xmlns:a16="http://schemas.microsoft.com/office/drawing/2014/main" id="{9B9D46F4-06A5-41BD-A370-19C37CA28B53}"/>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6" name="Freeform: Shape 65">
                <a:extLst>
                  <a:ext uri="{FF2B5EF4-FFF2-40B4-BE49-F238E27FC236}">
                    <a16:creationId xmlns:a16="http://schemas.microsoft.com/office/drawing/2014/main" id="{B4380E05-CB91-42D7-A593-68D7E79B69EF}"/>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7" name="Freeform: Shape 66">
                <a:extLst>
                  <a:ext uri="{FF2B5EF4-FFF2-40B4-BE49-F238E27FC236}">
                    <a16:creationId xmlns:a16="http://schemas.microsoft.com/office/drawing/2014/main" id="{0D399139-04A8-4906-A0E9-F32ED37B1DB5}"/>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8" name="Freeform: Shape 67">
                <a:extLst>
                  <a:ext uri="{FF2B5EF4-FFF2-40B4-BE49-F238E27FC236}">
                    <a16:creationId xmlns:a16="http://schemas.microsoft.com/office/drawing/2014/main" id="{5E2C3744-960D-4FE8-A425-0A1BCCBFDCE3}"/>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69" name="Freeform: Shape 68">
                <a:extLst>
                  <a:ext uri="{FF2B5EF4-FFF2-40B4-BE49-F238E27FC236}">
                    <a16:creationId xmlns:a16="http://schemas.microsoft.com/office/drawing/2014/main" id="{4656CA51-5E36-4B65-AAB5-604B2FFF1CA6}"/>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0" name="Freeform: Shape 69">
                <a:extLst>
                  <a:ext uri="{FF2B5EF4-FFF2-40B4-BE49-F238E27FC236}">
                    <a16:creationId xmlns:a16="http://schemas.microsoft.com/office/drawing/2014/main" id="{0BEF9EA6-DC0A-4745-950A-75EB35C11A83}"/>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1" name="Freeform: Shape 70">
                <a:extLst>
                  <a:ext uri="{FF2B5EF4-FFF2-40B4-BE49-F238E27FC236}">
                    <a16:creationId xmlns:a16="http://schemas.microsoft.com/office/drawing/2014/main" id="{C185182D-9507-4706-B5C3-7D60904B8C4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2" name="Freeform: Shape 71">
                <a:extLst>
                  <a:ext uri="{FF2B5EF4-FFF2-40B4-BE49-F238E27FC236}">
                    <a16:creationId xmlns:a16="http://schemas.microsoft.com/office/drawing/2014/main" id="{DC967172-2751-4E17-ACEB-B9AC16A1C8EE}"/>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58" name="Graphic 57">
              <a:extLst>
                <a:ext uri="{FF2B5EF4-FFF2-40B4-BE49-F238E27FC236}">
                  <a16:creationId xmlns:a16="http://schemas.microsoft.com/office/drawing/2014/main" id="{B1C13260-A832-4897-8C2A-B004FA9AB53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11811888" y="6322371"/>
              <a:ext cx="441438" cy="68706"/>
            </a:xfrm>
            <a:prstGeom prst="rect">
              <a:avLst/>
            </a:prstGeom>
          </p:spPr>
        </p:pic>
        <p:sp>
          <p:nvSpPr>
            <p:cNvPr id="59" name="Copyright">
              <a:extLst>
                <a:ext uri="{FF2B5EF4-FFF2-40B4-BE49-F238E27FC236}">
                  <a16:creationId xmlns:a16="http://schemas.microsoft.com/office/drawing/2014/main" id="{4E29D673-EFE2-4CE9-96D3-54B928054039}"/>
                </a:ext>
              </a:extLst>
            </p:cNvPr>
            <p:cNvSpPr txBox="1"/>
            <p:nvPr userDrawn="1"/>
          </p:nvSpPr>
          <p:spPr>
            <a:xfrm rot="16200000">
              <a:off x="11250973" y="5263962"/>
              <a:ext cx="1567737"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1. All rights reserved.</a:t>
              </a:r>
            </a:p>
          </p:txBody>
        </p:sp>
      </p:grpSp>
      <p:sp>
        <p:nvSpPr>
          <p:cNvPr id="4" name="Title 3">
            <a:extLst>
              <a:ext uri="{FF2B5EF4-FFF2-40B4-BE49-F238E27FC236}">
                <a16:creationId xmlns:a16="http://schemas.microsoft.com/office/drawing/2014/main" id="{9679ACBB-550D-47A2-9ADD-A6C09F32A2FB}"/>
              </a:ext>
            </a:extLst>
          </p:cNvPr>
          <p:cNvSpPr>
            <a:spLocks noGrp="1"/>
          </p:cNvSpPr>
          <p:nvPr>
            <p:ph type="title"/>
          </p:nvPr>
        </p:nvSpPr>
        <p:spPr>
          <a:xfrm>
            <a:off x="531814" y="560589"/>
            <a:ext cx="11089972" cy="443187"/>
          </a:xfrm>
        </p:spPr>
        <p:txBody>
          <a:bodyPr vert="horz"/>
          <a:lstStyle/>
          <a:p>
            <a:r>
              <a:rPr lang="en-US"/>
              <a:t>Click to edit Master title style</a:t>
            </a:r>
            <a:endParaRPr lang="en-IN"/>
          </a:p>
        </p:txBody>
      </p:sp>
      <p:cxnSp>
        <p:nvCxnSpPr>
          <p:cNvPr id="73" name="Straight Connector 72">
            <a:extLst>
              <a:ext uri="{FF2B5EF4-FFF2-40B4-BE49-F238E27FC236}">
                <a16:creationId xmlns:a16="http://schemas.microsoft.com/office/drawing/2014/main" id="{DA9FA602-B0B9-4981-B1E1-9FFC8BD86320}"/>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840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matchingName="Blue Layout" preserve="1">
  <p:cSld name="Blue Layout">
    <p:spTree>
      <p:nvGrpSpPr>
        <p:cNvPr id="1" name="Shape 48"/>
        <p:cNvGrpSpPr/>
        <p:nvPr/>
      </p:nvGrpSpPr>
      <p:grpSpPr>
        <a:xfrm>
          <a:off x="0" y="0"/>
          <a:ext cx="0" cy="0"/>
          <a:chOff x="0" y="0"/>
          <a:chExt cx="0" cy="0"/>
        </a:xfrm>
      </p:grpSpPr>
      <p:sp>
        <p:nvSpPr>
          <p:cNvPr id="49" name="Google Shape;49;p83"/>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50" name="Google Shape;50;p83"/>
          <p:cNvGrpSpPr/>
          <p:nvPr/>
        </p:nvGrpSpPr>
        <p:grpSpPr>
          <a:xfrm>
            <a:off x="11998459" y="6162189"/>
            <a:ext cx="68500" cy="441925"/>
            <a:chOff x="11998459" y="6162188"/>
            <a:chExt cx="68500" cy="441925"/>
          </a:xfrm>
        </p:grpSpPr>
        <p:sp>
          <p:nvSpPr>
            <p:cNvPr id="51" name="Google Shape;51;p83"/>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2" name="Google Shape;52;p83"/>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3" name="Google Shape;53;p83"/>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4" name="Google Shape;54;p83"/>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55;p83"/>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56;p83"/>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7" name="Google Shape;57;p83"/>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8" name="Google Shape;58;p83"/>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9" name="Google Shape;59;p83"/>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 name="Google Shape;60;p83"/>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1" name="Google Shape;61;p83"/>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2" name="Google Shape;62;p83"/>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3" name="Google Shape;63;p83"/>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64" name="Google Shape;64;p83"/>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dirty="0">
                <a:solidFill>
                  <a:schemeClr val="lt1"/>
                </a:solidFill>
                <a:latin typeface="Calibri"/>
                <a:ea typeface="Calibri"/>
                <a:cs typeface="Calibri"/>
                <a:sym typeface="Calibri"/>
              </a:rPr>
              <a:t>Copyright © 2023. All rights reserved.</a:t>
            </a:r>
            <a:endParaRPr sz="1400" dirty="0"/>
          </a:p>
        </p:txBody>
      </p:sp>
      <p:sp>
        <p:nvSpPr>
          <p:cNvPr id="65" name="Google Shape;65;p83"/>
          <p:cNvSpPr txBox="1">
            <a:spLocks noGrp="1"/>
          </p:cNvSpPr>
          <p:nvPr>
            <p:ph type="ftr" idx="11"/>
          </p:nvPr>
        </p:nvSpPr>
        <p:spPr>
          <a:xfrm>
            <a:off x="550863" y="6429937"/>
            <a:ext cx="955390" cy="153856"/>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83"/>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5944675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Title Slide (Option 2)" type="title">
  <p:cSld name="Title Slide (Option 2)">
    <p:spTree>
      <p:nvGrpSpPr>
        <p:cNvPr id="1" name="Shape 32"/>
        <p:cNvGrpSpPr/>
        <p:nvPr/>
      </p:nvGrpSpPr>
      <p:grpSpPr>
        <a:xfrm>
          <a:off x="0" y="0"/>
          <a:ext cx="0" cy="0"/>
          <a:chOff x="0" y="0"/>
          <a:chExt cx="0" cy="0"/>
        </a:xfrm>
      </p:grpSpPr>
      <p:pic>
        <p:nvPicPr>
          <p:cNvPr id="33" name="Google Shape;33;p46" descr="A large body of water with a city in the background&#10;&#10;Description automatically generated"/>
          <p:cNvPicPr preferRelativeResize="0"/>
          <p:nvPr/>
        </p:nvPicPr>
        <p:blipFill rotWithShape="1">
          <a:blip r:embed="rId2">
            <a:alphaModFix/>
          </a:blip>
          <a:srcRect/>
          <a:stretch/>
        </p:blipFill>
        <p:spPr>
          <a:xfrm>
            <a:off x="269998" y="270000"/>
            <a:ext cx="11652001" cy="6318000"/>
          </a:xfrm>
          <a:prstGeom prst="rect">
            <a:avLst/>
          </a:prstGeom>
          <a:noFill/>
          <a:ln>
            <a:noFill/>
          </a:ln>
        </p:spPr>
      </p:pic>
      <p:sp>
        <p:nvSpPr>
          <p:cNvPr id="34" name="Google Shape;34;p46"/>
          <p:cNvSpPr/>
          <p:nvPr/>
        </p:nvSpPr>
        <p:spPr>
          <a:xfrm>
            <a:off x="536449" y="540000"/>
            <a:ext cx="6363891" cy="6318000"/>
          </a:xfrm>
          <a:prstGeom prst="rect">
            <a:avLst/>
          </a:prstGeom>
          <a:gradFill>
            <a:gsLst>
              <a:gs pos="0">
                <a:srgbClr val="062379"/>
              </a:gs>
              <a:gs pos="26000">
                <a:srgbClr val="0934B6">
                  <a:alpha val="89411"/>
                </a:srgbClr>
              </a:gs>
              <a:gs pos="64000">
                <a:srgbClr val="036DFF">
                  <a:alpha val="80000"/>
                </a:srgbClr>
              </a:gs>
              <a:gs pos="100000">
                <a:srgbClr val="43E1D3">
                  <a:alpha val="89411"/>
                </a:srgbClr>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 name="Google Shape;35;p46"/>
          <p:cNvSpPr txBox="1">
            <a:spLocks noGrp="1"/>
          </p:cNvSpPr>
          <p:nvPr>
            <p:ph type="ctrTitle"/>
          </p:nvPr>
        </p:nvSpPr>
        <p:spPr>
          <a:xfrm>
            <a:off x="902896" y="3605237"/>
            <a:ext cx="5337943" cy="692555"/>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46"/>
          <p:cNvSpPr txBox="1">
            <a:spLocks noGrp="1"/>
          </p:cNvSpPr>
          <p:nvPr>
            <p:ph type="subTitle" idx="1"/>
          </p:nvPr>
        </p:nvSpPr>
        <p:spPr>
          <a:xfrm>
            <a:off x="902896" y="4348580"/>
            <a:ext cx="5337943" cy="420385"/>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7" name="Google Shape;37;p46"/>
          <p:cNvSpPr txBox="1">
            <a:spLocks noGrp="1"/>
          </p:cNvSpPr>
          <p:nvPr>
            <p:ph type="dt" idx="10"/>
          </p:nvPr>
        </p:nvSpPr>
        <p:spPr>
          <a:xfrm>
            <a:off x="902897" y="5923690"/>
            <a:ext cx="1599925" cy="2153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38" name="Google Shape;38;p46"/>
          <p:cNvPicPr preferRelativeResize="0"/>
          <p:nvPr/>
        </p:nvPicPr>
        <p:blipFill rotWithShape="1">
          <a:blip r:embed="rId3">
            <a:alphaModFix/>
          </a:blip>
          <a:srcRect/>
          <a:stretch/>
        </p:blipFill>
        <p:spPr>
          <a:xfrm>
            <a:off x="902897" y="901733"/>
            <a:ext cx="2497452" cy="574280"/>
          </a:xfrm>
          <a:prstGeom prst="rect">
            <a:avLst/>
          </a:prstGeom>
          <a:noFill/>
          <a:ln>
            <a:noFill/>
          </a:ln>
        </p:spPr>
      </p:pic>
    </p:spTree>
    <p:extLst>
      <p:ext uri="{BB962C8B-B14F-4D97-AF65-F5344CB8AC3E}">
        <p14:creationId xmlns:p14="http://schemas.microsoft.com/office/powerpoint/2010/main" val="89781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Breaker Slide_2">
  <p:cSld name="1_Breaker Slide_2 3">
    <p:bg>
      <p:bgPr>
        <a:solidFill>
          <a:schemeClr val="lt2"/>
        </a:solidFill>
        <a:effectLst/>
      </p:bgPr>
    </p:bg>
    <p:spTree>
      <p:nvGrpSpPr>
        <p:cNvPr id="1" name="Shape 168"/>
        <p:cNvGrpSpPr/>
        <p:nvPr/>
      </p:nvGrpSpPr>
      <p:grpSpPr>
        <a:xfrm>
          <a:off x="0" y="0"/>
          <a:ext cx="0" cy="0"/>
          <a:chOff x="0" y="0"/>
          <a:chExt cx="0" cy="0"/>
        </a:xfrm>
      </p:grpSpPr>
      <p:pic>
        <p:nvPicPr>
          <p:cNvPr id="169" name="Google Shape;169;p2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70" name="Google Shape;170;p29"/>
          <p:cNvSpPr/>
          <p:nvPr/>
        </p:nvSpPr>
        <p:spPr>
          <a:xfrm>
            <a:off x="0" y="0"/>
            <a:ext cx="12192000" cy="6858000"/>
          </a:xfrm>
          <a:prstGeom prst="rect">
            <a:avLst/>
          </a:prstGeom>
          <a:gradFill>
            <a:gsLst>
              <a:gs pos="0">
                <a:srgbClr val="062379"/>
              </a:gs>
              <a:gs pos="16000">
                <a:srgbClr val="062379"/>
              </a:gs>
              <a:gs pos="55000">
                <a:srgbClr val="0934B6">
                  <a:alpha val="87058"/>
                </a:srgbClr>
              </a:gs>
              <a:gs pos="85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1" name="Google Shape;171;p29"/>
          <p:cNvSpPr txBox="1">
            <a:spLocks noGrp="1"/>
          </p:cNvSpPr>
          <p:nvPr>
            <p:ph type="title"/>
          </p:nvPr>
        </p:nvSpPr>
        <p:spPr>
          <a:xfrm>
            <a:off x="992390" y="4396228"/>
            <a:ext cx="6785798" cy="830997"/>
          </a:xfrm>
          <a:prstGeom prst="rect">
            <a:avLst/>
          </a:prstGeom>
          <a:noFill/>
          <a:ln>
            <a:noFill/>
          </a:ln>
          <a:effectLst>
            <a:outerShdw blurRad="190500" algn="tl" rotWithShape="0">
              <a:srgbClr val="000000">
                <a:alpha val="27058"/>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b="1">
                <a:solidFill>
                  <a:schemeClr val="lt1"/>
                </a:solidFill>
                <a:latin typeface="Libre Franklin"/>
                <a:ea typeface="Libre Franklin"/>
                <a:cs typeface="Libre Franklin"/>
                <a:sym typeface="Libre Franklin"/>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2" name="Google Shape;172;p29"/>
          <p:cNvGrpSpPr/>
          <p:nvPr/>
        </p:nvGrpSpPr>
        <p:grpSpPr>
          <a:xfrm>
            <a:off x="11998459" y="6162188"/>
            <a:ext cx="68500" cy="441925"/>
            <a:chOff x="11998459" y="6162188"/>
            <a:chExt cx="68500" cy="441925"/>
          </a:xfrm>
        </p:grpSpPr>
        <p:sp>
          <p:nvSpPr>
            <p:cNvPr id="173" name="Google Shape;173;p29"/>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 name="Google Shape;174;p29"/>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5" name="Google Shape;175;p29"/>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6" name="Google Shape;176;p29"/>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7" name="Google Shape;177;p29"/>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8" name="Google Shape;178;p29"/>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9" name="Google Shape;179;p29"/>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0" name="Google Shape;180;p29"/>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 name="Google Shape;181;p29"/>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2" name="Google Shape;182;p29"/>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 name="Google Shape;183;p29"/>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 name="Google Shape;184;p29"/>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 name="Google Shape;185;p29"/>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6" name="Google Shape;186;p29"/>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chemeClr val="lt1"/>
                </a:solidFill>
                <a:latin typeface="Calibri"/>
                <a:ea typeface="Calibri"/>
                <a:cs typeface="Calibri"/>
                <a:sym typeface="Calibri"/>
              </a:rPr>
              <a:t>Copyright © 2023. All rights reserved.</a:t>
            </a:r>
            <a:endParaRPr sz="1400" b="0" i="0" u="none" strike="noStrike" cap="none">
              <a:solidFill>
                <a:srgbClr val="000000"/>
              </a:solidFill>
              <a:latin typeface="Calibri"/>
              <a:ea typeface="Calibri"/>
              <a:cs typeface="Calibri"/>
              <a:sym typeface="Calibri"/>
            </a:endParaRPr>
          </a:p>
        </p:txBody>
      </p:sp>
      <p:sp>
        <p:nvSpPr>
          <p:cNvPr id="187" name="Google Shape;187;p2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 name="Google Shape;188;p29"/>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9"/>
        <p:cNvGrpSpPr/>
        <p:nvPr/>
      </p:nvGrpSpPr>
      <p:grpSpPr>
        <a:xfrm>
          <a:off x="0" y="0"/>
          <a:ext cx="0" cy="0"/>
          <a:chOff x="0" y="0"/>
          <a:chExt cx="0" cy="0"/>
        </a:xfrm>
      </p:grpSpPr>
      <p:sp>
        <p:nvSpPr>
          <p:cNvPr id="40" name="Google Shape;40;p47"/>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7"/>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42" name="Google Shape;42;p47"/>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188847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matchingName="Breaker Slide_1">
  <p:cSld name="Breaker Slide_1">
    <p:bg>
      <p:bgPr>
        <a:solidFill>
          <a:schemeClr val="lt2"/>
        </a:solidFill>
        <a:effectLst/>
      </p:bgPr>
    </p:bg>
    <p:spTree>
      <p:nvGrpSpPr>
        <p:cNvPr id="1" name="Shape 43"/>
        <p:cNvGrpSpPr/>
        <p:nvPr/>
      </p:nvGrpSpPr>
      <p:grpSpPr>
        <a:xfrm>
          <a:off x="0" y="0"/>
          <a:ext cx="0" cy="0"/>
          <a:chOff x="0" y="0"/>
          <a:chExt cx="0" cy="0"/>
        </a:xfrm>
      </p:grpSpPr>
      <p:pic>
        <p:nvPicPr>
          <p:cNvPr id="44" name="Google Shape;44;p6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45" name="Google Shape;45;p68"/>
          <p:cNvSpPr/>
          <p:nvPr/>
        </p:nvSpPr>
        <p:spPr>
          <a:xfrm>
            <a:off x="1" y="0"/>
            <a:ext cx="2682587" cy="6858000"/>
          </a:xfrm>
          <a:prstGeom prst="rect">
            <a:avLst/>
          </a:prstGeom>
          <a:solidFill>
            <a:schemeClr val="lt2">
              <a:alpha val="69411"/>
            </a:schemeClr>
          </a:soli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 name="Google Shape;46;p68"/>
          <p:cNvSpPr/>
          <p:nvPr/>
        </p:nvSpPr>
        <p:spPr>
          <a:xfrm>
            <a:off x="1" y="3700464"/>
            <a:ext cx="9412014" cy="2414587"/>
          </a:xfrm>
          <a:prstGeom prst="rect">
            <a:avLst/>
          </a:prstGeom>
          <a:gradFill>
            <a:gsLst>
              <a:gs pos="0">
                <a:srgbClr val="062379"/>
              </a:gs>
              <a:gs pos="55000">
                <a:srgbClr val="385ED2"/>
              </a:gs>
              <a:gs pos="76000">
                <a:srgbClr val="4873F5">
                  <a:alpha val="89411"/>
                </a:srgbClr>
              </a:gs>
              <a:gs pos="100000">
                <a:srgbClr val="43E1D3">
                  <a:alpha val="89411"/>
                </a:srgbClr>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 name="Google Shape;47;p68"/>
          <p:cNvSpPr txBox="1">
            <a:spLocks noGrp="1"/>
          </p:cNvSpPr>
          <p:nvPr>
            <p:ph type="title"/>
          </p:nvPr>
        </p:nvSpPr>
        <p:spPr>
          <a:xfrm>
            <a:off x="737592" y="4477738"/>
            <a:ext cx="8494899" cy="831056"/>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 name="Google Shape;48;p68"/>
          <p:cNvGrpSpPr/>
          <p:nvPr/>
        </p:nvGrpSpPr>
        <p:grpSpPr>
          <a:xfrm>
            <a:off x="11998459" y="6162189"/>
            <a:ext cx="68500" cy="441925"/>
            <a:chOff x="11998459" y="6162188"/>
            <a:chExt cx="68500" cy="441925"/>
          </a:xfrm>
        </p:grpSpPr>
        <p:sp>
          <p:nvSpPr>
            <p:cNvPr id="49" name="Google Shape;49;p6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 name="Google Shape;50;p6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 name="Google Shape;51;p6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 name="Google Shape;52;p6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 name="Google Shape;53;p6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 name="Google Shape;54;p6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 name="Google Shape;55;p6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 name="Google Shape;56;p6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 name="Google Shape;57;p6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 name="Google Shape;58;p6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 name="Google Shape;59;p6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 name="Google Shape;60;p6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 name="Google Shape;61;p6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 name="Google Shape;62;p68"/>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63" name="Google Shape;63;p68"/>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549783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matchingName="Last Page">
  <p:cSld name="Last Page">
    <p:spTree>
      <p:nvGrpSpPr>
        <p:cNvPr id="1" name="Shape 121"/>
        <p:cNvGrpSpPr/>
        <p:nvPr/>
      </p:nvGrpSpPr>
      <p:grpSpPr>
        <a:xfrm>
          <a:off x="0" y="0"/>
          <a:ext cx="0" cy="0"/>
          <a:chOff x="0" y="0"/>
          <a:chExt cx="0" cy="0"/>
        </a:xfrm>
      </p:grpSpPr>
      <p:sp>
        <p:nvSpPr>
          <p:cNvPr id="122" name="Google Shape;122;p57"/>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3" name="Google Shape;123;p57"/>
          <p:cNvSpPr txBox="1"/>
          <p:nvPr/>
        </p:nvSpPr>
        <p:spPr>
          <a:xfrm>
            <a:off x="550863" y="5965462"/>
            <a:ext cx="3028906"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sng" strike="noStrike" cap="none" dirty="0">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endParaRPr sz="1200" b="1" i="0" u="none" strike="noStrike" cap="none" dirty="0">
              <a:solidFill>
                <a:srgbClr val="43E1D3"/>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lt1"/>
                </a:solidFill>
                <a:latin typeface="Calibri"/>
                <a:ea typeface="Calibri"/>
                <a:cs typeface="Calibri"/>
                <a:sym typeface="Calibri"/>
              </a:rPr>
              <a:t>Infomineo Copyright © 2023. All rights reserved.</a:t>
            </a:r>
            <a:endParaRPr sz="1400" b="0" i="0" u="none" strike="noStrike" cap="none" dirty="0">
              <a:solidFill>
                <a:srgbClr val="000000"/>
              </a:solidFill>
              <a:latin typeface="Arial"/>
              <a:ea typeface="Arial"/>
              <a:cs typeface="Arial"/>
              <a:sym typeface="Arial"/>
            </a:endParaRPr>
          </a:p>
        </p:txBody>
      </p:sp>
      <p:pic>
        <p:nvPicPr>
          <p:cNvPr id="124" name="Google Shape;124;p57"/>
          <p:cNvPicPr preferRelativeResize="0"/>
          <p:nvPr/>
        </p:nvPicPr>
        <p:blipFill rotWithShape="1">
          <a:blip r:embed="rId3">
            <a:alphaModFix/>
          </a:blip>
          <a:srcRect/>
          <a:stretch/>
        </p:blipFill>
        <p:spPr>
          <a:xfrm>
            <a:off x="4256669" y="3006054"/>
            <a:ext cx="3678662" cy="845895"/>
          </a:xfrm>
          <a:prstGeom prst="rect">
            <a:avLst/>
          </a:prstGeom>
          <a:noFill/>
          <a:ln>
            <a:noFill/>
          </a:ln>
        </p:spPr>
      </p:pic>
      <p:pic>
        <p:nvPicPr>
          <p:cNvPr id="125" name="Google Shape;125;p57">
            <a:hlinkClick r:id="rId4"/>
          </p:cNvPr>
          <p:cNvPicPr preferRelativeResize="0"/>
          <p:nvPr/>
        </p:nvPicPr>
        <p:blipFill rotWithShape="1">
          <a:blip r:embed="rId5">
            <a:alphaModFix/>
          </a:blip>
          <a:srcRect/>
          <a:stretch/>
        </p:blipFill>
        <p:spPr>
          <a:xfrm>
            <a:off x="11323329" y="5965461"/>
            <a:ext cx="370332" cy="370332"/>
          </a:xfrm>
          <a:prstGeom prst="rect">
            <a:avLst/>
          </a:prstGeom>
          <a:noFill/>
          <a:ln>
            <a:noFill/>
          </a:ln>
        </p:spPr>
      </p:pic>
      <p:pic>
        <p:nvPicPr>
          <p:cNvPr id="126" name="Google Shape;126;p57">
            <a:hlinkClick r:id="rId6"/>
          </p:cNvPr>
          <p:cNvPicPr preferRelativeResize="0"/>
          <p:nvPr/>
        </p:nvPicPr>
        <p:blipFill rotWithShape="1">
          <a:blip r:embed="rId7">
            <a:alphaModFix/>
          </a:blip>
          <a:srcRect/>
          <a:stretch/>
        </p:blipFill>
        <p:spPr>
          <a:xfrm>
            <a:off x="10825965" y="5965461"/>
            <a:ext cx="368808" cy="370332"/>
          </a:xfrm>
          <a:prstGeom prst="rect">
            <a:avLst/>
          </a:prstGeom>
          <a:noFill/>
          <a:ln>
            <a:noFill/>
          </a:ln>
        </p:spPr>
      </p:pic>
      <p:pic>
        <p:nvPicPr>
          <p:cNvPr id="127" name="Google Shape;127;p57">
            <a:hlinkClick r:id="rId8"/>
          </p:cNvPr>
          <p:cNvPicPr preferRelativeResize="0"/>
          <p:nvPr/>
        </p:nvPicPr>
        <p:blipFill rotWithShape="1">
          <a:blip r:embed="rId9">
            <a:alphaModFix/>
          </a:blip>
          <a:srcRect/>
          <a:stretch/>
        </p:blipFill>
        <p:spPr>
          <a:xfrm>
            <a:off x="10328600" y="5965461"/>
            <a:ext cx="368808" cy="370332"/>
          </a:xfrm>
          <a:prstGeom prst="rect">
            <a:avLst/>
          </a:prstGeom>
          <a:noFill/>
          <a:ln>
            <a:noFill/>
          </a:ln>
        </p:spPr>
      </p:pic>
    </p:spTree>
    <p:extLst>
      <p:ext uri="{BB962C8B-B14F-4D97-AF65-F5344CB8AC3E}">
        <p14:creationId xmlns:p14="http://schemas.microsoft.com/office/powerpoint/2010/main" val="17071224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1_Title only (with background)">
  <p:cSld name="1_Title only (with background)">
    <p:bg>
      <p:bgPr>
        <a:solidFill>
          <a:schemeClr val="lt2"/>
        </a:solidFill>
        <a:effectLst/>
      </p:bgPr>
    </p:bg>
    <p:spTree>
      <p:nvGrpSpPr>
        <p:cNvPr id="1" name="Shape 128"/>
        <p:cNvGrpSpPr/>
        <p:nvPr/>
      </p:nvGrpSpPr>
      <p:grpSpPr>
        <a:xfrm>
          <a:off x="0" y="0"/>
          <a:ext cx="0" cy="0"/>
          <a:chOff x="0" y="0"/>
          <a:chExt cx="0" cy="0"/>
        </a:xfrm>
      </p:grpSpPr>
      <p:sp>
        <p:nvSpPr>
          <p:cNvPr id="129" name="Google Shape;129;p50"/>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 name="Google Shape;130;p5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31" name="Google Shape;131;p50"/>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 name="Google Shape;132;p50"/>
          <p:cNvSpPr txBox="1">
            <a:spLocks noGrp="1"/>
          </p:cNvSpPr>
          <p:nvPr>
            <p:ph type="body" idx="1"/>
          </p:nvPr>
        </p:nvSpPr>
        <p:spPr>
          <a:xfrm>
            <a:off x="550862" y="1028325"/>
            <a:ext cx="11089972" cy="420385"/>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3738431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matchingName="Without Title">
  <p:cSld name="Without Title">
    <p:spTree>
      <p:nvGrpSpPr>
        <p:cNvPr id="1" name="Shape 133"/>
        <p:cNvGrpSpPr/>
        <p:nvPr/>
      </p:nvGrpSpPr>
      <p:grpSpPr>
        <a:xfrm>
          <a:off x="0" y="0"/>
          <a:ext cx="0" cy="0"/>
          <a:chOff x="0" y="0"/>
          <a:chExt cx="0" cy="0"/>
        </a:xfrm>
      </p:grpSpPr>
      <p:sp>
        <p:nvSpPr>
          <p:cNvPr id="134" name="Google Shape;134;p58"/>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grpSp>
        <p:nvGrpSpPr>
          <p:cNvPr id="135" name="Google Shape;135;p58"/>
          <p:cNvGrpSpPr/>
          <p:nvPr/>
        </p:nvGrpSpPr>
        <p:grpSpPr>
          <a:xfrm>
            <a:off x="11998459" y="6162189"/>
            <a:ext cx="68500" cy="441925"/>
            <a:chOff x="11998459" y="6162188"/>
            <a:chExt cx="68500" cy="441925"/>
          </a:xfrm>
        </p:grpSpPr>
        <p:sp>
          <p:nvSpPr>
            <p:cNvPr id="136" name="Google Shape;136;p5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7" name="Google Shape;137;p5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8" name="Google Shape;138;p5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9" name="Google Shape;139;p5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0" name="Google Shape;140;p5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1" name="Google Shape;141;p5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2" name="Google Shape;142;p5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3" name="Google Shape;143;p5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4" name="Google Shape;144;p5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5" name="Google Shape;145;p5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6" name="Google Shape;146;p5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7" name="Google Shape;147;p5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8" name="Google Shape;148;p5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149" name="Google Shape;149;p58"/>
          <p:cNvPicPr preferRelativeResize="0"/>
          <p:nvPr/>
        </p:nvPicPr>
        <p:blipFill rotWithShape="1">
          <a:blip r:embed="rId2">
            <a:alphaModFix/>
          </a:blip>
          <a:srcRect/>
          <a:stretch/>
        </p:blipFill>
        <p:spPr>
          <a:xfrm rot="-5400000">
            <a:off x="11811887" y="6349041"/>
            <a:ext cx="441438" cy="68706"/>
          </a:xfrm>
          <a:prstGeom prst="rect">
            <a:avLst/>
          </a:prstGeom>
          <a:noFill/>
          <a:ln>
            <a:noFill/>
          </a:ln>
        </p:spPr>
      </p:pic>
      <p:sp>
        <p:nvSpPr>
          <p:cNvPr id="150" name="Google Shape;150;p58"/>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rgbClr val="B4B4B4"/>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151" name="Google Shape;151;p58"/>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9249599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2 Column">
  <p:cSld name="2 Column">
    <p:spTree>
      <p:nvGrpSpPr>
        <p:cNvPr id="1" name="Shape 152"/>
        <p:cNvGrpSpPr/>
        <p:nvPr/>
      </p:nvGrpSpPr>
      <p:grpSpPr>
        <a:xfrm>
          <a:off x="0" y="0"/>
          <a:ext cx="0" cy="0"/>
          <a:chOff x="0" y="0"/>
          <a:chExt cx="0" cy="0"/>
        </a:xfrm>
      </p:grpSpPr>
      <p:sp>
        <p:nvSpPr>
          <p:cNvPr id="153" name="Google Shape;153;p59"/>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 name="Google Shape;154;p59"/>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55" name="Google Shape;155;p59"/>
          <p:cNvSpPr txBox="1">
            <a:spLocks noGrp="1"/>
          </p:cNvSpPr>
          <p:nvPr>
            <p:ph type="body" idx="1"/>
          </p:nvPr>
        </p:nvSpPr>
        <p:spPr>
          <a:xfrm>
            <a:off x="550863" y="2175805"/>
            <a:ext cx="5400675"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6" name="Google Shape;156;p59"/>
          <p:cNvSpPr txBox="1">
            <a:spLocks noGrp="1"/>
          </p:cNvSpPr>
          <p:nvPr>
            <p:ph type="body" idx="2"/>
          </p:nvPr>
        </p:nvSpPr>
        <p:spPr>
          <a:xfrm>
            <a:off x="550863" y="1857376"/>
            <a:ext cx="5400675"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7" name="Google Shape;157;p59"/>
          <p:cNvSpPr txBox="1">
            <a:spLocks noGrp="1"/>
          </p:cNvSpPr>
          <p:nvPr>
            <p:ph type="body" idx="3"/>
          </p:nvPr>
        </p:nvSpPr>
        <p:spPr>
          <a:xfrm>
            <a:off x="6240464" y="2175805"/>
            <a:ext cx="5400675"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8" name="Google Shape;158;p59"/>
          <p:cNvSpPr txBox="1">
            <a:spLocks noGrp="1"/>
          </p:cNvSpPr>
          <p:nvPr>
            <p:ph type="body" idx="4"/>
          </p:nvPr>
        </p:nvSpPr>
        <p:spPr>
          <a:xfrm>
            <a:off x="6240464" y="1857376"/>
            <a:ext cx="5400675"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9" name="Google Shape;159;p59"/>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076845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3 Column">
  <p:cSld name="3 Column">
    <p:spTree>
      <p:nvGrpSpPr>
        <p:cNvPr id="1" name="Shape 160"/>
        <p:cNvGrpSpPr/>
        <p:nvPr/>
      </p:nvGrpSpPr>
      <p:grpSpPr>
        <a:xfrm>
          <a:off x="0" y="0"/>
          <a:ext cx="0" cy="0"/>
          <a:chOff x="0" y="0"/>
          <a:chExt cx="0" cy="0"/>
        </a:xfrm>
      </p:grpSpPr>
      <p:sp>
        <p:nvSpPr>
          <p:cNvPr id="161" name="Google Shape;161;p60"/>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6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63" name="Google Shape;163;p60"/>
          <p:cNvSpPr txBox="1">
            <a:spLocks noGrp="1"/>
          </p:cNvSpPr>
          <p:nvPr>
            <p:ph type="body" idx="1"/>
          </p:nvPr>
        </p:nvSpPr>
        <p:spPr>
          <a:xfrm>
            <a:off x="550865" y="2175805"/>
            <a:ext cx="3506976"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4" name="Google Shape;164;p60"/>
          <p:cNvSpPr txBox="1">
            <a:spLocks noGrp="1"/>
          </p:cNvSpPr>
          <p:nvPr>
            <p:ph type="body" idx="2"/>
          </p:nvPr>
        </p:nvSpPr>
        <p:spPr>
          <a:xfrm>
            <a:off x="550865" y="1857376"/>
            <a:ext cx="3506976"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5" name="Google Shape;165;p60"/>
          <p:cNvSpPr txBox="1">
            <a:spLocks noGrp="1"/>
          </p:cNvSpPr>
          <p:nvPr>
            <p:ph type="body" idx="3"/>
          </p:nvPr>
        </p:nvSpPr>
        <p:spPr>
          <a:xfrm>
            <a:off x="8135839" y="2175805"/>
            <a:ext cx="35053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6" name="Google Shape;166;p60"/>
          <p:cNvSpPr txBox="1">
            <a:spLocks noGrp="1"/>
          </p:cNvSpPr>
          <p:nvPr>
            <p:ph type="body" idx="4"/>
          </p:nvPr>
        </p:nvSpPr>
        <p:spPr>
          <a:xfrm>
            <a:off x="8135839" y="1857376"/>
            <a:ext cx="35053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7" name="Google Shape;167;p60"/>
          <p:cNvSpPr txBox="1">
            <a:spLocks noGrp="1"/>
          </p:cNvSpPr>
          <p:nvPr>
            <p:ph type="body" idx="5"/>
          </p:nvPr>
        </p:nvSpPr>
        <p:spPr>
          <a:xfrm>
            <a:off x="4344162" y="2175805"/>
            <a:ext cx="35053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8" name="Google Shape;168;p60"/>
          <p:cNvSpPr txBox="1">
            <a:spLocks noGrp="1"/>
          </p:cNvSpPr>
          <p:nvPr>
            <p:ph type="body" idx="6"/>
          </p:nvPr>
        </p:nvSpPr>
        <p:spPr>
          <a:xfrm>
            <a:off x="4344162" y="1857376"/>
            <a:ext cx="35053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9" name="Google Shape;169;p60"/>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1890189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5 Column">
  <p:cSld name="5 Column">
    <p:spTree>
      <p:nvGrpSpPr>
        <p:cNvPr id="1" name="Shape 182"/>
        <p:cNvGrpSpPr/>
        <p:nvPr/>
      </p:nvGrpSpPr>
      <p:grpSpPr>
        <a:xfrm>
          <a:off x="0" y="0"/>
          <a:ext cx="0" cy="0"/>
          <a:chOff x="0" y="0"/>
          <a:chExt cx="0" cy="0"/>
        </a:xfrm>
      </p:grpSpPr>
      <p:sp>
        <p:nvSpPr>
          <p:cNvPr id="183" name="Google Shape;183;p62"/>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 name="Google Shape;184;p62"/>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85" name="Google Shape;185;p62"/>
          <p:cNvSpPr txBox="1">
            <a:spLocks noGrp="1"/>
          </p:cNvSpPr>
          <p:nvPr>
            <p:ph type="body" idx="1"/>
          </p:nvPr>
        </p:nvSpPr>
        <p:spPr>
          <a:xfrm>
            <a:off x="550865" y="2175805"/>
            <a:ext cx="19836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6" name="Google Shape;186;p62"/>
          <p:cNvSpPr txBox="1">
            <a:spLocks noGrp="1"/>
          </p:cNvSpPr>
          <p:nvPr>
            <p:ph type="body" idx="2"/>
          </p:nvPr>
        </p:nvSpPr>
        <p:spPr>
          <a:xfrm>
            <a:off x="550865" y="1857376"/>
            <a:ext cx="19836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7" name="Google Shape;187;p62"/>
          <p:cNvSpPr txBox="1">
            <a:spLocks noGrp="1"/>
          </p:cNvSpPr>
          <p:nvPr>
            <p:ph type="body" idx="3"/>
          </p:nvPr>
        </p:nvSpPr>
        <p:spPr>
          <a:xfrm>
            <a:off x="5104050" y="2175805"/>
            <a:ext cx="1980034"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8" name="Google Shape;188;p62"/>
          <p:cNvSpPr txBox="1">
            <a:spLocks noGrp="1"/>
          </p:cNvSpPr>
          <p:nvPr>
            <p:ph type="body" idx="4"/>
          </p:nvPr>
        </p:nvSpPr>
        <p:spPr>
          <a:xfrm>
            <a:off x="5104050" y="1857376"/>
            <a:ext cx="1980034"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9" name="Google Shape;189;p62"/>
          <p:cNvSpPr txBox="1">
            <a:spLocks noGrp="1"/>
          </p:cNvSpPr>
          <p:nvPr>
            <p:ph type="body" idx="5"/>
          </p:nvPr>
        </p:nvSpPr>
        <p:spPr>
          <a:xfrm>
            <a:off x="2827458" y="2175805"/>
            <a:ext cx="19836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0" name="Google Shape;190;p62"/>
          <p:cNvSpPr txBox="1">
            <a:spLocks noGrp="1"/>
          </p:cNvSpPr>
          <p:nvPr>
            <p:ph type="body" idx="6"/>
          </p:nvPr>
        </p:nvSpPr>
        <p:spPr>
          <a:xfrm>
            <a:off x="2827458" y="1857376"/>
            <a:ext cx="19836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1" name="Google Shape;191;p62"/>
          <p:cNvSpPr txBox="1">
            <a:spLocks noGrp="1"/>
          </p:cNvSpPr>
          <p:nvPr>
            <p:ph type="body" idx="7"/>
          </p:nvPr>
        </p:nvSpPr>
        <p:spPr>
          <a:xfrm>
            <a:off x="7380643" y="2175805"/>
            <a:ext cx="1980034"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2" name="Google Shape;192;p62"/>
          <p:cNvSpPr txBox="1">
            <a:spLocks noGrp="1"/>
          </p:cNvSpPr>
          <p:nvPr>
            <p:ph type="body" idx="8"/>
          </p:nvPr>
        </p:nvSpPr>
        <p:spPr>
          <a:xfrm>
            <a:off x="7380643" y="1857376"/>
            <a:ext cx="1980034"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3" name="Google Shape;193;p62"/>
          <p:cNvSpPr txBox="1">
            <a:spLocks noGrp="1"/>
          </p:cNvSpPr>
          <p:nvPr>
            <p:ph type="body" idx="9"/>
          </p:nvPr>
        </p:nvSpPr>
        <p:spPr>
          <a:xfrm>
            <a:off x="9660801" y="2175805"/>
            <a:ext cx="1980034"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4" name="Google Shape;194;p62"/>
          <p:cNvSpPr txBox="1">
            <a:spLocks noGrp="1"/>
          </p:cNvSpPr>
          <p:nvPr>
            <p:ph type="body" idx="13"/>
          </p:nvPr>
        </p:nvSpPr>
        <p:spPr>
          <a:xfrm>
            <a:off x="9660801" y="1857376"/>
            <a:ext cx="1980034"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5" name="Google Shape;195;p62"/>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929020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1/3 Blue on Left_2">
  <p:cSld name="1/3 Blue on Left_2">
    <p:spTree>
      <p:nvGrpSpPr>
        <p:cNvPr id="1" name="Shape 196"/>
        <p:cNvGrpSpPr/>
        <p:nvPr/>
      </p:nvGrpSpPr>
      <p:grpSpPr>
        <a:xfrm>
          <a:off x="0" y="0"/>
          <a:ext cx="0" cy="0"/>
          <a:chOff x="0" y="0"/>
          <a:chExt cx="0" cy="0"/>
        </a:xfrm>
      </p:grpSpPr>
      <p:sp>
        <p:nvSpPr>
          <p:cNvPr id="197" name="Google Shape;197;p63"/>
          <p:cNvSpPr/>
          <p:nvPr/>
        </p:nvSpPr>
        <p:spPr>
          <a:xfrm>
            <a:off x="1" y="-1"/>
            <a:ext cx="4059776" cy="6857999"/>
          </a:xfrm>
          <a:prstGeom prst="rect">
            <a:avLst/>
          </a:prstGeom>
          <a:gradFill>
            <a:gsLst>
              <a:gs pos="0">
                <a:srgbClr val="062379"/>
              </a:gs>
              <a:gs pos="55000">
                <a:srgbClr val="385ED2"/>
              </a:gs>
              <a:gs pos="76000">
                <a:srgbClr val="4873F5">
                  <a:alpha val="89411"/>
                </a:srgbClr>
              </a:gs>
              <a:gs pos="100000">
                <a:srgbClr val="43E1D3"/>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8" name="Google Shape;198;p63"/>
          <p:cNvSpPr txBox="1">
            <a:spLocks noGrp="1"/>
          </p:cNvSpPr>
          <p:nvPr>
            <p:ph type="title"/>
          </p:nvPr>
        </p:nvSpPr>
        <p:spPr>
          <a:xfrm>
            <a:off x="566142" y="3117388"/>
            <a:ext cx="3032465" cy="623219"/>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500"/>
              <a:buFont typeface="Franklin Gothic"/>
              <a:buNone/>
              <a:defRPr sz="45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 name="Google Shape;199;p63"/>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200" name="Google Shape;200;p63"/>
          <p:cNvSpPr txBox="1">
            <a:spLocks noGrp="1"/>
          </p:cNvSpPr>
          <p:nvPr>
            <p:ph type="ftr" idx="11"/>
          </p:nvPr>
        </p:nvSpPr>
        <p:spPr>
          <a:xfrm>
            <a:off x="436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0665322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1/2 Blue on Left">
  <p:cSld name="1/2 Blue on Left">
    <p:spTree>
      <p:nvGrpSpPr>
        <p:cNvPr id="1" name="Shape 201"/>
        <p:cNvGrpSpPr/>
        <p:nvPr/>
      </p:nvGrpSpPr>
      <p:grpSpPr>
        <a:xfrm>
          <a:off x="0" y="0"/>
          <a:ext cx="0" cy="0"/>
          <a:chOff x="0" y="0"/>
          <a:chExt cx="0" cy="0"/>
        </a:xfrm>
      </p:grpSpPr>
      <p:sp>
        <p:nvSpPr>
          <p:cNvPr id="202" name="Google Shape;202;p64"/>
          <p:cNvSpPr/>
          <p:nvPr/>
        </p:nvSpPr>
        <p:spPr>
          <a:xfrm>
            <a:off x="1" y="-1"/>
            <a:ext cx="6098537" cy="6857999"/>
          </a:xfrm>
          <a:prstGeom prst="rect">
            <a:avLst/>
          </a:prstGeom>
          <a:gradFill>
            <a:gsLst>
              <a:gs pos="0">
                <a:srgbClr val="062379"/>
              </a:gs>
              <a:gs pos="55000">
                <a:srgbClr val="385ED2"/>
              </a:gs>
              <a:gs pos="76000">
                <a:srgbClr val="4873F5">
                  <a:alpha val="89411"/>
                </a:srgbClr>
              </a:gs>
              <a:gs pos="100000">
                <a:srgbClr val="43E1D3"/>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3" name="Google Shape;203;p64"/>
          <p:cNvSpPr txBox="1">
            <a:spLocks noGrp="1"/>
          </p:cNvSpPr>
          <p:nvPr>
            <p:ph type="title"/>
          </p:nvPr>
        </p:nvSpPr>
        <p:spPr>
          <a:xfrm>
            <a:off x="539400" y="562840"/>
            <a:ext cx="5074328"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64"/>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05" name="Google Shape;205;p64"/>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06" name="Google Shape;206;p64"/>
          <p:cNvSpPr txBox="1">
            <a:spLocks noGrp="1"/>
          </p:cNvSpPr>
          <p:nvPr>
            <p:ph type="ftr" idx="11"/>
          </p:nvPr>
        </p:nvSpPr>
        <p:spPr>
          <a:xfrm>
            <a:off x="549232" y="6450257"/>
            <a:ext cx="507432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867436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34" Type="http://schemas.openxmlformats.org/officeDocument/2006/relationships/image" Target="../media/image13.svg"/><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image" Target="../media/image12.pn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tags" Target="../tags/tag3.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image" Target="../media/image11.emf"/><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oleObject" Target="../embeddings/oleObject2.bin"/><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tags" Target="../tags/tag4.xml"/><Relationship Id="rId8"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tags" Target="../tags/tag54.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theme" Target="../theme/theme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image" Target="../media/image27.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image" Target="../media/image1.emf"/><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oleObject" Target="../embeddings/oleObject29.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image" Target="../media/image13.svg"/><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12.png"/><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ags" Target="../tags/tag65.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image" Target="../media/image11.emf"/><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theme" Target="../theme/theme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oleObject" Target="../embeddings/oleObject36.bin"/><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tags" Target="../tags/tag66.xml"/><Relationship Id="rId8"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oleObject" Target="../embeddings/oleObject63.bin"/><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tags" Target="../tags/tag11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image" Target="../media/image27.png"/><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theme" Target="../theme/theme5.xml"/><Relationship Id="rId3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34" Type="http://schemas.openxmlformats.org/officeDocument/2006/relationships/image" Target="../media/image13.svg"/><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image" Target="../media/image12.png"/><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tags" Target="../tags/tag131.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image" Target="../media/image11.emf"/><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theme" Target="../theme/theme6.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oleObject" Target="../embeddings/oleObject72.bin"/><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tags" Target="../tags/tag132.xml"/><Relationship Id="rId8"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9" Type="http://schemas.openxmlformats.org/officeDocument/2006/relationships/tags" Target="../tags/tag183.xml"/><Relationship Id="rId21" Type="http://schemas.openxmlformats.org/officeDocument/2006/relationships/slideLayout" Target="../slideLayouts/slideLayout162.xml"/><Relationship Id="rId34" Type="http://schemas.openxmlformats.org/officeDocument/2006/relationships/slideLayout" Target="../slideLayouts/slideLayout175.xml"/><Relationship Id="rId42" Type="http://schemas.openxmlformats.org/officeDocument/2006/relationships/image" Target="../media/image12.png"/><Relationship Id="rId7" Type="http://schemas.openxmlformats.org/officeDocument/2006/relationships/slideLayout" Target="../slideLayouts/slideLayout14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41" Type="http://schemas.openxmlformats.org/officeDocument/2006/relationships/image" Target="../media/image11.emf"/><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37" Type="http://schemas.openxmlformats.org/officeDocument/2006/relationships/theme" Target="../theme/theme7.xml"/><Relationship Id="rId40" Type="http://schemas.openxmlformats.org/officeDocument/2006/relationships/oleObject" Target="../embeddings/oleObject99.bin"/><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36" Type="http://schemas.openxmlformats.org/officeDocument/2006/relationships/slideLayout" Target="../slideLayouts/slideLayout177.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35" Type="http://schemas.openxmlformats.org/officeDocument/2006/relationships/slideLayout" Target="../slideLayouts/slideLayout176.xml"/><Relationship Id="rId43" Type="http://schemas.openxmlformats.org/officeDocument/2006/relationships/image" Target="../media/image13.svg"/><Relationship Id="rId8" Type="http://schemas.openxmlformats.org/officeDocument/2006/relationships/slideLayout" Target="../slideLayouts/slideLayout149.xml"/><Relationship Id="rId3" Type="http://schemas.openxmlformats.org/officeDocument/2006/relationships/slideLayout" Target="../slideLayouts/slideLayout144.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38" Type="http://schemas.openxmlformats.org/officeDocument/2006/relationships/tags" Target="../tags/tag18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oleObject" Target="../embeddings/oleObject134.bin"/><Relationship Id="rId3" Type="http://schemas.openxmlformats.org/officeDocument/2006/relationships/slideLayout" Target="../slideLayouts/slideLayout180.xml"/><Relationship Id="rId21" Type="http://schemas.openxmlformats.org/officeDocument/2006/relationships/slideLayout" Target="../slideLayouts/slideLayout198.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tags" Target="../tags/tag248.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theme" Target="../theme/theme8.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28" Type="http://schemas.openxmlformats.org/officeDocument/2006/relationships/image" Target="../media/image27.png"/><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5B0B9B-9A8E-E6E7-1ABF-A55C3332A230}"/>
              </a:ext>
            </a:extLst>
          </p:cNvPr>
          <p:cNvGraphicFramePr>
            <a:graphicFrameLocks noChangeAspect="1"/>
          </p:cNvGraphicFramePr>
          <p:nvPr userDrawn="1">
            <p:custDataLst>
              <p:tags r:id="rId12"/>
            </p:custDataLst>
            <p:extLst>
              <p:ext uri="{D42A27DB-BD31-4B8C-83A1-F6EECF244321}">
                <p14:modId xmlns:p14="http://schemas.microsoft.com/office/powerpoint/2010/main" val="114565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10" name="Google Shape;10;p45"/>
          <p:cNvPicPr preferRelativeResize="0"/>
          <p:nvPr/>
        </p:nvPicPr>
        <p:blipFill rotWithShape="1">
          <a:blip r:embed="rId15">
            <a:alphaModFix/>
          </a:blip>
          <a:srcRect/>
          <a:stretch/>
        </p:blipFill>
        <p:spPr>
          <a:xfrm rot="-5400000">
            <a:off x="11846517" y="6335604"/>
            <a:ext cx="392445" cy="88972"/>
          </a:xfrm>
          <a:prstGeom prst="rect">
            <a:avLst/>
          </a:prstGeom>
          <a:noFill/>
          <a:ln>
            <a:noFill/>
          </a:ln>
        </p:spPr>
      </p:pic>
      <p:sp>
        <p:nvSpPr>
          <p:cNvPr id="11" name="Google Shape;11;p45"/>
          <p:cNvSpPr txBox="1">
            <a:spLocks noGrp="1"/>
          </p:cNvSpPr>
          <p:nvPr>
            <p:ph type="title"/>
          </p:nvPr>
        </p:nvSpPr>
        <p:spPr>
          <a:xfrm>
            <a:off x="539400" y="560588"/>
            <a:ext cx="11089972" cy="492443"/>
          </a:xfrm>
          <a:prstGeom prst="rect">
            <a:avLst/>
          </a:prstGeom>
          <a:noFill/>
          <a:ln>
            <a:noFill/>
          </a:ln>
        </p:spPr>
        <p:txBody>
          <a:bodyPr spcFirstLastPara="1" wrap="square" lIns="0" tIns="0" rIns="0" bIns="0" anchor="ctr" anchorCtr="0">
            <a:spAutoFit/>
          </a:bodyPr>
          <a:lstStyle>
            <a:lvl1pPr marR="0" lvl="0" algn="l" rtl="0">
              <a:lnSpc>
                <a:spcPct val="100000"/>
              </a:lnSpc>
              <a:spcBef>
                <a:spcPts val="0"/>
              </a:spcBef>
              <a:spcAft>
                <a:spcPts val="0"/>
              </a:spcAft>
              <a:buSzPts val="1400"/>
              <a:buNone/>
              <a:defRPr sz="3200" b="1" i="0" u="none" strike="noStrike" cap="none">
                <a:solidFill>
                  <a:schemeClr val="dk2"/>
                </a:solidFill>
                <a:latin typeface="Libre Franklin"/>
                <a:ea typeface="Libre Franklin"/>
                <a:cs typeface="Libre Franklin"/>
                <a:sym typeface="Libre Franklin"/>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2" name="Google Shape;12;p45"/>
          <p:cNvSpPr txBox="1">
            <a:spLocks noGrp="1"/>
          </p:cNvSpPr>
          <p:nvPr>
            <p:ph type="body" idx="1"/>
          </p:nvPr>
        </p:nvSpPr>
        <p:spPr>
          <a:xfrm>
            <a:off x="550862" y="1859913"/>
            <a:ext cx="11089973" cy="362150"/>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3" name="Google Shape;13;p45"/>
          <p:cNvSpPr txBox="1">
            <a:spLocks noGrp="1"/>
          </p:cNvSpPr>
          <p:nvPr>
            <p:ph type="ftr" idx="11"/>
          </p:nvPr>
        </p:nvSpPr>
        <p:spPr>
          <a:xfrm>
            <a:off x="550863" y="6450225"/>
            <a:ext cx="5545138" cy="153888"/>
          </a:xfrm>
          <a:prstGeom prst="rect">
            <a:avLst/>
          </a:prstGeom>
          <a:noFill/>
          <a:ln>
            <a:noFill/>
          </a:ln>
        </p:spPr>
        <p:txBody>
          <a:bodyPr spcFirstLastPara="1" wrap="square" lIns="0" tIns="0" rIns="0" bIns="0" anchor="b" anchorCtr="0">
            <a:spAutoFit/>
          </a:bodyPr>
          <a:lstStyle>
            <a:lvl1pPr marR="0" lvl="0" algn="l" rtl="0">
              <a:lnSpc>
                <a:spcPct val="100000"/>
              </a:lnSpc>
              <a:spcBef>
                <a:spcPts val="0"/>
              </a:spcBef>
              <a:spcAft>
                <a:spcPts val="0"/>
              </a:spcAft>
              <a:buClr>
                <a:srgbClr val="000000"/>
              </a:buClr>
              <a:buSzPts val="1400"/>
              <a:buFont typeface="Arial"/>
              <a:buNone/>
              <a:defRPr sz="1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4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5" name="Google Shape;15;p4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a:solidFill>
                  <a:srgbClr val="B4B4B4"/>
                </a:solidFill>
                <a:latin typeface="Calibri"/>
                <a:ea typeface="Calibri"/>
                <a:cs typeface="Calibri"/>
                <a:sym typeface="Calibri"/>
              </a:rPr>
              <a:t>Copyright © 2023. All rights reserved.</a:t>
            </a:r>
            <a:endParaRPr sz="1400" b="0" i="0" u="none" strike="noStrike" cap="none">
              <a:solidFill>
                <a:srgbClr val="000000"/>
              </a:solidFill>
              <a:latin typeface="Calibri"/>
              <a:ea typeface="Calibri"/>
              <a:cs typeface="Calibri"/>
              <a:sym typeface="Calibri"/>
            </a:endParaRPr>
          </a:p>
        </p:txBody>
      </p:sp>
      <p:cxnSp>
        <p:nvCxnSpPr>
          <p:cNvPr id="16" name="Google Shape;16;p45"/>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17" name="Google Shape;17;p45"/>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3" r:id="rId3"/>
    <p:sldLayoutId id="2147483654" r:id="rId4"/>
    <p:sldLayoutId id="2147483655" r:id="rId5"/>
    <p:sldLayoutId id="2147483657" r:id="rId6"/>
    <p:sldLayoutId id="2147483658" r:id="rId7"/>
    <p:sldLayoutId id="2147483659" r:id="rId8"/>
    <p:sldLayoutId id="2147483660" r:id="rId9"/>
    <p:sldLayoutId id="2147483661"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01376A-4F6C-4427-9AC0-67FB4C2B0704}"/>
              </a:ext>
            </a:extLst>
          </p:cNvPr>
          <p:cNvGraphicFramePr>
            <a:graphicFrameLocks noChangeAspect="1"/>
          </p:cNvGraphicFramePr>
          <p:nvPr userDrawn="1">
            <p:custDataLst>
              <p:tags r:id="rId29"/>
            </p:custDataLst>
            <p:extLst>
              <p:ext uri="{D42A27DB-BD31-4B8C-83A1-F6EECF244321}">
                <p14:modId xmlns:p14="http://schemas.microsoft.com/office/powerpoint/2010/main" val="329652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25" imgH="426" progId="TCLayout.ActiveDocument.1">
                  <p:embed/>
                </p:oleObj>
              </mc:Choice>
              <mc:Fallback>
                <p:oleObj name="think-cell Slide" r:id="rId31" imgW="425" imgH="426" progId="TCLayout.ActiveDocument.1">
                  <p:embed/>
                  <p:pic>
                    <p:nvPicPr>
                      <p:cNvPr id="8" name="Object 7" hidden="1">
                        <a:extLst>
                          <a:ext uri="{FF2B5EF4-FFF2-40B4-BE49-F238E27FC236}">
                            <a16:creationId xmlns:a16="http://schemas.microsoft.com/office/drawing/2014/main" id="{0F01376A-4F6C-4427-9AC0-67FB4C2B070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9302799-8A9B-47DC-8DBF-34AF7857573E}"/>
              </a:ext>
            </a:extLst>
          </p:cNvPr>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Placeholder 1">
            <a:extLst>
              <a:ext uri="{FF2B5EF4-FFF2-40B4-BE49-F238E27FC236}">
                <a16:creationId xmlns:a16="http://schemas.microsoft.com/office/drawing/2014/main" id="{0660F969-E23C-496D-A989-9312D6EAF381}"/>
              </a:ext>
            </a:extLst>
          </p:cNvPr>
          <p:cNvSpPr>
            <a:spLocks noGrp="1"/>
          </p:cNvSpPr>
          <p:nvPr>
            <p:ph type="title"/>
          </p:nvPr>
        </p:nvSpPr>
        <p:spPr>
          <a:xfrm>
            <a:off x="531814" y="560588"/>
            <a:ext cx="11089972" cy="422295"/>
          </a:xfrm>
          <a:prstGeom prst="rect">
            <a:avLst/>
          </a:prstGeom>
        </p:spPr>
        <p:txBody>
          <a:bodyPr vert="horz" wrap="square" lIns="0" tIns="0" rIns="0" bIns="0" rtlCol="0" anchor="t">
            <a:spAutoFit/>
          </a:bodyPr>
          <a:lstStyle/>
          <a:p>
            <a:pPr lvl="0">
              <a:lnSpc>
                <a:spcPct val="85000"/>
              </a:lnSpc>
            </a:pPr>
            <a:r>
              <a:rPr lang="en-US"/>
              <a:t>Click to edit Master title style</a:t>
            </a:r>
            <a:endParaRPr lang="en-IN" dirty="0"/>
          </a:p>
        </p:txBody>
      </p:sp>
      <p:sp>
        <p:nvSpPr>
          <p:cNvPr id="3" name="Text Placeholder 2">
            <a:extLst>
              <a:ext uri="{FF2B5EF4-FFF2-40B4-BE49-F238E27FC236}">
                <a16:creationId xmlns:a16="http://schemas.microsoft.com/office/drawing/2014/main" id="{8FA9E90D-E2CC-4615-8D50-28FACCCB351D}"/>
              </a:ext>
            </a:extLst>
          </p:cNvPr>
          <p:cNvSpPr>
            <a:spLocks noGrp="1"/>
          </p:cNvSpPr>
          <p:nvPr>
            <p:ph type="body" idx="1"/>
          </p:nvPr>
        </p:nvSpPr>
        <p:spPr>
          <a:xfrm>
            <a:off x="550862" y="1859913"/>
            <a:ext cx="11089973" cy="1323439"/>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5" name="Footer Placeholder 4">
            <a:extLst>
              <a:ext uri="{FF2B5EF4-FFF2-40B4-BE49-F238E27FC236}">
                <a16:creationId xmlns:a16="http://schemas.microsoft.com/office/drawing/2014/main" id="{BFD71C6E-2232-442E-8448-AF1BD6203E06}"/>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6" name="Slide Number Placeholder 5">
            <a:extLst>
              <a:ext uri="{FF2B5EF4-FFF2-40B4-BE49-F238E27FC236}">
                <a16:creationId xmlns:a16="http://schemas.microsoft.com/office/drawing/2014/main" id="{9C0662E3-7504-4CA7-A6CD-7C5C765B73F5}"/>
              </a:ext>
            </a:extLst>
          </p:cNvPr>
          <p:cNvSpPr>
            <a:spLocks noGrp="1"/>
          </p:cNvSpPr>
          <p:nvPr>
            <p:ph type="sldNum" sz="quarter" idx="4"/>
          </p:nvPr>
        </p:nvSpPr>
        <p:spPr>
          <a:xfrm>
            <a:off x="11490154" y="6465615"/>
            <a:ext cx="150682" cy="138499"/>
          </a:xfrm>
          <a:prstGeom prst="rect">
            <a:avLst/>
          </a:prstGeom>
          <a:noFill/>
        </p:spPr>
        <p:txBody>
          <a:bodyPr wrap="none" lIns="0" tIns="0" rIns="0" bIns="0" rtlCol="0" anchor="b">
            <a:spAutoFit/>
          </a:bodyPr>
          <a:lstStyle>
            <a:lvl1pPr algn="r">
              <a:defRPr kumimoji="0" lang="en-IN" sz="10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grpSp>
        <p:nvGrpSpPr>
          <p:cNvPr id="4" name="Group 3">
            <a:extLst>
              <a:ext uri="{FF2B5EF4-FFF2-40B4-BE49-F238E27FC236}">
                <a16:creationId xmlns:a16="http://schemas.microsoft.com/office/drawing/2014/main" id="{29B9B51C-163C-4DBE-9F6D-38D4CB5FF7EC}"/>
              </a:ext>
            </a:extLst>
          </p:cNvPr>
          <p:cNvGrpSpPr/>
          <p:nvPr userDrawn="1"/>
        </p:nvGrpSpPr>
        <p:grpSpPr>
          <a:xfrm>
            <a:off x="11979364" y="4535495"/>
            <a:ext cx="110800" cy="2041949"/>
            <a:chOff x="11979441" y="4535494"/>
            <a:chExt cx="110801" cy="2041949"/>
          </a:xfrm>
        </p:grpSpPr>
        <p:grpSp>
          <p:nvGrpSpPr>
            <p:cNvPr id="27" name="Group 26">
              <a:extLst>
                <a:ext uri="{FF2B5EF4-FFF2-40B4-BE49-F238E27FC236}">
                  <a16:creationId xmlns:a16="http://schemas.microsoft.com/office/drawing/2014/main" id="{87B31061-A44E-4C9C-B07F-D8CDA855BC79}"/>
                </a:ext>
              </a:extLst>
            </p:cNvPr>
            <p:cNvGrpSpPr/>
            <p:nvPr userDrawn="1"/>
          </p:nvGrpSpPr>
          <p:grpSpPr>
            <a:xfrm>
              <a:off x="11998460" y="6135518"/>
              <a:ext cx="68500" cy="441924"/>
              <a:chOff x="11998459" y="6162188"/>
              <a:chExt cx="68500" cy="441924"/>
            </a:xfrm>
          </p:grpSpPr>
          <p:sp>
            <p:nvSpPr>
              <p:cNvPr id="11" name="Freeform: Shape 10">
                <a:extLst>
                  <a:ext uri="{FF2B5EF4-FFF2-40B4-BE49-F238E27FC236}">
                    <a16:creationId xmlns:a16="http://schemas.microsoft.com/office/drawing/2014/main" id="{18093E00-38A0-4CF7-8C69-DC28CFFA7EF3}"/>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83A998E-3729-4FC5-A5CC-4DC84AB76CC9}"/>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F98D7A59-77C4-4FFE-B4BC-D6D2E508A277}"/>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7E72B593-8E78-4A4E-8039-9E8AB005B73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533BC9DA-DBAA-429C-9B2D-F5DE885FFA1A}"/>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FFC7ED54-A193-4F93-98BD-A9F95F53F901}"/>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C1CD3797-433D-4591-AF9B-5A6A6CF23E51}"/>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34C1BB38-5735-40B9-BFAD-56E5CBF32645}"/>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661FAB9-9525-4A2E-ADDE-3D6DE582FDD9}"/>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9E2E67E8-04E8-4D20-B8D4-6E67405547E0}"/>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Freeform: Shape 23">
                <a:extLst>
                  <a:ext uri="{FF2B5EF4-FFF2-40B4-BE49-F238E27FC236}">
                    <a16:creationId xmlns:a16="http://schemas.microsoft.com/office/drawing/2014/main" id="{80013948-917C-44E7-8DBE-C5E0FD0A2100}"/>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Freeform: Shape 24">
                <a:extLst>
                  <a:ext uri="{FF2B5EF4-FFF2-40B4-BE49-F238E27FC236}">
                    <a16:creationId xmlns:a16="http://schemas.microsoft.com/office/drawing/2014/main" id="{87DCBD3E-5674-40CB-910B-ABFD71044CD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Freeform: Shape 25">
                <a:extLst>
                  <a:ext uri="{FF2B5EF4-FFF2-40B4-BE49-F238E27FC236}">
                    <a16:creationId xmlns:a16="http://schemas.microsoft.com/office/drawing/2014/main" id="{76AD7FAC-FE8F-4E5C-AC0E-214C9EA7FF92}"/>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12" name="Graphic 11">
              <a:extLst>
                <a:ext uri="{FF2B5EF4-FFF2-40B4-BE49-F238E27FC236}">
                  <a16:creationId xmlns:a16="http://schemas.microsoft.com/office/drawing/2014/main" id="{9EDD5925-EA7C-4C82-A33E-C3CE8EA3BC2F}"/>
                </a:ext>
              </a:extLst>
            </p:cNvPr>
            <p:cNvPicPr>
              <a:picLocks noChangeAspect="1"/>
            </p:cNvPicPr>
            <p:nvPr userDrawn="1"/>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rot="16200000">
              <a:off x="11811888" y="6322371"/>
              <a:ext cx="441438" cy="68706"/>
            </a:xfrm>
            <a:prstGeom prst="rect">
              <a:avLst/>
            </a:prstGeom>
          </p:spPr>
        </p:pic>
        <p:sp>
          <p:nvSpPr>
            <p:cNvPr id="84" name="Copyright">
              <a:extLst>
                <a:ext uri="{FF2B5EF4-FFF2-40B4-BE49-F238E27FC236}">
                  <a16:creationId xmlns:a16="http://schemas.microsoft.com/office/drawing/2014/main" id="{99040E17-1592-44EC-BAF2-3AB7B9CEFCC4}"/>
                </a:ext>
              </a:extLst>
            </p:cNvPr>
            <p:cNvSpPr txBox="1"/>
            <p:nvPr userDrawn="1"/>
          </p:nvSpPr>
          <p:spPr>
            <a:xfrm rot="16200000">
              <a:off x="11250973" y="5263962"/>
              <a:ext cx="1567737"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grpSp>
      <p:cxnSp>
        <p:nvCxnSpPr>
          <p:cNvPr id="28" name="Straight Connector 27">
            <a:extLst>
              <a:ext uri="{FF2B5EF4-FFF2-40B4-BE49-F238E27FC236}">
                <a16:creationId xmlns:a16="http://schemas.microsoft.com/office/drawing/2014/main" id="{4A1291B6-2446-4C04-92FE-DFB37F15A485}"/>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Slide Number Placeholder 5">
            <a:extLst>
              <a:ext uri="{FF2B5EF4-FFF2-40B4-BE49-F238E27FC236}">
                <a16:creationId xmlns:a16="http://schemas.microsoft.com/office/drawing/2014/main" id="{444A0EAF-F5FD-4505-B25A-92C17DDE6630}"/>
              </a:ext>
            </a:extLst>
          </p:cNvPr>
          <p:cNvSpPr txBox="1">
            <a:spLocks/>
          </p:cNvSpPr>
          <p:nvPr userDrawn="1"/>
        </p:nvSpPr>
        <p:spPr>
          <a:xfrm>
            <a:off x="11490153" y="6465615"/>
            <a:ext cx="150682" cy="138499"/>
          </a:xfrm>
          <a:prstGeom prst="rect">
            <a:avLst/>
          </a:prstGeom>
          <a:noFill/>
        </p:spPr>
        <p:txBody>
          <a:bodyPr wrap="none" lIns="0" tIns="0" rIns="0" bIns="0" rtlCol="0" anchor="b">
            <a:spAutoFit/>
          </a:bodyPr>
          <a:lstStyle>
            <a:defPPr>
              <a:defRPr lang="en-US"/>
            </a:defPPr>
            <a:lvl1pPr marL="0" algn="r" defTabSz="914400" rtl="0" eaLnBrk="1" latinLnBrk="0" hangingPunct="1">
              <a:defRPr kumimoji="0" lang="en-IN" sz="1000" b="0" i="0" u="none" strike="noStrike" kern="1200" cap="none" spc="0" normalizeH="0" baseline="0" smtClean="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fld id="{2547BBBC-05CB-49BC-A9CC-2D869F0C1D2C}" type="slidenum">
              <a:rPr lang="en-IN" sz="1000" smtClean="0"/>
              <a:pPr>
                <a:lnSpc>
                  <a:spcPct val="90000"/>
                </a:lnSpc>
              </a:pPr>
              <a:t>‹#›</a:t>
            </a:fld>
            <a:endParaRPr lang="en-IN" sz="1000" dirty="0"/>
          </a:p>
        </p:txBody>
      </p:sp>
    </p:spTree>
    <p:extLst>
      <p:ext uri="{BB962C8B-B14F-4D97-AF65-F5344CB8AC3E}">
        <p14:creationId xmlns:p14="http://schemas.microsoft.com/office/powerpoint/2010/main" val="130477619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Lst>
  <p:hf hdr="0" ftr="0" dt="0"/>
  <p:txStyles>
    <p:titleStyle>
      <a:lvl1pPr algn="l" defTabSz="914406" rtl="0" eaLnBrk="1" latinLnBrk="0" hangingPunct="1">
        <a:lnSpc>
          <a:spcPct val="90000"/>
        </a:lnSpc>
        <a:spcBef>
          <a:spcPct val="0"/>
        </a:spcBef>
        <a:buNone/>
        <a:defRPr lang="en-IN" sz="3200" b="0" kern="1200" dirty="0">
          <a:solidFill>
            <a:schemeClr val="tx2"/>
          </a:solidFill>
          <a:latin typeface="Franklin Gothic Demi" panose="020B0703020102020204" pitchFamily="34" charset="0"/>
          <a:ea typeface="+mj-ea"/>
          <a:cs typeface="Calibri" panose="020F0502020204030204" pitchFamily="34" charset="0"/>
          <a:sym typeface="Calibri" panose="020F0502020204030204" pitchFamily="34" charset="0"/>
        </a:defRPr>
      </a:lvl1pPr>
    </p:titleStyle>
    <p:bodyStyle>
      <a:lvl1pPr marL="0" indent="0" algn="l" defTabSz="914406" rtl="0" eaLnBrk="1" latinLnBrk="0" hangingPunct="1">
        <a:lnSpc>
          <a:spcPct val="95000"/>
        </a:lnSpc>
        <a:spcBef>
          <a:spcPts val="10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76215" indent="-176215" algn="l" defTabSz="914406" rtl="0" eaLnBrk="1" latinLnBrk="0" hangingPunct="1">
        <a:lnSpc>
          <a:spcPct val="95000"/>
        </a:lnSpc>
        <a:spcBef>
          <a:spcPts val="500"/>
        </a:spcBef>
        <a:buClr>
          <a:schemeClr val="tx2"/>
        </a:buClr>
        <a:buSzPct val="90000"/>
        <a:buFont typeface="Wingdings" panose="05000000000000000000" pitchFamily="2" charset="2"/>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358778" indent="-179389" algn="l" defTabSz="914406" rtl="0" eaLnBrk="1" latinLnBrk="0" hangingPunct="1">
        <a:lnSpc>
          <a:spcPct val="95000"/>
        </a:lnSpc>
        <a:spcBef>
          <a:spcPts val="300"/>
        </a:spcBef>
        <a:buClr>
          <a:schemeClr val="tx2"/>
        </a:buClr>
        <a:buFont typeface="Calibri Light" panose="020F0302020204030204" pitchFamily="34" charset="0"/>
        <a:buChar char="−"/>
        <a:tabLst/>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536579" indent="-177801" algn="l" defTabSz="914406" rtl="0" eaLnBrk="1" latinLnBrk="0" hangingPunct="1">
        <a:lnSpc>
          <a:spcPct val="95000"/>
        </a:lnSpc>
        <a:spcBef>
          <a:spcPts val="100"/>
        </a:spcBef>
        <a:buClr>
          <a:schemeClr val="tx2"/>
        </a:buClr>
        <a:buSzPct val="9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715968" indent="-179389" algn="l" defTabSz="914406" rtl="0" eaLnBrk="1" latinLnBrk="0" hangingPunct="1">
        <a:lnSpc>
          <a:spcPct val="95000"/>
        </a:lnSpc>
        <a:spcBef>
          <a:spcPts val="100"/>
        </a:spcBef>
        <a:buClr>
          <a:schemeClr val="tx2"/>
        </a:buClr>
        <a:buFont typeface="Calibri Light" panose="020F0302020204030204" pitchFamily="34"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514617"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6" rtl="0" eaLnBrk="1" latinLnBrk="0" hangingPunct="1">
        <a:defRPr sz="1800" kern="1200">
          <a:solidFill>
            <a:schemeClr val="tx1"/>
          </a:solidFill>
          <a:latin typeface="+mn-lt"/>
          <a:ea typeface="+mn-ea"/>
          <a:cs typeface="+mn-cs"/>
        </a:defRPr>
      </a:lvl1pPr>
      <a:lvl2pPr marL="457203" algn="l" defTabSz="914406" rtl="0" eaLnBrk="1" latinLnBrk="0" hangingPunct="1">
        <a:defRPr sz="1800" kern="1200">
          <a:solidFill>
            <a:schemeClr val="tx1"/>
          </a:solidFill>
          <a:latin typeface="+mn-lt"/>
          <a:ea typeface="+mn-ea"/>
          <a:cs typeface="+mn-cs"/>
        </a:defRPr>
      </a:lvl2pPr>
      <a:lvl3pPr marL="914406" algn="l" defTabSz="914406" rtl="0" eaLnBrk="1" latinLnBrk="0" hangingPunct="1">
        <a:defRPr sz="1800" kern="1200">
          <a:solidFill>
            <a:schemeClr val="tx1"/>
          </a:solidFill>
          <a:latin typeface="+mn-lt"/>
          <a:ea typeface="+mn-ea"/>
          <a:cs typeface="+mn-cs"/>
        </a:defRPr>
      </a:lvl3pPr>
      <a:lvl4pPr marL="1371609" algn="l" defTabSz="914406" rtl="0" eaLnBrk="1" latinLnBrk="0" hangingPunct="1">
        <a:defRPr sz="1800" kern="1200">
          <a:solidFill>
            <a:schemeClr val="tx1"/>
          </a:solidFill>
          <a:latin typeface="+mn-lt"/>
          <a:ea typeface="+mn-ea"/>
          <a:cs typeface="+mn-cs"/>
        </a:defRPr>
      </a:lvl4pPr>
      <a:lvl5pPr marL="1828812" algn="l" defTabSz="914406" rtl="0" eaLnBrk="1" latinLnBrk="0" hangingPunct="1">
        <a:defRPr sz="1800" kern="1200">
          <a:solidFill>
            <a:schemeClr val="tx1"/>
          </a:solidFill>
          <a:latin typeface="+mn-lt"/>
          <a:ea typeface="+mn-ea"/>
          <a:cs typeface="+mn-cs"/>
        </a:defRPr>
      </a:lvl5pPr>
      <a:lvl6pPr marL="2286015" algn="l" defTabSz="914406" rtl="0" eaLnBrk="1" latinLnBrk="0" hangingPunct="1">
        <a:defRPr sz="1800" kern="1200">
          <a:solidFill>
            <a:schemeClr val="tx1"/>
          </a:solidFill>
          <a:latin typeface="+mn-lt"/>
          <a:ea typeface="+mn-ea"/>
          <a:cs typeface="+mn-cs"/>
        </a:defRPr>
      </a:lvl6pPr>
      <a:lvl7pPr marL="2743218" algn="l" defTabSz="914406" rtl="0" eaLnBrk="1" latinLnBrk="0" hangingPunct="1">
        <a:defRPr sz="1800" kern="1200">
          <a:solidFill>
            <a:schemeClr val="tx1"/>
          </a:solidFill>
          <a:latin typeface="+mn-lt"/>
          <a:ea typeface="+mn-ea"/>
          <a:cs typeface="+mn-cs"/>
        </a:defRPr>
      </a:lvl7pPr>
      <a:lvl8pPr marL="3200421" algn="l" defTabSz="914406" rtl="0" eaLnBrk="1" latinLnBrk="0" hangingPunct="1">
        <a:defRPr sz="1800" kern="1200">
          <a:solidFill>
            <a:schemeClr val="tx1"/>
          </a:solidFill>
          <a:latin typeface="+mn-lt"/>
          <a:ea typeface="+mn-ea"/>
          <a:cs typeface="+mn-cs"/>
        </a:defRPr>
      </a:lvl8pPr>
      <a:lvl9pPr marL="3657624" algn="l" defTabSz="91440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8111">
          <p15:clr>
            <a:srgbClr val="F26B43"/>
          </p15:clr>
        </p15:guide>
        <p15:guide id="4" orient="horz" pos="1170">
          <p15:clr>
            <a:srgbClr val="F26B43"/>
          </p15:clr>
        </p15:guide>
        <p15:guide id="5" orient="horz" pos="4399">
          <p15:clr>
            <a:srgbClr val="F26B43"/>
          </p15:clr>
        </p15:guide>
        <p15:guide id="6" pos="3749">
          <p15:clr>
            <a:srgbClr val="F26B43"/>
          </p15:clr>
        </p15:guide>
        <p15:guide id="7"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ABC757-ED20-4346-903C-7ACB6BDFF219}"/>
              </a:ext>
            </a:extLst>
          </p:cNvPr>
          <p:cNvGraphicFramePr>
            <a:graphicFrameLocks noChangeAspect="1"/>
          </p:cNvGraphicFramePr>
          <p:nvPr userDrawn="1">
            <p:custDataLst>
              <p:tags r:id="rId26"/>
            </p:custDataLst>
            <p:extLst>
              <p:ext uri="{D42A27DB-BD31-4B8C-83A1-F6EECF244321}">
                <p14:modId xmlns:p14="http://schemas.microsoft.com/office/powerpoint/2010/main" val="283867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73" imgH="476" progId="TCLayout.ActiveDocument.1">
                  <p:embed/>
                </p:oleObj>
              </mc:Choice>
              <mc:Fallback>
                <p:oleObj name="think-cell Slide" r:id="rId27" imgW="473" imgH="476" progId="TCLayout.ActiveDocument.1">
                  <p:embed/>
                  <p:pic>
                    <p:nvPicPr>
                      <p:cNvPr id="2" name="Object 1" hidden="1">
                        <a:extLst>
                          <a:ext uri="{FF2B5EF4-FFF2-40B4-BE49-F238E27FC236}">
                            <a16:creationId xmlns:a16="http://schemas.microsoft.com/office/drawing/2014/main" id="{11ABC757-ED20-4346-903C-7ACB6BDFF219}"/>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grpSp>
        <p:nvGrpSpPr>
          <p:cNvPr id="10" name="Google Shape;10;p45"/>
          <p:cNvGrpSpPr/>
          <p:nvPr/>
        </p:nvGrpSpPr>
        <p:grpSpPr>
          <a:xfrm>
            <a:off x="11998459" y="6162189"/>
            <a:ext cx="68500" cy="441925"/>
            <a:chOff x="11998459" y="6162188"/>
            <a:chExt cx="68500" cy="441925"/>
          </a:xfrm>
        </p:grpSpPr>
        <p:sp>
          <p:nvSpPr>
            <p:cNvPr id="11" name="Google Shape;11;p4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2" name="Google Shape;12;p4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 name="Google Shape;13;p4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 name="Google Shape;14;p4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 name="Google Shape;15;p4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6" name="Google Shape;16;p4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7" name="Google Shape;17;p4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8" name="Google Shape;18;p4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9" name="Google Shape;19;p4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0" name="Google Shape;20;p4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1" name="Google Shape;21;p4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2" name="Google Shape;22;p4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3" name="Google Shape;23;p4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24" name="Google Shape;24;p45"/>
          <p:cNvPicPr preferRelativeResize="0"/>
          <p:nvPr/>
        </p:nvPicPr>
        <p:blipFill rotWithShape="1">
          <a:blip r:embed="rId29">
            <a:alphaModFix/>
          </a:blip>
          <a:srcRect/>
          <a:stretch/>
        </p:blipFill>
        <p:spPr>
          <a:xfrm rot="-5400000">
            <a:off x="11811887" y="6349041"/>
            <a:ext cx="441438" cy="68706"/>
          </a:xfrm>
          <a:prstGeom prst="rect">
            <a:avLst/>
          </a:prstGeom>
          <a:noFill/>
          <a:ln>
            <a:noFill/>
          </a:ln>
        </p:spPr>
      </p:pic>
      <p:sp>
        <p:nvSpPr>
          <p:cNvPr id="25" name="Google Shape;25;p45"/>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 name="Google Shape;26;p45"/>
          <p:cNvSpPr txBox="1">
            <a:spLocks noGrp="1"/>
          </p:cNvSpPr>
          <p:nvPr>
            <p:ph type="body" idx="1"/>
          </p:nvPr>
        </p:nvSpPr>
        <p:spPr>
          <a:xfrm>
            <a:off x="550862" y="1859913"/>
            <a:ext cx="11089973" cy="362150"/>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 name="Google Shape;27;p45"/>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marR="0" lvl="0" algn="l" rtl="0">
              <a:lnSpc>
                <a:spcPct val="100000"/>
              </a:lnSpc>
              <a:spcBef>
                <a:spcPts val="0"/>
              </a:spcBef>
              <a:spcAft>
                <a:spcPts val="0"/>
              </a:spcAft>
              <a:buClr>
                <a:srgbClr val="000000"/>
              </a:buClr>
              <a:buSzPts val="1400"/>
              <a:buFont typeface="Arial"/>
              <a:buNone/>
              <a:defRPr sz="1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45"/>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29" name="Google Shape;29;p45"/>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rgbClr val="B4B4B4"/>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cxnSp>
        <p:nvCxnSpPr>
          <p:cNvPr id="30" name="Google Shape;30;p45"/>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45"/>
          <p:cNvSpPr txBox="1"/>
          <p:nvPr/>
        </p:nvSpPr>
        <p:spPr>
          <a:xfrm>
            <a:off x="11490154" y="6465615"/>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pPr marL="0" marR="0" lvl="0" indent="0" algn="r" rtl="0">
                <a:lnSpc>
                  <a:spcPct val="90000"/>
                </a:lnSpc>
                <a:spcBef>
                  <a:spcPts val="0"/>
                </a:spcBef>
                <a:spcAft>
                  <a:spcPts val="0"/>
                </a:spcAft>
                <a:buClr>
                  <a:srgbClr val="000000"/>
                </a:buClr>
                <a:buSzPts val="1000"/>
                <a:buFont typeface="Arial"/>
                <a:buNone/>
              </a:pPr>
              <a:t>‹#›</a:t>
            </a:fld>
            <a:endParaRPr sz="1000" b="0" i="0" u="none" strike="noStrike" cap="none">
              <a:solidFill>
                <a:srgbClr val="7F7F7F"/>
              </a:solidFill>
              <a:latin typeface="Calibri"/>
              <a:ea typeface="Calibri"/>
              <a:cs typeface="Calibri"/>
              <a:sym typeface="Calibri"/>
            </a:endParaRPr>
          </a:p>
        </p:txBody>
      </p:sp>
    </p:spTree>
    <p:extLst>
      <p:ext uri="{BB962C8B-B14F-4D97-AF65-F5344CB8AC3E}">
        <p14:creationId xmlns:p14="http://schemas.microsoft.com/office/powerpoint/2010/main" val="3002121545"/>
      </p:ext>
    </p:extLst>
  </p:cSld>
  <p:clrMap bg1="lt1" tx1="dk1" bg2="dk2" tx2="lt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6" r:id="rId23"/>
    <p:sldLayoutId id="2147483717" r:id="rId2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01376A-4F6C-4427-9AC0-67FB4C2B0704}"/>
              </a:ext>
            </a:extLst>
          </p:cNvPr>
          <p:cNvGraphicFramePr>
            <a:graphicFrameLocks noChangeAspect="1"/>
          </p:cNvGraphicFramePr>
          <p:nvPr userDrawn="1">
            <p:custDataLst>
              <p:tags r:id="rId29"/>
            </p:custDataLst>
            <p:extLst>
              <p:ext uri="{D42A27DB-BD31-4B8C-83A1-F6EECF244321}">
                <p14:modId xmlns:p14="http://schemas.microsoft.com/office/powerpoint/2010/main" val="1448595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25" imgH="426" progId="TCLayout.ActiveDocument.1">
                  <p:embed/>
                </p:oleObj>
              </mc:Choice>
              <mc:Fallback>
                <p:oleObj name="think-cell Slide" r:id="rId31" imgW="425" imgH="426" progId="TCLayout.ActiveDocument.1">
                  <p:embed/>
                  <p:pic>
                    <p:nvPicPr>
                      <p:cNvPr id="8" name="Object 7" hidden="1">
                        <a:extLst>
                          <a:ext uri="{FF2B5EF4-FFF2-40B4-BE49-F238E27FC236}">
                            <a16:creationId xmlns:a16="http://schemas.microsoft.com/office/drawing/2014/main" id="{0F01376A-4F6C-4427-9AC0-67FB4C2B070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9302799-8A9B-47DC-8DBF-34AF7857573E}"/>
              </a:ext>
            </a:extLst>
          </p:cNvPr>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Placeholder 1">
            <a:extLst>
              <a:ext uri="{FF2B5EF4-FFF2-40B4-BE49-F238E27FC236}">
                <a16:creationId xmlns:a16="http://schemas.microsoft.com/office/drawing/2014/main" id="{0660F969-E23C-496D-A989-9312D6EAF381}"/>
              </a:ext>
            </a:extLst>
          </p:cNvPr>
          <p:cNvSpPr>
            <a:spLocks noGrp="1"/>
          </p:cNvSpPr>
          <p:nvPr>
            <p:ph type="title"/>
          </p:nvPr>
        </p:nvSpPr>
        <p:spPr>
          <a:xfrm>
            <a:off x="531814" y="560588"/>
            <a:ext cx="11089972" cy="422295"/>
          </a:xfrm>
          <a:prstGeom prst="rect">
            <a:avLst/>
          </a:prstGeom>
        </p:spPr>
        <p:txBody>
          <a:bodyPr vert="horz" wrap="square" lIns="0" tIns="0" rIns="0" bIns="0" rtlCol="0" anchor="t">
            <a:spAutoFit/>
          </a:bodyPr>
          <a:lstStyle/>
          <a:p>
            <a:pPr lvl="0">
              <a:lnSpc>
                <a:spcPct val="85000"/>
              </a:lnSpc>
            </a:pPr>
            <a:r>
              <a:rPr lang="en-US"/>
              <a:t>Click to edit Master title style</a:t>
            </a:r>
            <a:endParaRPr lang="en-IN" dirty="0"/>
          </a:p>
        </p:txBody>
      </p:sp>
      <p:sp>
        <p:nvSpPr>
          <p:cNvPr id="3" name="Text Placeholder 2">
            <a:extLst>
              <a:ext uri="{FF2B5EF4-FFF2-40B4-BE49-F238E27FC236}">
                <a16:creationId xmlns:a16="http://schemas.microsoft.com/office/drawing/2014/main" id="{8FA9E90D-E2CC-4615-8D50-28FACCCB351D}"/>
              </a:ext>
            </a:extLst>
          </p:cNvPr>
          <p:cNvSpPr>
            <a:spLocks noGrp="1"/>
          </p:cNvSpPr>
          <p:nvPr>
            <p:ph type="body" idx="1"/>
          </p:nvPr>
        </p:nvSpPr>
        <p:spPr>
          <a:xfrm>
            <a:off x="550862" y="1859913"/>
            <a:ext cx="11089973" cy="1323439"/>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5" name="Footer Placeholder 4">
            <a:extLst>
              <a:ext uri="{FF2B5EF4-FFF2-40B4-BE49-F238E27FC236}">
                <a16:creationId xmlns:a16="http://schemas.microsoft.com/office/drawing/2014/main" id="{BFD71C6E-2232-442E-8448-AF1BD6203E06}"/>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6" name="Slide Number Placeholder 5">
            <a:extLst>
              <a:ext uri="{FF2B5EF4-FFF2-40B4-BE49-F238E27FC236}">
                <a16:creationId xmlns:a16="http://schemas.microsoft.com/office/drawing/2014/main" id="{9C0662E3-7504-4CA7-A6CD-7C5C765B73F5}"/>
              </a:ext>
            </a:extLst>
          </p:cNvPr>
          <p:cNvSpPr>
            <a:spLocks noGrp="1"/>
          </p:cNvSpPr>
          <p:nvPr>
            <p:ph type="sldNum" sz="quarter" idx="4"/>
          </p:nvPr>
        </p:nvSpPr>
        <p:spPr>
          <a:xfrm>
            <a:off x="11490154" y="6465615"/>
            <a:ext cx="150682" cy="138499"/>
          </a:xfrm>
          <a:prstGeom prst="rect">
            <a:avLst/>
          </a:prstGeom>
          <a:noFill/>
        </p:spPr>
        <p:txBody>
          <a:bodyPr wrap="none" lIns="0" tIns="0" rIns="0" bIns="0" rtlCol="0" anchor="b">
            <a:spAutoFit/>
          </a:bodyPr>
          <a:lstStyle>
            <a:lvl1pPr algn="r">
              <a:defRPr kumimoji="0" lang="en-IN" sz="10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grpSp>
        <p:nvGrpSpPr>
          <p:cNvPr id="4" name="Group 3">
            <a:extLst>
              <a:ext uri="{FF2B5EF4-FFF2-40B4-BE49-F238E27FC236}">
                <a16:creationId xmlns:a16="http://schemas.microsoft.com/office/drawing/2014/main" id="{29B9B51C-163C-4DBE-9F6D-38D4CB5FF7EC}"/>
              </a:ext>
            </a:extLst>
          </p:cNvPr>
          <p:cNvGrpSpPr/>
          <p:nvPr userDrawn="1"/>
        </p:nvGrpSpPr>
        <p:grpSpPr>
          <a:xfrm>
            <a:off x="11979364" y="4535495"/>
            <a:ext cx="110800" cy="2041949"/>
            <a:chOff x="11979441" y="4535494"/>
            <a:chExt cx="110801" cy="2041949"/>
          </a:xfrm>
        </p:grpSpPr>
        <p:grpSp>
          <p:nvGrpSpPr>
            <p:cNvPr id="27" name="Group 26">
              <a:extLst>
                <a:ext uri="{FF2B5EF4-FFF2-40B4-BE49-F238E27FC236}">
                  <a16:creationId xmlns:a16="http://schemas.microsoft.com/office/drawing/2014/main" id="{87B31061-A44E-4C9C-B07F-D8CDA855BC79}"/>
                </a:ext>
              </a:extLst>
            </p:cNvPr>
            <p:cNvGrpSpPr/>
            <p:nvPr userDrawn="1"/>
          </p:nvGrpSpPr>
          <p:grpSpPr>
            <a:xfrm>
              <a:off x="11998460" y="6135518"/>
              <a:ext cx="68500" cy="441924"/>
              <a:chOff x="11998459" y="6162188"/>
              <a:chExt cx="68500" cy="441924"/>
            </a:xfrm>
          </p:grpSpPr>
          <p:sp>
            <p:nvSpPr>
              <p:cNvPr id="11" name="Freeform: Shape 10">
                <a:extLst>
                  <a:ext uri="{FF2B5EF4-FFF2-40B4-BE49-F238E27FC236}">
                    <a16:creationId xmlns:a16="http://schemas.microsoft.com/office/drawing/2014/main" id="{18093E00-38A0-4CF7-8C69-DC28CFFA7EF3}"/>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83A998E-3729-4FC5-A5CC-4DC84AB76CC9}"/>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F98D7A59-77C4-4FFE-B4BC-D6D2E508A277}"/>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7E72B593-8E78-4A4E-8039-9E8AB005B73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533BC9DA-DBAA-429C-9B2D-F5DE885FFA1A}"/>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FFC7ED54-A193-4F93-98BD-A9F95F53F901}"/>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C1CD3797-433D-4591-AF9B-5A6A6CF23E51}"/>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34C1BB38-5735-40B9-BFAD-56E5CBF32645}"/>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661FAB9-9525-4A2E-ADDE-3D6DE582FDD9}"/>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9E2E67E8-04E8-4D20-B8D4-6E67405547E0}"/>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Freeform: Shape 23">
                <a:extLst>
                  <a:ext uri="{FF2B5EF4-FFF2-40B4-BE49-F238E27FC236}">
                    <a16:creationId xmlns:a16="http://schemas.microsoft.com/office/drawing/2014/main" id="{80013948-917C-44E7-8DBE-C5E0FD0A2100}"/>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Freeform: Shape 24">
                <a:extLst>
                  <a:ext uri="{FF2B5EF4-FFF2-40B4-BE49-F238E27FC236}">
                    <a16:creationId xmlns:a16="http://schemas.microsoft.com/office/drawing/2014/main" id="{87DCBD3E-5674-40CB-910B-ABFD71044CD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Freeform: Shape 25">
                <a:extLst>
                  <a:ext uri="{FF2B5EF4-FFF2-40B4-BE49-F238E27FC236}">
                    <a16:creationId xmlns:a16="http://schemas.microsoft.com/office/drawing/2014/main" id="{76AD7FAC-FE8F-4E5C-AC0E-214C9EA7FF92}"/>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12" name="Graphic 11">
              <a:extLst>
                <a:ext uri="{FF2B5EF4-FFF2-40B4-BE49-F238E27FC236}">
                  <a16:creationId xmlns:a16="http://schemas.microsoft.com/office/drawing/2014/main" id="{9EDD5925-EA7C-4C82-A33E-C3CE8EA3BC2F}"/>
                </a:ext>
              </a:extLst>
            </p:cNvPr>
            <p:cNvPicPr>
              <a:picLocks noChangeAspect="1"/>
            </p:cNvPicPr>
            <p:nvPr userDrawn="1"/>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rot="16200000">
              <a:off x="11811888" y="6322371"/>
              <a:ext cx="441438" cy="68706"/>
            </a:xfrm>
            <a:prstGeom prst="rect">
              <a:avLst/>
            </a:prstGeom>
          </p:spPr>
        </p:pic>
        <p:sp>
          <p:nvSpPr>
            <p:cNvPr id="84" name="Copyright">
              <a:extLst>
                <a:ext uri="{FF2B5EF4-FFF2-40B4-BE49-F238E27FC236}">
                  <a16:creationId xmlns:a16="http://schemas.microsoft.com/office/drawing/2014/main" id="{99040E17-1592-44EC-BAF2-3AB7B9CEFCC4}"/>
                </a:ext>
              </a:extLst>
            </p:cNvPr>
            <p:cNvSpPr txBox="1"/>
            <p:nvPr userDrawn="1"/>
          </p:nvSpPr>
          <p:spPr>
            <a:xfrm rot="16200000">
              <a:off x="11250973" y="5263962"/>
              <a:ext cx="1567737"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grpSp>
      <p:cxnSp>
        <p:nvCxnSpPr>
          <p:cNvPr id="28" name="Straight Connector 27">
            <a:extLst>
              <a:ext uri="{FF2B5EF4-FFF2-40B4-BE49-F238E27FC236}">
                <a16:creationId xmlns:a16="http://schemas.microsoft.com/office/drawing/2014/main" id="{4A1291B6-2446-4C04-92FE-DFB37F15A485}"/>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Slide Number Placeholder 5">
            <a:extLst>
              <a:ext uri="{FF2B5EF4-FFF2-40B4-BE49-F238E27FC236}">
                <a16:creationId xmlns:a16="http://schemas.microsoft.com/office/drawing/2014/main" id="{444A0EAF-F5FD-4505-B25A-92C17DDE6630}"/>
              </a:ext>
            </a:extLst>
          </p:cNvPr>
          <p:cNvSpPr txBox="1">
            <a:spLocks/>
          </p:cNvSpPr>
          <p:nvPr userDrawn="1"/>
        </p:nvSpPr>
        <p:spPr>
          <a:xfrm>
            <a:off x="11490153" y="6465615"/>
            <a:ext cx="150682" cy="138499"/>
          </a:xfrm>
          <a:prstGeom prst="rect">
            <a:avLst/>
          </a:prstGeom>
          <a:noFill/>
        </p:spPr>
        <p:txBody>
          <a:bodyPr wrap="none" lIns="0" tIns="0" rIns="0" bIns="0" rtlCol="0" anchor="b">
            <a:spAutoFit/>
          </a:bodyPr>
          <a:lstStyle>
            <a:defPPr>
              <a:defRPr lang="en-US"/>
            </a:defPPr>
            <a:lvl1pPr marL="0" algn="r" defTabSz="914400" rtl="0" eaLnBrk="1" latinLnBrk="0" hangingPunct="1">
              <a:defRPr kumimoji="0" lang="en-IN" sz="1000" b="0" i="0" u="none" strike="noStrike" kern="1200" cap="none" spc="0" normalizeH="0" baseline="0" smtClean="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fld id="{2547BBBC-05CB-49BC-A9CC-2D869F0C1D2C}" type="slidenum">
              <a:rPr lang="en-IN" sz="1000" smtClean="0"/>
              <a:pPr>
                <a:lnSpc>
                  <a:spcPct val="90000"/>
                </a:lnSpc>
              </a:pPr>
              <a:t>‹#›</a:t>
            </a:fld>
            <a:endParaRPr lang="en-IN" sz="1000" dirty="0"/>
          </a:p>
        </p:txBody>
      </p:sp>
    </p:spTree>
    <p:extLst>
      <p:ext uri="{BB962C8B-B14F-4D97-AF65-F5344CB8AC3E}">
        <p14:creationId xmlns:p14="http://schemas.microsoft.com/office/powerpoint/2010/main" val="202070246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 id="2147483745" r:id="rId27"/>
  </p:sldLayoutIdLst>
  <p:hf hdr="0" ftr="0" dt="0"/>
  <p:txStyles>
    <p:titleStyle>
      <a:lvl1pPr algn="l" defTabSz="914406" rtl="0" eaLnBrk="1" latinLnBrk="0" hangingPunct="1">
        <a:lnSpc>
          <a:spcPct val="90000"/>
        </a:lnSpc>
        <a:spcBef>
          <a:spcPct val="0"/>
        </a:spcBef>
        <a:buNone/>
        <a:defRPr lang="en-IN" sz="3200" b="0" kern="1200" dirty="0">
          <a:solidFill>
            <a:schemeClr val="tx2"/>
          </a:solidFill>
          <a:latin typeface="Franklin Gothic Demi" panose="020B0703020102020204" pitchFamily="34" charset="0"/>
          <a:ea typeface="+mj-ea"/>
          <a:cs typeface="Calibri" panose="020F0502020204030204" pitchFamily="34" charset="0"/>
          <a:sym typeface="Calibri" panose="020F0502020204030204" pitchFamily="34" charset="0"/>
        </a:defRPr>
      </a:lvl1pPr>
    </p:titleStyle>
    <p:bodyStyle>
      <a:lvl1pPr marL="0" indent="0" algn="l" defTabSz="914406" rtl="0" eaLnBrk="1" latinLnBrk="0" hangingPunct="1">
        <a:lnSpc>
          <a:spcPct val="95000"/>
        </a:lnSpc>
        <a:spcBef>
          <a:spcPts val="10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76215" indent="-176215" algn="l" defTabSz="914406" rtl="0" eaLnBrk="1" latinLnBrk="0" hangingPunct="1">
        <a:lnSpc>
          <a:spcPct val="95000"/>
        </a:lnSpc>
        <a:spcBef>
          <a:spcPts val="500"/>
        </a:spcBef>
        <a:buClr>
          <a:schemeClr val="tx2"/>
        </a:buClr>
        <a:buSzPct val="90000"/>
        <a:buFont typeface="Wingdings" panose="05000000000000000000" pitchFamily="2" charset="2"/>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358778" indent="-179389" algn="l" defTabSz="914406" rtl="0" eaLnBrk="1" latinLnBrk="0" hangingPunct="1">
        <a:lnSpc>
          <a:spcPct val="95000"/>
        </a:lnSpc>
        <a:spcBef>
          <a:spcPts val="300"/>
        </a:spcBef>
        <a:buClr>
          <a:schemeClr val="tx2"/>
        </a:buClr>
        <a:buFont typeface="Calibri Light" panose="020F0302020204030204" pitchFamily="34" charset="0"/>
        <a:buChar char="−"/>
        <a:tabLst/>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536579" indent="-177801" algn="l" defTabSz="914406" rtl="0" eaLnBrk="1" latinLnBrk="0" hangingPunct="1">
        <a:lnSpc>
          <a:spcPct val="95000"/>
        </a:lnSpc>
        <a:spcBef>
          <a:spcPts val="100"/>
        </a:spcBef>
        <a:buClr>
          <a:schemeClr val="tx2"/>
        </a:buClr>
        <a:buSzPct val="9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715968" indent="-179389" algn="l" defTabSz="914406" rtl="0" eaLnBrk="1" latinLnBrk="0" hangingPunct="1">
        <a:lnSpc>
          <a:spcPct val="95000"/>
        </a:lnSpc>
        <a:spcBef>
          <a:spcPts val="100"/>
        </a:spcBef>
        <a:buClr>
          <a:schemeClr val="tx2"/>
        </a:buClr>
        <a:buFont typeface="Calibri Light" panose="020F0302020204030204" pitchFamily="34"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514617"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6" rtl="0" eaLnBrk="1" latinLnBrk="0" hangingPunct="1">
        <a:defRPr sz="1800" kern="1200">
          <a:solidFill>
            <a:schemeClr val="tx1"/>
          </a:solidFill>
          <a:latin typeface="+mn-lt"/>
          <a:ea typeface="+mn-ea"/>
          <a:cs typeface="+mn-cs"/>
        </a:defRPr>
      </a:lvl1pPr>
      <a:lvl2pPr marL="457203" algn="l" defTabSz="914406" rtl="0" eaLnBrk="1" latinLnBrk="0" hangingPunct="1">
        <a:defRPr sz="1800" kern="1200">
          <a:solidFill>
            <a:schemeClr val="tx1"/>
          </a:solidFill>
          <a:latin typeface="+mn-lt"/>
          <a:ea typeface="+mn-ea"/>
          <a:cs typeface="+mn-cs"/>
        </a:defRPr>
      </a:lvl2pPr>
      <a:lvl3pPr marL="914406" algn="l" defTabSz="914406" rtl="0" eaLnBrk="1" latinLnBrk="0" hangingPunct="1">
        <a:defRPr sz="1800" kern="1200">
          <a:solidFill>
            <a:schemeClr val="tx1"/>
          </a:solidFill>
          <a:latin typeface="+mn-lt"/>
          <a:ea typeface="+mn-ea"/>
          <a:cs typeface="+mn-cs"/>
        </a:defRPr>
      </a:lvl3pPr>
      <a:lvl4pPr marL="1371609" algn="l" defTabSz="914406" rtl="0" eaLnBrk="1" latinLnBrk="0" hangingPunct="1">
        <a:defRPr sz="1800" kern="1200">
          <a:solidFill>
            <a:schemeClr val="tx1"/>
          </a:solidFill>
          <a:latin typeface="+mn-lt"/>
          <a:ea typeface="+mn-ea"/>
          <a:cs typeface="+mn-cs"/>
        </a:defRPr>
      </a:lvl4pPr>
      <a:lvl5pPr marL="1828812" algn="l" defTabSz="914406" rtl="0" eaLnBrk="1" latinLnBrk="0" hangingPunct="1">
        <a:defRPr sz="1800" kern="1200">
          <a:solidFill>
            <a:schemeClr val="tx1"/>
          </a:solidFill>
          <a:latin typeface="+mn-lt"/>
          <a:ea typeface="+mn-ea"/>
          <a:cs typeface="+mn-cs"/>
        </a:defRPr>
      </a:lvl5pPr>
      <a:lvl6pPr marL="2286015" algn="l" defTabSz="914406" rtl="0" eaLnBrk="1" latinLnBrk="0" hangingPunct="1">
        <a:defRPr sz="1800" kern="1200">
          <a:solidFill>
            <a:schemeClr val="tx1"/>
          </a:solidFill>
          <a:latin typeface="+mn-lt"/>
          <a:ea typeface="+mn-ea"/>
          <a:cs typeface="+mn-cs"/>
        </a:defRPr>
      </a:lvl6pPr>
      <a:lvl7pPr marL="2743218" algn="l" defTabSz="914406" rtl="0" eaLnBrk="1" latinLnBrk="0" hangingPunct="1">
        <a:defRPr sz="1800" kern="1200">
          <a:solidFill>
            <a:schemeClr val="tx1"/>
          </a:solidFill>
          <a:latin typeface="+mn-lt"/>
          <a:ea typeface="+mn-ea"/>
          <a:cs typeface="+mn-cs"/>
        </a:defRPr>
      </a:lvl7pPr>
      <a:lvl8pPr marL="3200421" algn="l" defTabSz="914406" rtl="0" eaLnBrk="1" latinLnBrk="0" hangingPunct="1">
        <a:defRPr sz="1800" kern="1200">
          <a:solidFill>
            <a:schemeClr val="tx1"/>
          </a:solidFill>
          <a:latin typeface="+mn-lt"/>
          <a:ea typeface="+mn-ea"/>
          <a:cs typeface="+mn-cs"/>
        </a:defRPr>
      </a:lvl8pPr>
      <a:lvl9pPr marL="3657624" algn="l" defTabSz="91440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8111">
          <p15:clr>
            <a:srgbClr val="F26B43"/>
          </p15:clr>
        </p15:guide>
        <p15:guide id="4" orient="horz" pos="1170">
          <p15:clr>
            <a:srgbClr val="F26B43"/>
          </p15:clr>
        </p15:guide>
        <p15:guide id="5" orient="horz" pos="4399">
          <p15:clr>
            <a:srgbClr val="F26B43"/>
          </p15:clr>
        </p15:guide>
        <p15:guide id="6" pos="3749">
          <p15:clr>
            <a:srgbClr val="F26B43"/>
          </p15:clr>
        </p15:guide>
        <p15:guide id="7"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ABC757-ED20-4346-903C-7ACB6BDFF219}"/>
              </a:ext>
            </a:extLst>
          </p:cNvPr>
          <p:cNvGraphicFramePr>
            <a:graphicFrameLocks noChangeAspect="1"/>
          </p:cNvGraphicFramePr>
          <p:nvPr userDrawn="1">
            <p:custDataLst>
              <p:tags r:id="rId28"/>
            </p:custDataLst>
            <p:extLst>
              <p:ext uri="{D42A27DB-BD31-4B8C-83A1-F6EECF244321}">
                <p14:modId xmlns:p14="http://schemas.microsoft.com/office/powerpoint/2010/main" val="1017997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73" imgH="476" progId="TCLayout.ActiveDocument.1">
                  <p:embed/>
                </p:oleObj>
              </mc:Choice>
              <mc:Fallback>
                <p:oleObj name="think-cell Slide" r:id="rId29" imgW="473" imgH="476" progId="TCLayout.ActiveDocument.1">
                  <p:embed/>
                  <p:pic>
                    <p:nvPicPr>
                      <p:cNvPr id="2" name="Object 1" hidden="1">
                        <a:extLst>
                          <a:ext uri="{FF2B5EF4-FFF2-40B4-BE49-F238E27FC236}">
                            <a16:creationId xmlns:a16="http://schemas.microsoft.com/office/drawing/2014/main" id="{11ABC757-ED20-4346-903C-7ACB6BDFF219}"/>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grpSp>
        <p:nvGrpSpPr>
          <p:cNvPr id="10" name="Google Shape;10;p45"/>
          <p:cNvGrpSpPr/>
          <p:nvPr/>
        </p:nvGrpSpPr>
        <p:grpSpPr>
          <a:xfrm>
            <a:off x="11998459" y="6162189"/>
            <a:ext cx="68500" cy="441925"/>
            <a:chOff x="11998459" y="6162188"/>
            <a:chExt cx="68500" cy="441925"/>
          </a:xfrm>
        </p:grpSpPr>
        <p:sp>
          <p:nvSpPr>
            <p:cNvPr id="11" name="Google Shape;11;p4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2" name="Google Shape;12;p4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 name="Google Shape;13;p4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 name="Google Shape;14;p4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 name="Google Shape;15;p4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6" name="Google Shape;16;p4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7" name="Google Shape;17;p4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8" name="Google Shape;18;p4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9" name="Google Shape;19;p4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0" name="Google Shape;20;p4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1" name="Google Shape;21;p4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2" name="Google Shape;22;p4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3" name="Google Shape;23;p4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24" name="Google Shape;24;p45"/>
          <p:cNvPicPr preferRelativeResize="0"/>
          <p:nvPr/>
        </p:nvPicPr>
        <p:blipFill rotWithShape="1">
          <a:blip r:embed="rId31">
            <a:alphaModFix/>
          </a:blip>
          <a:srcRect/>
          <a:stretch/>
        </p:blipFill>
        <p:spPr>
          <a:xfrm rot="-5400000">
            <a:off x="11811887" y="6349041"/>
            <a:ext cx="441438" cy="68706"/>
          </a:xfrm>
          <a:prstGeom prst="rect">
            <a:avLst/>
          </a:prstGeom>
          <a:noFill/>
          <a:ln>
            <a:noFill/>
          </a:ln>
        </p:spPr>
      </p:pic>
      <p:sp>
        <p:nvSpPr>
          <p:cNvPr id="25" name="Google Shape;25;p45"/>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 name="Google Shape;26;p45"/>
          <p:cNvSpPr txBox="1">
            <a:spLocks noGrp="1"/>
          </p:cNvSpPr>
          <p:nvPr>
            <p:ph type="body" idx="1"/>
          </p:nvPr>
        </p:nvSpPr>
        <p:spPr>
          <a:xfrm>
            <a:off x="550862" y="1859913"/>
            <a:ext cx="11089973" cy="362150"/>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 name="Google Shape;27;p45"/>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marR="0" lvl="0" algn="l" rtl="0">
              <a:lnSpc>
                <a:spcPct val="100000"/>
              </a:lnSpc>
              <a:spcBef>
                <a:spcPts val="0"/>
              </a:spcBef>
              <a:spcAft>
                <a:spcPts val="0"/>
              </a:spcAft>
              <a:buClr>
                <a:srgbClr val="000000"/>
              </a:buClr>
              <a:buSzPts val="1400"/>
              <a:buFont typeface="Arial"/>
              <a:buNone/>
              <a:defRPr sz="1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45"/>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29" name="Google Shape;29;p45"/>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rgbClr val="B4B4B4"/>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cxnSp>
        <p:nvCxnSpPr>
          <p:cNvPr id="30" name="Google Shape;30;p45"/>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45"/>
          <p:cNvSpPr txBox="1"/>
          <p:nvPr/>
        </p:nvSpPr>
        <p:spPr>
          <a:xfrm>
            <a:off x="11490154" y="6465615"/>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pPr marL="0" marR="0" lvl="0" indent="0" algn="r" rtl="0">
                <a:lnSpc>
                  <a:spcPct val="90000"/>
                </a:lnSpc>
                <a:spcBef>
                  <a:spcPts val="0"/>
                </a:spcBef>
                <a:spcAft>
                  <a:spcPts val="0"/>
                </a:spcAft>
                <a:buClr>
                  <a:srgbClr val="000000"/>
                </a:buClr>
                <a:buSzPts val="1000"/>
                <a:buFont typeface="Arial"/>
                <a:buNone/>
              </a:pPr>
              <a:t>‹#›</a:t>
            </a:fld>
            <a:endParaRPr sz="1000" b="0" i="0" u="none" strike="noStrike" cap="none">
              <a:solidFill>
                <a:srgbClr val="7F7F7F"/>
              </a:solidFill>
              <a:latin typeface="Calibri"/>
              <a:ea typeface="Calibri"/>
              <a:cs typeface="Calibri"/>
              <a:sym typeface="Calibri"/>
            </a:endParaRPr>
          </a:p>
        </p:txBody>
      </p:sp>
    </p:spTree>
    <p:extLst>
      <p:ext uri="{BB962C8B-B14F-4D97-AF65-F5344CB8AC3E}">
        <p14:creationId xmlns:p14="http://schemas.microsoft.com/office/powerpoint/2010/main" val="2558906230"/>
      </p:ext>
    </p:extLst>
  </p:cSld>
  <p:clrMap bg1="lt1" tx1="dk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3" r:id="rId2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01376A-4F6C-4427-9AC0-67FB4C2B0704}"/>
              </a:ext>
            </a:extLst>
          </p:cNvPr>
          <p:cNvGraphicFramePr>
            <a:graphicFrameLocks noChangeAspect="1"/>
          </p:cNvGraphicFramePr>
          <p:nvPr userDrawn="1">
            <p:custDataLst>
              <p:tags r:id="rId29"/>
            </p:custDataLst>
            <p:extLst>
              <p:ext uri="{D42A27DB-BD31-4B8C-83A1-F6EECF244321}">
                <p14:modId xmlns:p14="http://schemas.microsoft.com/office/powerpoint/2010/main" val="811603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25" imgH="426" progId="TCLayout.ActiveDocument.1">
                  <p:embed/>
                </p:oleObj>
              </mc:Choice>
              <mc:Fallback>
                <p:oleObj name="think-cell Slide" r:id="rId31" imgW="425" imgH="426" progId="TCLayout.ActiveDocument.1">
                  <p:embed/>
                  <p:pic>
                    <p:nvPicPr>
                      <p:cNvPr id="8" name="Object 7" hidden="1">
                        <a:extLst>
                          <a:ext uri="{FF2B5EF4-FFF2-40B4-BE49-F238E27FC236}">
                            <a16:creationId xmlns:a16="http://schemas.microsoft.com/office/drawing/2014/main" id="{0F01376A-4F6C-4427-9AC0-67FB4C2B070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9302799-8A9B-47DC-8DBF-34AF7857573E}"/>
              </a:ext>
            </a:extLst>
          </p:cNvPr>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Placeholder 1">
            <a:extLst>
              <a:ext uri="{FF2B5EF4-FFF2-40B4-BE49-F238E27FC236}">
                <a16:creationId xmlns:a16="http://schemas.microsoft.com/office/drawing/2014/main" id="{0660F969-E23C-496D-A989-9312D6EAF381}"/>
              </a:ext>
            </a:extLst>
          </p:cNvPr>
          <p:cNvSpPr>
            <a:spLocks noGrp="1"/>
          </p:cNvSpPr>
          <p:nvPr>
            <p:ph type="title"/>
          </p:nvPr>
        </p:nvSpPr>
        <p:spPr>
          <a:xfrm>
            <a:off x="531814" y="560588"/>
            <a:ext cx="11089972" cy="422295"/>
          </a:xfrm>
          <a:prstGeom prst="rect">
            <a:avLst/>
          </a:prstGeom>
        </p:spPr>
        <p:txBody>
          <a:bodyPr vert="horz" wrap="square" lIns="0" tIns="0" rIns="0" bIns="0" rtlCol="0" anchor="t">
            <a:spAutoFit/>
          </a:bodyPr>
          <a:lstStyle/>
          <a:p>
            <a:pPr lvl="0">
              <a:lnSpc>
                <a:spcPct val="85000"/>
              </a:lnSpc>
            </a:pPr>
            <a:r>
              <a:rPr lang="en-US"/>
              <a:t>Click to edit Master title style</a:t>
            </a:r>
            <a:endParaRPr lang="en-IN" dirty="0"/>
          </a:p>
        </p:txBody>
      </p:sp>
      <p:sp>
        <p:nvSpPr>
          <p:cNvPr id="3" name="Text Placeholder 2">
            <a:extLst>
              <a:ext uri="{FF2B5EF4-FFF2-40B4-BE49-F238E27FC236}">
                <a16:creationId xmlns:a16="http://schemas.microsoft.com/office/drawing/2014/main" id="{8FA9E90D-E2CC-4615-8D50-28FACCCB351D}"/>
              </a:ext>
            </a:extLst>
          </p:cNvPr>
          <p:cNvSpPr>
            <a:spLocks noGrp="1"/>
          </p:cNvSpPr>
          <p:nvPr>
            <p:ph type="body" idx="1"/>
          </p:nvPr>
        </p:nvSpPr>
        <p:spPr>
          <a:xfrm>
            <a:off x="550862" y="1859913"/>
            <a:ext cx="11089973" cy="1323439"/>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5" name="Footer Placeholder 4">
            <a:extLst>
              <a:ext uri="{FF2B5EF4-FFF2-40B4-BE49-F238E27FC236}">
                <a16:creationId xmlns:a16="http://schemas.microsoft.com/office/drawing/2014/main" id="{BFD71C6E-2232-442E-8448-AF1BD6203E06}"/>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
        <p:nvSpPr>
          <p:cNvPr id="6" name="Slide Number Placeholder 5">
            <a:extLst>
              <a:ext uri="{FF2B5EF4-FFF2-40B4-BE49-F238E27FC236}">
                <a16:creationId xmlns:a16="http://schemas.microsoft.com/office/drawing/2014/main" id="{9C0662E3-7504-4CA7-A6CD-7C5C765B73F5}"/>
              </a:ext>
            </a:extLst>
          </p:cNvPr>
          <p:cNvSpPr>
            <a:spLocks noGrp="1"/>
          </p:cNvSpPr>
          <p:nvPr>
            <p:ph type="sldNum" sz="quarter" idx="4"/>
          </p:nvPr>
        </p:nvSpPr>
        <p:spPr>
          <a:xfrm>
            <a:off x="11490154" y="6465615"/>
            <a:ext cx="150682" cy="138499"/>
          </a:xfrm>
          <a:prstGeom prst="rect">
            <a:avLst/>
          </a:prstGeom>
          <a:noFill/>
        </p:spPr>
        <p:txBody>
          <a:bodyPr wrap="none" lIns="0" tIns="0" rIns="0" bIns="0" rtlCol="0" anchor="b">
            <a:spAutoFit/>
          </a:bodyPr>
          <a:lstStyle>
            <a:lvl1pPr algn="r">
              <a:defRPr kumimoji="0" lang="en-IN" sz="10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grpSp>
        <p:nvGrpSpPr>
          <p:cNvPr id="4" name="Group 3">
            <a:extLst>
              <a:ext uri="{FF2B5EF4-FFF2-40B4-BE49-F238E27FC236}">
                <a16:creationId xmlns:a16="http://schemas.microsoft.com/office/drawing/2014/main" id="{29B9B51C-163C-4DBE-9F6D-38D4CB5FF7EC}"/>
              </a:ext>
            </a:extLst>
          </p:cNvPr>
          <p:cNvGrpSpPr/>
          <p:nvPr userDrawn="1"/>
        </p:nvGrpSpPr>
        <p:grpSpPr>
          <a:xfrm>
            <a:off x="11979364" y="4535495"/>
            <a:ext cx="110800" cy="2041949"/>
            <a:chOff x="11979441" y="4535494"/>
            <a:chExt cx="110801" cy="2041949"/>
          </a:xfrm>
        </p:grpSpPr>
        <p:grpSp>
          <p:nvGrpSpPr>
            <p:cNvPr id="27" name="Group 26">
              <a:extLst>
                <a:ext uri="{FF2B5EF4-FFF2-40B4-BE49-F238E27FC236}">
                  <a16:creationId xmlns:a16="http://schemas.microsoft.com/office/drawing/2014/main" id="{87B31061-A44E-4C9C-B07F-D8CDA855BC79}"/>
                </a:ext>
              </a:extLst>
            </p:cNvPr>
            <p:cNvGrpSpPr/>
            <p:nvPr userDrawn="1"/>
          </p:nvGrpSpPr>
          <p:grpSpPr>
            <a:xfrm>
              <a:off x="11998460" y="6135518"/>
              <a:ext cx="68500" cy="441924"/>
              <a:chOff x="11998459" y="6162188"/>
              <a:chExt cx="68500" cy="441924"/>
            </a:xfrm>
          </p:grpSpPr>
          <p:sp>
            <p:nvSpPr>
              <p:cNvPr id="11" name="Freeform: Shape 10">
                <a:extLst>
                  <a:ext uri="{FF2B5EF4-FFF2-40B4-BE49-F238E27FC236}">
                    <a16:creationId xmlns:a16="http://schemas.microsoft.com/office/drawing/2014/main" id="{18093E00-38A0-4CF7-8C69-DC28CFFA7EF3}"/>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83A998E-3729-4FC5-A5CC-4DC84AB76CC9}"/>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F98D7A59-77C4-4FFE-B4BC-D6D2E508A277}"/>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7E72B593-8E78-4A4E-8039-9E8AB005B73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533BC9DA-DBAA-429C-9B2D-F5DE885FFA1A}"/>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FFC7ED54-A193-4F93-98BD-A9F95F53F901}"/>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C1CD3797-433D-4591-AF9B-5A6A6CF23E51}"/>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34C1BB38-5735-40B9-BFAD-56E5CBF32645}"/>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661FAB9-9525-4A2E-ADDE-3D6DE582FDD9}"/>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9E2E67E8-04E8-4D20-B8D4-6E67405547E0}"/>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Freeform: Shape 23">
                <a:extLst>
                  <a:ext uri="{FF2B5EF4-FFF2-40B4-BE49-F238E27FC236}">
                    <a16:creationId xmlns:a16="http://schemas.microsoft.com/office/drawing/2014/main" id="{80013948-917C-44E7-8DBE-C5E0FD0A2100}"/>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Freeform: Shape 24">
                <a:extLst>
                  <a:ext uri="{FF2B5EF4-FFF2-40B4-BE49-F238E27FC236}">
                    <a16:creationId xmlns:a16="http://schemas.microsoft.com/office/drawing/2014/main" id="{87DCBD3E-5674-40CB-910B-ABFD71044CD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Freeform: Shape 25">
                <a:extLst>
                  <a:ext uri="{FF2B5EF4-FFF2-40B4-BE49-F238E27FC236}">
                    <a16:creationId xmlns:a16="http://schemas.microsoft.com/office/drawing/2014/main" id="{76AD7FAC-FE8F-4E5C-AC0E-214C9EA7FF92}"/>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sz="140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12" name="Graphic 11">
              <a:extLst>
                <a:ext uri="{FF2B5EF4-FFF2-40B4-BE49-F238E27FC236}">
                  <a16:creationId xmlns:a16="http://schemas.microsoft.com/office/drawing/2014/main" id="{9EDD5925-EA7C-4C82-A33E-C3CE8EA3BC2F}"/>
                </a:ext>
              </a:extLst>
            </p:cNvPr>
            <p:cNvPicPr>
              <a:picLocks noChangeAspect="1"/>
            </p:cNvPicPr>
            <p:nvPr userDrawn="1"/>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rot="16200000">
              <a:off x="11811888" y="6322371"/>
              <a:ext cx="441438" cy="68706"/>
            </a:xfrm>
            <a:prstGeom prst="rect">
              <a:avLst/>
            </a:prstGeom>
          </p:spPr>
        </p:pic>
        <p:sp>
          <p:nvSpPr>
            <p:cNvPr id="84" name="Copyright">
              <a:extLst>
                <a:ext uri="{FF2B5EF4-FFF2-40B4-BE49-F238E27FC236}">
                  <a16:creationId xmlns:a16="http://schemas.microsoft.com/office/drawing/2014/main" id="{99040E17-1592-44EC-BAF2-3AB7B9CEFCC4}"/>
                </a:ext>
              </a:extLst>
            </p:cNvPr>
            <p:cNvSpPr txBox="1"/>
            <p:nvPr userDrawn="1"/>
          </p:nvSpPr>
          <p:spPr>
            <a:xfrm rot="16200000">
              <a:off x="11250973" y="5263962"/>
              <a:ext cx="1567737" cy="110801"/>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grpSp>
      <p:cxnSp>
        <p:nvCxnSpPr>
          <p:cNvPr id="28" name="Straight Connector 27">
            <a:extLst>
              <a:ext uri="{FF2B5EF4-FFF2-40B4-BE49-F238E27FC236}">
                <a16:creationId xmlns:a16="http://schemas.microsoft.com/office/drawing/2014/main" id="{4A1291B6-2446-4C04-92FE-DFB37F15A485}"/>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Slide Number Placeholder 5">
            <a:extLst>
              <a:ext uri="{FF2B5EF4-FFF2-40B4-BE49-F238E27FC236}">
                <a16:creationId xmlns:a16="http://schemas.microsoft.com/office/drawing/2014/main" id="{444A0EAF-F5FD-4505-B25A-92C17DDE6630}"/>
              </a:ext>
            </a:extLst>
          </p:cNvPr>
          <p:cNvSpPr txBox="1">
            <a:spLocks/>
          </p:cNvSpPr>
          <p:nvPr userDrawn="1"/>
        </p:nvSpPr>
        <p:spPr>
          <a:xfrm>
            <a:off x="11490153" y="6465615"/>
            <a:ext cx="150682" cy="138499"/>
          </a:xfrm>
          <a:prstGeom prst="rect">
            <a:avLst/>
          </a:prstGeom>
          <a:noFill/>
        </p:spPr>
        <p:txBody>
          <a:bodyPr wrap="none" lIns="0" tIns="0" rIns="0" bIns="0" rtlCol="0" anchor="b">
            <a:spAutoFit/>
          </a:bodyPr>
          <a:lstStyle>
            <a:defPPr>
              <a:defRPr lang="en-US"/>
            </a:defPPr>
            <a:lvl1pPr marL="0" algn="r" defTabSz="914400" rtl="0" eaLnBrk="1" latinLnBrk="0" hangingPunct="1">
              <a:defRPr kumimoji="0" lang="en-IN" sz="1000" b="0" i="0" u="none" strike="noStrike" kern="1200" cap="none" spc="0" normalizeH="0" baseline="0" smtClean="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fld id="{2547BBBC-05CB-49BC-A9CC-2D869F0C1D2C}" type="slidenum">
              <a:rPr lang="en-IN" sz="1000" smtClean="0"/>
              <a:pPr>
                <a:lnSpc>
                  <a:spcPct val="90000"/>
                </a:lnSpc>
              </a:pPr>
              <a:t>‹#›</a:t>
            </a:fld>
            <a:endParaRPr lang="en-IN" sz="1000" dirty="0"/>
          </a:p>
        </p:txBody>
      </p:sp>
    </p:spTree>
    <p:extLst>
      <p:ext uri="{BB962C8B-B14F-4D97-AF65-F5344CB8AC3E}">
        <p14:creationId xmlns:p14="http://schemas.microsoft.com/office/powerpoint/2010/main" val="97274170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 id="2147483798" r:id="rId24"/>
    <p:sldLayoutId id="2147483799" r:id="rId25"/>
    <p:sldLayoutId id="2147483800" r:id="rId26"/>
    <p:sldLayoutId id="2147483801" r:id="rId27"/>
  </p:sldLayoutIdLst>
  <p:hf hdr="0" ftr="0" dt="0"/>
  <p:txStyles>
    <p:titleStyle>
      <a:lvl1pPr algn="l" defTabSz="914406" rtl="0" eaLnBrk="1" latinLnBrk="0" hangingPunct="1">
        <a:lnSpc>
          <a:spcPct val="90000"/>
        </a:lnSpc>
        <a:spcBef>
          <a:spcPct val="0"/>
        </a:spcBef>
        <a:buNone/>
        <a:defRPr lang="en-IN" sz="3200" b="0" kern="1200" dirty="0">
          <a:solidFill>
            <a:schemeClr val="tx2"/>
          </a:solidFill>
          <a:latin typeface="Franklin Gothic Demi" panose="020B0703020102020204" pitchFamily="34" charset="0"/>
          <a:ea typeface="+mj-ea"/>
          <a:cs typeface="Calibri" panose="020F0502020204030204" pitchFamily="34" charset="0"/>
          <a:sym typeface="Calibri" panose="020F0502020204030204" pitchFamily="34" charset="0"/>
        </a:defRPr>
      </a:lvl1pPr>
    </p:titleStyle>
    <p:bodyStyle>
      <a:lvl1pPr marL="0" indent="0" algn="l" defTabSz="914406" rtl="0" eaLnBrk="1" latinLnBrk="0" hangingPunct="1">
        <a:lnSpc>
          <a:spcPct val="95000"/>
        </a:lnSpc>
        <a:spcBef>
          <a:spcPts val="10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76215" indent="-176215" algn="l" defTabSz="914406" rtl="0" eaLnBrk="1" latinLnBrk="0" hangingPunct="1">
        <a:lnSpc>
          <a:spcPct val="95000"/>
        </a:lnSpc>
        <a:spcBef>
          <a:spcPts val="500"/>
        </a:spcBef>
        <a:buClr>
          <a:schemeClr val="tx2"/>
        </a:buClr>
        <a:buSzPct val="90000"/>
        <a:buFont typeface="Wingdings" panose="05000000000000000000" pitchFamily="2" charset="2"/>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358778" indent="-179389" algn="l" defTabSz="914406" rtl="0" eaLnBrk="1" latinLnBrk="0" hangingPunct="1">
        <a:lnSpc>
          <a:spcPct val="95000"/>
        </a:lnSpc>
        <a:spcBef>
          <a:spcPts val="300"/>
        </a:spcBef>
        <a:buClr>
          <a:schemeClr val="tx2"/>
        </a:buClr>
        <a:buFont typeface="Calibri Light" panose="020F0302020204030204" pitchFamily="34" charset="0"/>
        <a:buChar char="−"/>
        <a:tabLst/>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536579" indent="-177801" algn="l" defTabSz="914406" rtl="0" eaLnBrk="1" latinLnBrk="0" hangingPunct="1">
        <a:lnSpc>
          <a:spcPct val="95000"/>
        </a:lnSpc>
        <a:spcBef>
          <a:spcPts val="100"/>
        </a:spcBef>
        <a:buClr>
          <a:schemeClr val="tx2"/>
        </a:buClr>
        <a:buSzPct val="9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715968" indent="-179389" algn="l" defTabSz="914406" rtl="0" eaLnBrk="1" latinLnBrk="0" hangingPunct="1">
        <a:lnSpc>
          <a:spcPct val="95000"/>
        </a:lnSpc>
        <a:spcBef>
          <a:spcPts val="100"/>
        </a:spcBef>
        <a:buClr>
          <a:schemeClr val="tx2"/>
        </a:buClr>
        <a:buFont typeface="Calibri Light" panose="020F0302020204030204" pitchFamily="34"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514617"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6" rtl="0" eaLnBrk="1" latinLnBrk="0" hangingPunct="1">
        <a:defRPr sz="1800" kern="1200">
          <a:solidFill>
            <a:schemeClr val="tx1"/>
          </a:solidFill>
          <a:latin typeface="+mn-lt"/>
          <a:ea typeface="+mn-ea"/>
          <a:cs typeface="+mn-cs"/>
        </a:defRPr>
      </a:lvl1pPr>
      <a:lvl2pPr marL="457203" algn="l" defTabSz="914406" rtl="0" eaLnBrk="1" latinLnBrk="0" hangingPunct="1">
        <a:defRPr sz="1800" kern="1200">
          <a:solidFill>
            <a:schemeClr val="tx1"/>
          </a:solidFill>
          <a:latin typeface="+mn-lt"/>
          <a:ea typeface="+mn-ea"/>
          <a:cs typeface="+mn-cs"/>
        </a:defRPr>
      </a:lvl2pPr>
      <a:lvl3pPr marL="914406" algn="l" defTabSz="914406" rtl="0" eaLnBrk="1" latinLnBrk="0" hangingPunct="1">
        <a:defRPr sz="1800" kern="1200">
          <a:solidFill>
            <a:schemeClr val="tx1"/>
          </a:solidFill>
          <a:latin typeface="+mn-lt"/>
          <a:ea typeface="+mn-ea"/>
          <a:cs typeface="+mn-cs"/>
        </a:defRPr>
      </a:lvl3pPr>
      <a:lvl4pPr marL="1371609" algn="l" defTabSz="914406" rtl="0" eaLnBrk="1" latinLnBrk="0" hangingPunct="1">
        <a:defRPr sz="1800" kern="1200">
          <a:solidFill>
            <a:schemeClr val="tx1"/>
          </a:solidFill>
          <a:latin typeface="+mn-lt"/>
          <a:ea typeface="+mn-ea"/>
          <a:cs typeface="+mn-cs"/>
        </a:defRPr>
      </a:lvl4pPr>
      <a:lvl5pPr marL="1828812" algn="l" defTabSz="914406" rtl="0" eaLnBrk="1" latinLnBrk="0" hangingPunct="1">
        <a:defRPr sz="1800" kern="1200">
          <a:solidFill>
            <a:schemeClr val="tx1"/>
          </a:solidFill>
          <a:latin typeface="+mn-lt"/>
          <a:ea typeface="+mn-ea"/>
          <a:cs typeface="+mn-cs"/>
        </a:defRPr>
      </a:lvl5pPr>
      <a:lvl6pPr marL="2286015" algn="l" defTabSz="914406" rtl="0" eaLnBrk="1" latinLnBrk="0" hangingPunct="1">
        <a:defRPr sz="1800" kern="1200">
          <a:solidFill>
            <a:schemeClr val="tx1"/>
          </a:solidFill>
          <a:latin typeface="+mn-lt"/>
          <a:ea typeface="+mn-ea"/>
          <a:cs typeface="+mn-cs"/>
        </a:defRPr>
      </a:lvl6pPr>
      <a:lvl7pPr marL="2743218" algn="l" defTabSz="914406" rtl="0" eaLnBrk="1" latinLnBrk="0" hangingPunct="1">
        <a:defRPr sz="1800" kern="1200">
          <a:solidFill>
            <a:schemeClr val="tx1"/>
          </a:solidFill>
          <a:latin typeface="+mn-lt"/>
          <a:ea typeface="+mn-ea"/>
          <a:cs typeface="+mn-cs"/>
        </a:defRPr>
      </a:lvl7pPr>
      <a:lvl8pPr marL="3200421" algn="l" defTabSz="914406" rtl="0" eaLnBrk="1" latinLnBrk="0" hangingPunct="1">
        <a:defRPr sz="1800" kern="1200">
          <a:solidFill>
            <a:schemeClr val="tx1"/>
          </a:solidFill>
          <a:latin typeface="+mn-lt"/>
          <a:ea typeface="+mn-ea"/>
          <a:cs typeface="+mn-cs"/>
        </a:defRPr>
      </a:lvl8pPr>
      <a:lvl9pPr marL="3657624" algn="l" defTabSz="91440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8111">
          <p15:clr>
            <a:srgbClr val="F26B43"/>
          </p15:clr>
        </p15:guide>
        <p15:guide id="4" orient="horz" pos="1170">
          <p15:clr>
            <a:srgbClr val="F26B43"/>
          </p15:clr>
        </p15:guide>
        <p15:guide id="5" orient="horz" pos="4399">
          <p15:clr>
            <a:srgbClr val="F26B43"/>
          </p15:clr>
        </p15:guide>
        <p15:guide id="6" pos="3749">
          <p15:clr>
            <a:srgbClr val="F26B43"/>
          </p15:clr>
        </p15:guide>
        <p15:guide id="7"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01376A-4F6C-4427-9AC0-67FB4C2B0704}"/>
              </a:ext>
            </a:extLst>
          </p:cNvPr>
          <p:cNvGraphicFramePr>
            <a:graphicFrameLocks noChangeAspect="1"/>
          </p:cNvGraphicFramePr>
          <p:nvPr userDrawn="1">
            <p:custDataLst>
              <p:tags r:id="rId38"/>
            </p:custDataLst>
            <p:extLst>
              <p:ext uri="{D42A27DB-BD31-4B8C-83A1-F6EECF244321}">
                <p14:modId xmlns:p14="http://schemas.microsoft.com/office/powerpoint/2010/main" val="1886715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25" imgH="426" progId="TCLayout.ActiveDocument.1">
                  <p:embed/>
                </p:oleObj>
              </mc:Choice>
              <mc:Fallback>
                <p:oleObj name="think-cell Slide" r:id="rId40" imgW="425" imgH="426" progId="TCLayout.ActiveDocument.1">
                  <p:embed/>
                  <p:pic>
                    <p:nvPicPr>
                      <p:cNvPr id="8" name="Object 7" hidden="1">
                        <a:extLst>
                          <a:ext uri="{FF2B5EF4-FFF2-40B4-BE49-F238E27FC236}">
                            <a16:creationId xmlns:a16="http://schemas.microsoft.com/office/drawing/2014/main" id="{0F01376A-4F6C-4427-9AC0-67FB4C2B0704}"/>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9302799-8A9B-47DC-8DBF-34AF7857573E}"/>
              </a:ext>
            </a:extLst>
          </p:cNvPr>
          <p:cNvSpPr/>
          <p:nvPr userDrawn="1">
            <p:custDataLst>
              <p:tags r:id="rId3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grpSp>
        <p:nvGrpSpPr>
          <p:cNvPr id="27" name="Group 26">
            <a:extLst>
              <a:ext uri="{FF2B5EF4-FFF2-40B4-BE49-F238E27FC236}">
                <a16:creationId xmlns:a16="http://schemas.microsoft.com/office/drawing/2014/main" id="{87B31061-A44E-4C9C-B07F-D8CDA855BC79}"/>
              </a:ext>
            </a:extLst>
          </p:cNvPr>
          <p:cNvGrpSpPr/>
          <p:nvPr userDrawn="1"/>
        </p:nvGrpSpPr>
        <p:grpSpPr>
          <a:xfrm>
            <a:off x="11998459" y="6162188"/>
            <a:ext cx="68500" cy="441924"/>
            <a:chOff x="11998459" y="6162188"/>
            <a:chExt cx="68500" cy="441924"/>
          </a:xfrm>
        </p:grpSpPr>
        <p:sp>
          <p:nvSpPr>
            <p:cNvPr id="11" name="Freeform: Shape 10">
              <a:extLst>
                <a:ext uri="{FF2B5EF4-FFF2-40B4-BE49-F238E27FC236}">
                  <a16:creationId xmlns:a16="http://schemas.microsoft.com/office/drawing/2014/main" id="{18093E00-38A0-4CF7-8C69-DC28CFFA7EF3}"/>
                </a:ext>
              </a:extLst>
            </p:cNvPr>
            <p:cNvSpPr/>
            <p:nvPr/>
          </p:nvSpPr>
          <p:spPr>
            <a:xfrm rot="16200000">
              <a:off x="12063068" y="6476346"/>
              <a:ext cx="17" cy="1717"/>
            </a:xfrm>
            <a:custGeom>
              <a:avLst/>
              <a:gdLst>
                <a:gd name="connsiteX0" fmla="*/ 0 w 17"/>
                <a:gd name="connsiteY0" fmla="*/ 0 h 1717"/>
                <a:gd name="connsiteX1" fmla="*/ 17 w 17"/>
                <a:gd name="connsiteY1" fmla="*/ 0 h 1717"/>
                <a:gd name="connsiteX2" fmla="*/ 17 w 17"/>
                <a:gd name="connsiteY2" fmla="*/ 0 h 1717"/>
                <a:gd name="connsiteX3" fmla="*/ 0 w 17"/>
                <a:gd name="connsiteY3" fmla="*/ 0 h 1717"/>
              </a:gdLst>
              <a:ahLst/>
              <a:cxnLst>
                <a:cxn ang="0">
                  <a:pos x="connsiteX0" y="connsiteY0"/>
                </a:cxn>
                <a:cxn ang="0">
                  <a:pos x="connsiteX1" y="connsiteY1"/>
                </a:cxn>
                <a:cxn ang="0">
                  <a:pos x="connsiteX2" y="connsiteY2"/>
                </a:cxn>
                <a:cxn ang="0">
                  <a:pos x="connsiteX3" y="connsiteY3"/>
                </a:cxn>
              </a:cxnLst>
              <a:rect l="l" t="t" r="r" b="b"/>
              <a:pathLst>
                <a:path w="17" h="1717">
                  <a:moveTo>
                    <a:pt x="0" y="0"/>
                  </a:moveTo>
                  <a:lnTo>
                    <a:pt x="17" y="0"/>
                  </a:lnTo>
                  <a:lnTo>
                    <a:pt x="17" y="0"/>
                  </a:lnTo>
                  <a:lnTo>
                    <a:pt x="0" y="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Freeform: Shape 13">
              <a:extLst>
                <a:ext uri="{FF2B5EF4-FFF2-40B4-BE49-F238E27FC236}">
                  <a16:creationId xmlns:a16="http://schemas.microsoft.com/office/drawing/2014/main" id="{883A998E-3729-4FC5-A5CC-4DC84AB76CC9}"/>
                </a:ext>
              </a:extLst>
            </p:cNvPr>
            <p:cNvSpPr/>
            <p:nvPr/>
          </p:nvSpPr>
          <p:spPr>
            <a:xfrm rot="16200000">
              <a:off x="12023737" y="6455896"/>
              <a:ext cx="453" cy="271"/>
            </a:xfrm>
            <a:custGeom>
              <a:avLst/>
              <a:gdLst>
                <a:gd name="connsiteX0" fmla="*/ 0 w 453"/>
                <a:gd name="connsiteY0" fmla="*/ 0 h 271"/>
                <a:gd name="connsiteX1" fmla="*/ 447 w 453"/>
                <a:gd name="connsiteY1" fmla="*/ 240 h 271"/>
              </a:gdLst>
              <a:ahLst/>
              <a:cxnLst>
                <a:cxn ang="0">
                  <a:pos x="connsiteX0" y="connsiteY0"/>
                </a:cxn>
                <a:cxn ang="0">
                  <a:pos x="connsiteX1" y="connsiteY1"/>
                </a:cxn>
              </a:cxnLst>
              <a:rect l="l" t="t" r="r" b="b"/>
              <a:pathLst>
                <a:path w="453" h="271">
                  <a:moveTo>
                    <a:pt x="0" y="0"/>
                  </a:moveTo>
                  <a:cubicBezTo>
                    <a:pt x="258" y="172"/>
                    <a:pt x="498" y="344"/>
                    <a:pt x="447" y="24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Freeform: Shape 14">
              <a:extLst>
                <a:ext uri="{FF2B5EF4-FFF2-40B4-BE49-F238E27FC236}">
                  <a16:creationId xmlns:a16="http://schemas.microsoft.com/office/drawing/2014/main" id="{F98D7A59-77C4-4FFE-B4BC-D6D2E508A277}"/>
                </a:ext>
              </a:extLst>
            </p:cNvPr>
            <p:cNvSpPr/>
            <p:nvPr/>
          </p:nvSpPr>
          <p:spPr>
            <a:xfrm rot="16200000">
              <a:off x="12023907" y="6477766"/>
              <a:ext cx="15" cy="76"/>
            </a:xfrm>
            <a:custGeom>
              <a:avLst/>
              <a:gdLst>
                <a:gd name="connsiteX0" fmla="*/ 15 w 15"/>
                <a:gd name="connsiteY0" fmla="*/ 38 h 76"/>
                <a:gd name="connsiteX1" fmla="*/ 15 w 15"/>
                <a:gd name="connsiteY1" fmla="*/ 38 h 76"/>
                <a:gd name="connsiteX2" fmla="*/ 15 w 15"/>
                <a:gd name="connsiteY2" fmla="*/ 38 h 76"/>
              </a:gdLst>
              <a:ahLst/>
              <a:cxnLst>
                <a:cxn ang="0">
                  <a:pos x="connsiteX0" y="connsiteY0"/>
                </a:cxn>
                <a:cxn ang="0">
                  <a:pos x="connsiteX1" y="connsiteY1"/>
                </a:cxn>
                <a:cxn ang="0">
                  <a:pos x="connsiteX2" y="connsiteY2"/>
                </a:cxn>
              </a:cxnLst>
              <a:rect l="l" t="t" r="r" b="b"/>
              <a:pathLst>
                <a:path w="15" h="76">
                  <a:moveTo>
                    <a:pt x="15" y="38"/>
                  </a:moveTo>
                  <a:cubicBezTo>
                    <a:pt x="15" y="38"/>
                    <a:pt x="15" y="-48"/>
                    <a:pt x="15" y="38"/>
                  </a:cubicBezTo>
                  <a:cubicBezTo>
                    <a:pt x="15" y="124"/>
                    <a:pt x="-19" y="38"/>
                    <a:pt x="15" y="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Freeform: Shape 16">
              <a:extLst>
                <a:ext uri="{FF2B5EF4-FFF2-40B4-BE49-F238E27FC236}">
                  <a16:creationId xmlns:a16="http://schemas.microsoft.com/office/drawing/2014/main" id="{7E72B593-8E78-4A4E-8039-9E8AB005B734}"/>
                </a:ext>
              </a:extLst>
            </p:cNvPr>
            <p:cNvSpPr/>
            <p:nvPr/>
          </p:nvSpPr>
          <p:spPr>
            <a:xfrm rot="16200000">
              <a:off x="12021636" y="6473651"/>
              <a:ext cx="261" cy="103"/>
            </a:xfrm>
            <a:custGeom>
              <a:avLst/>
              <a:gdLst>
                <a:gd name="connsiteX0" fmla="*/ 262 w 261"/>
                <a:gd name="connsiteY0" fmla="*/ 0 h 103"/>
                <a:gd name="connsiteX1" fmla="*/ 56 w 261"/>
                <a:gd name="connsiteY1" fmla="*/ 103 h 103"/>
                <a:gd name="connsiteX2" fmla="*/ 56 w 261"/>
                <a:gd name="connsiteY2" fmla="*/ 103 h 103"/>
              </a:gdLst>
              <a:ahLst/>
              <a:cxnLst>
                <a:cxn ang="0">
                  <a:pos x="connsiteX0" y="connsiteY0"/>
                </a:cxn>
                <a:cxn ang="0">
                  <a:pos x="connsiteX1" y="connsiteY1"/>
                </a:cxn>
                <a:cxn ang="0">
                  <a:pos x="connsiteX2" y="connsiteY2"/>
                </a:cxn>
              </a:cxnLst>
              <a:rect l="l" t="t" r="r" b="b"/>
              <a:pathLst>
                <a:path w="261" h="103">
                  <a:moveTo>
                    <a:pt x="262" y="0"/>
                  </a:moveTo>
                  <a:lnTo>
                    <a:pt x="56" y="103"/>
                  </a:lnTo>
                  <a:cubicBezTo>
                    <a:pt x="176" y="103"/>
                    <a:pt x="-116" y="103"/>
                    <a:pt x="56" y="103"/>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Freeform: Shape 17">
              <a:extLst>
                <a:ext uri="{FF2B5EF4-FFF2-40B4-BE49-F238E27FC236}">
                  <a16:creationId xmlns:a16="http://schemas.microsoft.com/office/drawing/2014/main" id="{533BC9DA-DBAA-429C-9B2D-F5DE885FFA1A}"/>
                </a:ext>
              </a:extLst>
            </p:cNvPr>
            <p:cNvSpPr/>
            <p:nvPr/>
          </p:nvSpPr>
          <p:spPr>
            <a:xfrm rot="16200000">
              <a:off x="12015635" y="6442208"/>
              <a:ext cx="51323" cy="51323"/>
            </a:xfrm>
            <a:custGeom>
              <a:avLst/>
              <a:gdLst>
                <a:gd name="connsiteX0" fmla="*/ 25662 w 51323"/>
                <a:gd name="connsiteY0" fmla="*/ 0 h 51323"/>
                <a:gd name="connsiteX1" fmla="*/ 0 w 51323"/>
                <a:gd name="connsiteY1" fmla="*/ 25662 h 51323"/>
                <a:gd name="connsiteX2" fmla="*/ 25662 w 51323"/>
                <a:gd name="connsiteY2" fmla="*/ 51323 h 51323"/>
                <a:gd name="connsiteX3" fmla="*/ 51324 w 51323"/>
                <a:gd name="connsiteY3" fmla="*/ 25662 h 51323"/>
                <a:gd name="connsiteX4" fmla="*/ 51324 w 51323"/>
                <a:gd name="connsiteY4" fmla="*/ 25610 h 51323"/>
                <a:gd name="connsiteX5" fmla="*/ 25679 w 51323"/>
                <a:gd name="connsiteY5" fmla="*/ 0 h 51323"/>
                <a:gd name="connsiteX6" fmla="*/ 25662 w 51323"/>
                <a:gd name="connsiteY6" fmla="*/ 0 h 51323"/>
                <a:gd name="connsiteX7" fmla="*/ 26967 w 51323"/>
                <a:gd name="connsiteY7" fmla="*/ 15648 h 51323"/>
                <a:gd name="connsiteX8" fmla="*/ 26967 w 51323"/>
                <a:gd name="connsiteY8" fmla="*/ 15837 h 51323"/>
                <a:gd name="connsiteX9" fmla="*/ 26744 w 51323"/>
                <a:gd name="connsiteY9" fmla="*/ 15837 h 51323"/>
                <a:gd name="connsiteX10" fmla="*/ 26933 w 51323"/>
                <a:gd name="connsiteY10" fmla="*/ 16163 h 51323"/>
                <a:gd name="connsiteX11" fmla="*/ 27036 w 51323"/>
                <a:gd name="connsiteY11" fmla="*/ 16163 h 51323"/>
                <a:gd name="connsiteX12" fmla="*/ 27294 w 51323"/>
                <a:gd name="connsiteY12" fmla="*/ 16489 h 51323"/>
                <a:gd name="connsiteX13" fmla="*/ 27294 w 51323"/>
                <a:gd name="connsiteY13" fmla="*/ 16489 h 51323"/>
                <a:gd name="connsiteX14" fmla="*/ 27294 w 51323"/>
                <a:gd name="connsiteY14" fmla="*/ 16489 h 51323"/>
                <a:gd name="connsiteX15" fmla="*/ 27294 w 51323"/>
                <a:gd name="connsiteY15" fmla="*/ 16489 h 51323"/>
                <a:gd name="connsiteX16" fmla="*/ 27156 w 51323"/>
                <a:gd name="connsiteY16" fmla="*/ 16489 h 51323"/>
                <a:gd name="connsiteX17" fmla="*/ 27156 w 51323"/>
                <a:gd name="connsiteY17" fmla="*/ 16593 h 51323"/>
                <a:gd name="connsiteX18" fmla="*/ 27156 w 51323"/>
                <a:gd name="connsiteY18" fmla="*/ 16593 h 51323"/>
                <a:gd name="connsiteX19" fmla="*/ 27379 w 51323"/>
                <a:gd name="connsiteY19" fmla="*/ 16593 h 51323"/>
                <a:gd name="connsiteX20" fmla="*/ 27276 w 51323"/>
                <a:gd name="connsiteY20" fmla="*/ 16799 h 51323"/>
                <a:gd name="connsiteX21" fmla="*/ 26744 w 51323"/>
                <a:gd name="connsiteY21" fmla="*/ 16799 h 51323"/>
                <a:gd name="connsiteX22" fmla="*/ 26074 w 51323"/>
                <a:gd name="connsiteY22" fmla="*/ 16902 h 51323"/>
                <a:gd name="connsiteX23" fmla="*/ 25868 w 51323"/>
                <a:gd name="connsiteY23" fmla="*/ 16988 h 51323"/>
                <a:gd name="connsiteX24" fmla="*/ 25559 w 51323"/>
                <a:gd name="connsiteY24" fmla="*/ 17142 h 51323"/>
                <a:gd name="connsiteX25" fmla="*/ 25404 w 51323"/>
                <a:gd name="connsiteY25" fmla="*/ 17142 h 51323"/>
                <a:gd name="connsiteX26" fmla="*/ 25816 w 51323"/>
                <a:gd name="connsiteY26" fmla="*/ 16764 h 51323"/>
                <a:gd name="connsiteX27" fmla="*/ 26194 w 51323"/>
                <a:gd name="connsiteY27" fmla="*/ 16764 h 51323"/>
                <a:gd name="connsiteX28" fmla="*/ 26349 w 51323"/>
                <a:gd name="connsiteY28" fmla="*/ 16541 h 51323"/>
                <a:gd name="connsiteX29" fmla="*/ 26005 w 51323"/>
                <a:gd name="connsiteY29" fmla="*/ 16627 h 51323"/>
                <a:gd name="connsiteX30" fmla="*/ 25902 w 51323"/>
                <a:gd name="connsiteY30" fmla="*/ 16627 h 51323"/>
                <a:gd name="connsiteX31" fmla="*/ 25662 w 51323"/>
                <a:gd name="connsiteY31" fmla="*/ 16627 h 51323"/>
                <a:gd name="connsiteX32" fmla="*/ 25662 w 51323"/>
                <a:gd name="connsiteY32" fmla="*/ 16627 h 51323"/>
                <a:gd name="connsiteX33" fmla="*/ 25662 w 51323"/>
                <a:gd name="connsiteY33" fmla="*/ 16627 h 51323"/>
                <a:gd name="connsiteX34" fmla="*/ 26005 w 51323"/>
                <a:gd name="connsiteY34" fmla="*/ 16215 h 51323"/>
                <a:gd name="connsiteX35" fmla="*/ 25834 w 51323"/>
                <a:gd name="connsiteY35" fmla="*/ 16215 h 51323"/>
                <a:gd name="connsiteX36" fmla="*/ 26297 w 51323"/>
                <a:gd name="connsiteY36" fmla="*/ 16060 h 51323"/>
                <a:gd name="connsiteX37" fmla="*/ 26297 w 51323"/>
                <a:gd name="connsiteY37" fmla="*/ 16060 h 51323"/>
                <a:gd name="connsiteX38" fmla="*/ 26297 w 51323"/>
                <a:gd name="connsiteY38" fmla="*/ 15785 h 51323"/>
                <a:gd name="connsiteX39" fmla="*/ 26194 w 51323"/>
                <a:gd name="connsiteY39" fmla="*/ 15785 h 51323"/>
                <a:gd name="connsiteX40" fmla="*/ 26194 w 51323"/>
                <a:gd name="connsiteY40" fmla="*/ 15785 h 51323"/>
                <a:gd name="connsiteX41" fmla="*/ 26194 w 51323"/>
                <a:gd name="connsiteY41" fmla="*/ 15493 h 51323"/>
                <a:gd name="connsiteX42" fmla="*/ 25834 w 51323"/>
                <a:gd name="connsiteY42" fmla="*/ 15493 h 51323"/>
                <a:gd name="connsiteX43" fmla="*/ 25834 w 51323"/>
                <a:gd name="connsiteY43" fmla="*/ 15596 h 51323"/>
                <a:gd name="connsiteX44" fmla="*/ 25713 w 51323"/>
                <a:gd name="connsiteY44" fmla="*/ 15596 h 51323"/>
                <a:gd name="connsiteX45" fmla="*/ 25713 w 51323"/>
                <a:gd name="connsiteY45" fmla="*/ 15459 h 51323"/>
                <a:gd name="connsiteX46" fmla="*/ 25713 w 51323"/>
                <a:gd name="connsiteY46" fmla="*/ 15459 h 51323"/>
                <a:gd name="connsiteX47" fmla="*/ 25816 w 51323"/>
                <a:gd name="connsiteY47" fmla="*/ 15236 h 51323"/>
                <a:gd name="connsiteX48" fmla="*/ 25816 w 51323"/>
                <a:gd name="connsiteY48" fmla="*/ 15064 h 51323"/>
                <a:gd name="connsiteX49" fmla="*/ 25816 w 51323"/>
                <a:gd name="connsiteY49" fmla="*/ 14961 h 51323"/>
                <a:gd name="connsiteX50" fmla="*/ 25816 w 51323"/>
                <a:gd name="connsiteY50" fmla="*/ 15081 h 51323"/>
                <a:gd name="connsiteX51" fmla="*/ 25816 w 51323"/>
                <a:gd name="connsiteY51" fmla="*/ 15081 h 51323"/>
                <a:gd name="connsiteX52" fmla="*/ 25816 w 51323"/>
                <a:gd name="connsiteY52" fmla="*/ 15081 h 51323"/>
                <a:gd name="connsiteX53" fmla="*/ 25816 w 51323"/>
                <a:gd name="connsiteY53" fmla="*/ 15081 h 51323"/>
                <a:gd name="connsiteX54" fmla="*/ 25816 w 51323"/>
                <a:gd name="connsiteY54" fmla="*/ 15356 h 51323"/>
                <a:gd name="connsiteX55" fmla="*/ 25816 w 51323"/>
                <a:gd name="connsiteY55" fmla="*/ 15167 h 51323"/>
                <a:gd name="connsiteX56" fmla="*/ 25919 w 51323"/>
                <a:gd name="connsiteY56" fmla="*/ 14823 h 51323"/>
                <a:gd name="connsiteX57" fmla="*/ 25919 w 51323"/>
                <a:gd name="connsiteY57" fmla="*/ 14823 h 51323"/>
                <a:gd name="connsiteX58" fmla="*/ 25731 w 51323"/>
                <a:gd name="connsiteY58" fmla="*/ 14823 h 51323"/>
                <a:gd name="connsiteX59" fmla="*/ 25731 w 51323"/>
                <a:gd name="connsiteY59" fmla="*/ 14823 h 51323"/>
                <a:gd name="connsiteX60" fmla="*/ 25868 w 51323"/>
                <a:gd name="connsiteY60" fmla="*/ 14737 h 51323"/>
                <a:gd name="connsiteX61" fmla="*/ 25868 w 51323"/>
                <a:gd name="connsiteY61" fmla="*/ 14737 h 51323"/>
                <a:gd name="connsiteX62" fmla="*/ 25868 w 51323"/>
                <a:gd name="connsiteY62" fmla="*/ 14737 h 51323"/>
                <a:gd name="connsiteX63" fmla="*/ 25868 w 51323"/>
                <a:gd name="connsiteY63" fmla="*/ 14737 h 51323"/>
                <a:gd name="connsiteX64" fmla="*/ 25868 w 51323"/>
                <a:gd name="connsiteY64" fmla="*/ 14737 h 51323"/>
                <a:gd name="connsiteX65" fmla="*/ 25868 w 51323"/>
                <a:gd name="connsiteY65" fmla="*/ 14737 h 51323"/>
                <a:gd name="connsiteX66" fmla="*/ 25868 w 51323"/>
                <a:gd name="connsiteY66" fmla="*/ 14652 h 51323"/>
                <a:gd name="connsiteX67" fmla="*/ 25868 w 51323"/>
                <a:gd name="connsiteY67" fmla="*/ 14652 h 51323"/>
                <a:gd name="connsiteX68" fmla="*/ 25868 w 51323"/>
                <a:gd name="connsiteY68" fmla="*/ 14514 h 51323"/>
                <a:gd name="connsiteX69" fmla="*/ 25868 w 51323"/>
                <a:gd name="connsiteY69" fmla="*/ 14514 h 51323"/>
                <a:gd name="connsiteX70" fmla="*/ 25868 w 51323"/>
                <a:gd name="connsiteY70" fmla="*/ 14514 h 51323"/>
                <a:gd name="connsiteX71" fmla="*/ 25971 w 51323"/>
                <a:gd name="connsiteY71" fmla="*/ 14514 h 51323"/>
                <a:gd name="connsiteX72" fmla="*/ 25971 w 51323"/>
                <a:gd name="connsiteY72" fmla="*/ 14428 h 51323"/>
                <a:gd name="connsiteX73" fmla="*/ 26126 w 51323"/>
                <a:gd name="connsiteY73" fmla="*/ 14291 h 51323"/>
                <a:gd name="connsiteX74" fmla="*/ 26126 w 51323"/>
                <a:gd name="connsiteY74" fmla="*/ 14291 h 51323"/>
                <a:gd name="connsiteX75" fmla="*/ 26126 w 51323"/>
                <a:gd name="connsiteY75" fmla="*/ 14531 h 51323"/>
                <a:gd name="connsiteX76" fmla="*/ 26126 w 51323"/>
                <a:gd name="connsiteY76" fmla="*/ 14531 h 51323"/>
                <a:gd name="connsiteX77" fmla="*/ 26486 w 51323"/>
                <a:gd name="connsiteY77" fmla="*/ 14531 h 51323"/>
                <a:gd name="connsiteX78" fmla="*/ 26263 w 51323"/>
                <a:gd name="connsiteY78" fmla="*/ 14995 h 51323"/>
                <a:gd name="connsiteX79" fmla="*/ 26263 w 51323"/>
                <a:gd name="connsiteY79" fmla="*/ 14995 h 51323"/>
                <a:gd name="connsiteX80" fmla="*/ 26005 w 51323"/>
                <a:gd name="connsiteY80" fmla="*/ 14995 h 51323"/>
                <a:gd name="connsiteX81" fmla="*/ 26224 w 51323"/>
                <a:gd name="connsiteY81" fmla="*/ 15000 h 51323"/>
                <a:gd name="connsiteX82" fmla="*/ 26229 w 51323"/>
                <a:gd name="connsiteY82" fmla="*/ 14995 h 51323"/>
                <a:gd name="connsiteX83" fmla="*/ 26589 w 51323"/>
                <a:gd name="connsiteY83" fmla="*/ 15579 h 51323"/>
                <a:gd name="connsiteX84" fmla="*/ 26967 w 51323"/>
                <a:gd name="connsiteY84" fmla="*/ 15613 h 51323"/>
                <a:gd name="connsiteX85" fmla="*/ 18138 w 51323"/>
                <a:gd name="connsiteY85" fmla="*/ 47476 h 51323"/>
                <a:gd name="connsiteX86" fmla="*/ 18138 w 51323"/>
                <a:gd name="connsiteY86" fmla="*/ 47476 h 51323"/>
                <a:gd name="connsiteX87" fmla="*/ 18138 w 51323"/>
                <a:gd name="connsiteY87" fmla="*/ 47476 h 51323"/>
                <a:gd name="connsiteX88" fmla="*/ 18138 w 51323"/>
                <a:gd name="connsiteY88" fmla="*/ 47476 h 51323"/>
                <a:gd name="connsiteX89" fmla="*/ 18224 w 51323"/>
                <a:gd name="connsiteY89" fmla="*/ 47476 h 51323"/>
                <a:gd name="connsiteX90" fmla="*/ 18224 w 51323"/>
                <a:gd name="connsiteY90" fmla="*/ 47476 h 51323"/>
                <a:gd name="connsiteX91" fmla="*/ 17984 w 51323"/>
                <a:gd name="connsiteY91" fmla="*/ 47338 h 51323"/>
                <a:gd name="connsiteX92" fmla="*/ 17984 w 51323"/>
                <a:gd name="connsiteY92" fmla="*/ 47338 h 51323"/>
                <a:gd name="connsiteX93" fmla="*/ 17984 w 51323"/>
                <a:gd name="connsiteY93" fmla="*/ 47338 h 51323"/>
                <a:gd name="connsiteX94" fmla="*/ 18070 w 51323"/>
                <a:gd name="connsiteY94" fmla="*/ 47338 h 51323"/>
                <a:gd name="connsiteX95" fmla="*/ 18070 w 51323"/>
                <a:gd name="connsiteY95" fmla="*/ 47338 h 51323"/>
                <a:gd name="connsiteX96" fmla="*/ 18070 w 51323"/>
                <a:gd name="connsiteY96" fmla="*/ 47338 h 51323"/>
                <a:gd name="connsiteX97" fmla="*/ 17795 w 51323"/>
                <a:gd name="connsiteY97" fmla="*/ 47218 h 51323"/>
                <a:gd name="connsiteX98" fmla="*/ 17795 w 51323"/>
                <a:gd name="connsiteY98" fmla="*/ 47218 h 51323"/>
                <a:gd name="connsiteX99" fmla="*/ 17795 w 51323"/>
                <a:gd name="connsiteY99" fmla="*/ 47218 h 51323"/>
                <a:gd name="connsiteX100" fmla="*/ 17692 w 51323"/>
                <a:gd name="connsiteY100" fmla="*/ 47218 h 51323"/>
                <a:gd name="connsiteX101" fmla="*/ 17692 w 51323"/>
                <a:gd name="connsiteY101" fmla="*/ 47218 h 51323"/>
                <a:gd name="connsiteX102" fmla="*/ 17692 w 51323"/>
                <a:gd name="connsiteY102" fmla="*/ 47218 h 51323"/>
                <a:gd name="connsiteX103" fmla="*/ 17692 w 51323"/>
                <a:gd name="connsiteY103" fmla="*/ 47218 h 51323"/>
                <a:gd name="connsiteX104" fmla="*/ 17864 w 51323"/>
                <a:gd name="connsiteY104" fmla="*/ 47218 h 51323"/>
                <a:gd name="connsiteX105" fmla="*/ 17658 w 51323"/>
                <a:gd name="connsiteY105" fmla="*/ 47218 h 51323"/>
                <a:gd name="connsiteX106" fmla="*/ 17658 w 51323"/>
                <a:gd name="connsiteY106" fmla="*/ 47218 h 51323"/>
                <a:gd name="connsiteX107" fmla="*/ 17417 w 51323"/>
                <a:gd name="connsiteY107" fmla="*/ 47115 h 51323"/>
                <a:gd name="connsiteX108" fmla="*/ 17417 w 51323"/>
                <a:gd name="connsiteY108" fmla="*/ 47115 h 51323"/>
                <a:gd name="connsiteX109" fmla="*/ 17417 w 51323"/>
                <a:gd name="connsiteY109" fmla="*/ 47115 h 51323"/>
                <a:gd name="connsiteX110" fmla="*/ 17280 w 51323"/>
                <a:gd name="connsiteY110" fmla="*/ 47115 h 51323"/>
                <a:gd name="connsiteX111" fmla="*/ 17469 w 51323"/>
                <a:gd name="connsiteY111" fmla="*/ 47218 h 51323"/>
                <a:gd name="connsiteX112" fmla="*/ 17194 w 51323"/>
                <a:gd name="connsiteY112" fmla="*/ 47081 h 51323"/>
                <a:gd name="connsiteX113" fmla="*/ 17194 w 51323"/>
                <a:gd name="connsiteY113" fmla="*/ 47081 h 51323"/>
                <a:gd name="connsiteX114" fmla="*/ 17366 w 51323"/>
                <a:gd name="connsiteY114" fmla="*/ 47081 h 51323"/>
                <a:gd name="connsiteX115" fmla="*/ 17228 w 51323"/>
                <a:gd name="connsiteY115" fmla="*/ 47081 h 51323"/>
                <a:gd name="connsiteX116" fmla="*/ 17366 w 51323"/>
                <a:gd name="connsiteY116" fmla="*/ 47081 h 51323"/>
                <a:gd name="connsiteX117" fmla="*/ 17108 w 51323"/>
                <a:gd name="connsiteY117" fmla="*/ 46961 h 51323"/>
                <a:gd name="connsiteX118" fmla="*/ 17108 w 51323"/>
                <a:gd name="connsiteY118" fmla="*/ 46961 h 51323"/>
                <a:gd name="connsiteX119" fmla="*/ 17005 w 51323"/>
                <a:gd name="connsiteY119" fmla="*/ 46961 h 51323"/>
                <a:gd name="connsiteX120" fmla="*/ 17005 w 51323"/>
                <a:gd name="connsiteY120" fmla="*/ 46961 h 51323"/>
                <a:gd name="connsiteX121" fmla="*/ 16782 w 51323"/>
                <a:gd name="connsiteY121" fmla="*/ 46858 h 51323"/>
                <a:gd name="connsiteX122" fmla="*/ 16782 w 51323"/>
                <a:gd name="connsiteY122" fmla="*/ 46858 h 51323"/>
                <a:gd name="connsiteX123" fmla="*/ 16696 w 51323"/>
                <a:gd name="connsiteY123" fmla="*/ 46858 h 51323"/>
                <a:gd name="connsiteX124" fmla="*/ 16696 w 51323"/>
                <a:gd name="connsiteY124" fmla="*/ 46858 h 51323"/>
                <a:gd name="connsiteX125" fmla="*/ 16301 w 51323"/>
                <a:gd name="connsiteY125" fmla="*/ 46651 h 51323"/>
                <a:gd name="connsiteX126" fmla="*/ 16301 w 51323"/>
                <a:gd name="connsiteY126" fmla="*/ 46651 h 51323"/>
                <a:gd name="connsiteX127" fmla="*/ 16129 w 51323"/>
                <a:gd name="connsiteY127" fmla="*/ 46548 h 51323"/>
                <a:gd name="connsiteX128" fmla="*/ 16283 w 51323"/>
                <a:gd name="connsiteY128" fmla="*/ 46651 h 51323"/>
                <a:gd name="connsiteX129" fmla="*/ 15940 w 51323"/>
                <a:gd name="connsiteY129" fmla="*/ 46462 h 51323"/>
                <a:gd name="connsiteX130" fmla="*/ 15940 w 51323"/>
                <a:gd name="connsiteY130" fmla="*/ 46462 h 51323"/>
                <a:gd name="connsiteX131" fmla="*/ 15837 w 51323"/>
                <a:gd name="connsiteY131" fmla="*/ 46462 h 51323"/>
                <a:gd name="connsiteX132" fmla="*/ 15837 w 51323"/>
                <a:gd name="connsiteY132" fmla="*/ 46462 h 51323"/>
                <a:gd name="connsiteX133" fmla="*/ 15665 w 51323"/>
                <a:gd name="connsiteY133" fmla="*/ 46359 h 51323"/>
                <a:gd name="connsiteX134" fmla="*/ 15665 w 51323"/>
                <a:gd name="connsiteY134" fmla="*/ 46359 h 51323"/>
                <a:gd name="connsiteX135" fmla="*/ 15665 w 51323"/>
                <a:gd name="connsiteY135" fmla="*/ 46359 h 51323"/>
                <a:gd name="connsiteX136" fmla="*/ 15665 w 51323"/>
                <a:gd name="connsiteY136" fmla="*/ 46359 h 51323"/>
                <a:gd name="connsiteX137" fmla="*/ 15510 w 51323"/>
                <a:gd name="connsiteY137" fmla="*/ 46274 h 51323"/>
                <a:gd name="connsiteX138" fmla="*/ 15510 w 51323"/>
                <a:gd name="connsiteY138" fmla="*/ 46274 h 51323"/>
                <a:gd name="connsiteX139" fmla="*/ 15339 w 51323"/>
                <a:gd name="connsiteY139" fmla="*/ 46153 h 51323"/>
                <a:gd name="connsiteX140" fmla="*/ 15339 w 51323"/>
                <a:gd name="connsiteY140" fmla="*/ 46153 h 51323"/>
                <a:gd name="connsiteX141" fmla="*/ 15201 w 51323"/>
                <a:gd name="connsiteY141" fmla="*/ 46153 h 51323"/>
                <a:gd name="connsiteX142" fmla="*/ 15201 w 51323"/>
                <a:gd name="connsiteY142" fmla="*/ 46153 h 51323"/>
                <a:gd name="connsiteX143" fmla="*/ 15081 w 51323"/>
                <a:gd name="connsiteY143" fmla="*/ 46153 h 51323"/>
                <a:gd name="connsiteX144" fmla="*/ 15081 w 51323"/>
                <a:gd name="connsiteY144" fmla="*/ 46153 h 51323"/>
                <a:gd name="connsiteX145" fmla="*/ 15218 w 51323"/>
                <a:gd name="connsiteY145" fmla="*/ 46239 h 51323"/>
                <a:gd name="connsiteX146" fmla="*/ 15081 w 51323"/>
                <a:gd name="connsiteY146" fmla="*/ 46153 h 51323"/>
                <a:gd name="connsiteX147" fmla="*/ 15081 w 51323"/>
                <a:gd name="connsiteY147" fmla="*/ 46153 h 51323"/>
                <a:gd name="connsiteX148" fmla="*/ 14961 w 51323"/>
                <a:gd name="connsiteY148" fmla="*/ 46153 h 51323"/>
                <a:gd name="connsiteX149" fmla="*/ 14961 w 51323"/>
                <a:gd name="connsiteY149" fmla="*/ 46153 h 51323"/>
                <a:gd name="connsiteX150" fmla="*/ 14823 w 51323"/>
                <a:gd name="connsiteY150" fmla="*/ 46067 h 51323"/>
                <a:gd name="connsiteX151" fmla="*/ 15012 w 51323"/>
                <a:gd name="connsiteY151" fmla="*/ 46170 h 51323"/>
                <a:gd name="connsiteX152" fmla="*/ 15184 w 51323"/>
                <a:gd name="connsiteY152" fmla="*/ 46274 h 51323"/>
                <a:gd name="connsiteX153" fmla="*/ 14720 w 51323"/>
                <a:gd name="connsiteY153" fmla="*/ 45947 h 51323"/>
                <a:gd name="connsiteX154" fmla="*/ 14720 w 51323"/>
                <a:gd name="connsiteY154" fmla="*/ 45947 h 51323"/>
                <a:gd name="connsiteX155" fmla="*/ 13879 w 51323"/>
                <a:gd name="connsiteY155" fmla="*/ 45312 h 51323"/>
                <a:gd name="connsiteX156" fmla="*/ 13982 w 51323"/>
                <a:gd name="connsiteY156" fmla="*/ 45312 h 51323"/>
                <a:gd name="connsiteX157" fmla="*/ 13827 w 51323"/>
                <a:gd name="connsiteY157" fmla="*/ 45191 h 51323"/>
                <a:gd name="connsiteX158" fmla="*/ 13827 w 51323"/>
                <a:gd name="connsiteY158" fmla="*/ 45191 h 51323"/>
                <a:gd name="connsiteX159" fmla="*/ 13724 w 51323"/>
                <a:gd name="connsiteY159" fmla="*/ 45191 h 51323"/>
                <a:gd name="connsiteX160" fmla="*/ 13724 w 51323"/>
                <a:gd name="connsiteY160" fmla="*/ 45191 h 51323"/>
                <a:gd name="connsiteX161" fmla="*/ 13724 w 51323"/>
                <a:gd name="connsiteY161" fmla="*/ 45191 h 51323"/>
                <a:gd name="connsiteX162" fmla="*/ 13724 w 51323"/>
                <a:gd name="connsiteY162" fmla="*/ 45191 h 51323"/>
                <a:gd name="connsiteX163" fmla="*/ 13106 w 51323"/>
                <a:gd name="connsiteY163" fmla="*/ 44710 h 51323"/>
                <a:gd name="connsiteX164" fmla="*/ 13106 w 51323"/>
                <a:gd name="connsiteY164" fmla="*/ 44710 h 51323"/>
                <a:gd name="connsiteX165" fmla="*/ 12316 w 51323"/>
                <a:gd name="connsiteY165" fmla="*/ 44023 h 51323"/>
                <a:gd name="connsiteX166" fmla="*/ 12316 w 51323"/>
                <a:gd name="connsiteY166" fmla="*/ 44023 h 51323"/>
                <a:gd name="connsiteX167" fmla="*/ 9567 w 51323"/>
                <a:gd name="connsiteY167" fmla="*/ 40434 h 51323"/>
                <a:gd name="connsiteX168" fmla="*/ 9567 w 51323"/>
                <a:gd name="connsiteY168" fmla="*/ 40434 h 51323"/>
                <a:gd name="connsiteX169" fmla="*/ 8021 w 51323"/>
                <a:gd name="connsiteY169" fmla="*/ 37788 h 51323"/>
                <a:gd name="connsiteX170" fmla="*/ 8021 w 51323"/>
                <a:gd name="connsiteY170" fmla="*/ 37788 h 51323"/>
                <a:gd name="connsiteX171" fmla="*/ 5840 w 51323"/>
                <a:gd name="connsiteY171" fmla="*/ 33494 h 51323"/>
                <a:gd name="connsiteX172" fmla="*/ 5840 w 51323"/>
                <a:gd name="connsiteY172" fmla="*/ 33580 h 51323"/>
                <a:gd name="connsiteX173" fmla="*/ 5840 w 51323"/>
                <a:gd name="connsiteY173" fmla="*/ 33477 h 51323"/>
                <a:gd name="connsiteX174" fmla="*/ 5840 w 51323"/>
                <a:gd name="connsiteY174" fmla="*/ 33614 h 51323"/>
                <a:gd name="connsiteX175" fmla="*/ 5222 w 51323"/>
                <a:gd name="connsiteY175" fmla="*/ 30299 h 51323"/>
                <a:gd name="connsiteX176" fmla="*/ 5222 w 51323"/>
                <a:gd name="connsiteY176" fmla="*/ 30042 h 51323"/>
                <a:gd name="connsiteX177" fmla="*/ 5222 w 51323"/>
                <a:gd name="connsiteY177" fmla="*/ 30128 h 51323"/>
                <a:gd name="connsiteX178" fmla="*/ 5067 w 51323"/>
                <a:gd name="connsiteY178" fmla="*/ 29784 h 51323"/>
                <a:gd name="connsiteX179" fmla="*/ 5067 w 51323"/>
                <a:gd name="connsiteY179" fmla="*/ 29784 h 51323"/>
                <a:gd name="connsiteX180" fmla="*/ 5067 w 51323"/>
                <a:gd name="connsiteY180" fmla="*/ 29784 h 51323"/>
                <a:gd name="connsiteX181" fmla="*/ 5067 w 51323"/>
                <a:gd name="connsiteY181" fmla="*/ 29544 h 51323"/>
                <a:gd name="connsiteX182" fmla="*/ 5067 w 51323"/>
                <a:gd name="connsiteY182" fmla="*/ 29715 h 51323"/>
                <a:gd name="connsiteX183" fmla="*/ 4844 w 51323"/>
                <a:gd name="connsiteY183" fmla="*/ 28908 h 51323"/>
                <a:gd name="connsiteX184" fmla="*/ 4844 w 51323"/>
                <a:gd name="connsiteY184" fmla="*/ 29183 h 51323"/>
                <a:gd name="connsiteX185" fmla="*/ 4552 w 51323"/>
                <a:gd name="connsiteY185" fmla="*/ 27843 h 51323"/>
                <a:gd name="connsiteX186" fmla="*/ 4552 w 51323"/>
                <a:gd name="connsiteY186" fmla="*/ 27740 h 51323"/>
                <a:gd name="connsiteX187" fmla="*/ 4552 w 51323"/>
                <a:gd name="connsiteY187" fmla="*/ 27740 h 51323"/>
                <a:gd name="connsiteX188" fmla="*/ 4552 w 51323"/>
                <a:gd name="connsiteY188" fmla="*/ 27740 h 51323"/>
                <a:gd name="connsiteX189" fmla="*/ 4552 w 51323"/>
                <a:gd name="connsiteY189" fmla="*/ 27740 h 51323"/>
                <a:gd name="connsiteX190" fmla="*/ 4208 w 51323"/>
                <a:gd name="connsiteY190" fmla="*/ 26297 h 51323"/>
                <a:gd name="connsiteX191" fmla="*/ 4208 w 51323"/>
                <a:gd name="connsiteY191" fmla="*/ 26503 h 51323"/>
                <a:gd name="connsiteX192" fmla="*/ 4208 w 51323"/>
                <a:gd name="connsiteY192" fmla="*/ 26297 h 51323"/>
                <a:gd name="connsiteX193" fmla="*/ 4208 w 51323"/>
                <a:gd name="connsiteY193" fmla="*/ 26297 h 51323"/>
                <a:gd name="connsiteX194" fmla="*/ 4208 w 51323"/>
                <a:gd name="connsiteY194" fmla="*/ 26297 h 51323"/>
                <a:gd name="connsiteX195" fmla="*/ 4208 w 51323"/>
                <a:gd name="connsiteY195" fmla="*/ 26297 h 51323"/>
                <a:gd name="connsiteX196" fmla="*/ 4208 w 51323"/>
                <a:gd name="connsiteY196" fmla="*/ 26297 h 51323"/>
                <a:gd name="connsiteX197" fmla="*/ 4208 w 51323"/>
                <a:gd name="connsiteY197" fmla="*/ 26400 h 51323"/>
                <a:gd name="connsiteX198" fmla="*/ 4208 w 51323"/>
                <a:gd name="connsiteY198" fmla="*/ 26400 h 51323"/>
                <a:gd name="connsiteX199" fmla="*/ 4208 w 51323"/>
                <a:gd name="connsiteY199" fmla="*/ 26400 h 51323"/>
                <a:gd name="connsiteX200" fmla="*/ 4208 w 51323"/>
                <a:gd name="connsiteY200" fmla="*/ 26400 h 51323"/>
                <a:gd name="connsiteX201" fmla="*/ 4208 w 51323"/>
                <a:gd name="connsiteY201" fmla="*/ 26091 h 51323"/>
                <a:gd name="connsiteX202" fmla="*/ 4208 w 51323"/>
                <a:gd name="connsiteY202" fmla="*/ 26091 h 51323"/>
                <a:gd name="connsiteX203" fmla="*/ 4208 w 51323"/>
                <a:gd name="connsiteY203" fmla="*/ 25919 h 51323"/>
                <a:gd name="connsiteX204" fmla="*/ 4208 w 51323"/>
                <a:gd name="connsiteY204" fmla="*/ 25919 h 51323"/>
                <a:gd name="connsiteX205" fmla="*/ 4208 w 51323"/>
                <a:gd name="connsiteY205" fmla="*/ 25198 h 51323"/>
                <a:gd name="connsiteX206" fmla="*/ 4208 w 51323"/>
                <a:gd name="connsiteY206" fmla="*/ 25198 h 51323"/>
                <a:gd name="connsiteX207" fmla="*/ 4208 w 51323"/>
                <a:gd name="connsiteY207" fmla="*/ 25078 h 51323"/>
                <a:gd name="connsiteX208" fmla="*/ 4208 w 51323"/>
                <a:gd name="connsiteY208" fmla="*/ 25078 h 51323"/>
                <a:gd name="connsiteX209" fmla="*/ 19787 w 51323"/>
                <a:gd name="connsiteY209" fmla="*/ 4706 h 51323"/>
                <a:gd name="connsiteX210" fmla="*/ 19787 w 51323"/>
                <a:gd name="connsiteY210" fmla="*/ 4706 h 51323"/>
                <a:gd name="connsiteX211" fmla="*/ 19994 w 51323"/>
                <a:gd name="connsiteY211" fmla="*/ 4706 h 51323"/>
                <a:gd name="connsiteX212" fmla="*/ 19994 w 51323"/>
                <a:gd name="connsiteY212" fmla="*/ 4706 h 51323"/>
                <a:gd name="connsiteX213" fmla="*/ 20217 w 51323"/>
                <a:gd name="connsiteY213" fmla="*/ 4706 h 51323"/>
                <a:gd name="connsiteX214" fmla="*/ 20062 w 51323"/>
                <a:gd name="connsiteY214" fmla="*/ 4706 h 51323"/>
                <a:gd name="connsiteX215" fmla="*/ 20337 w 51323"/>
                <a:gd name="connsiteY215" fmla="*/ 4706 h 51323"/>
                <a:gd name="connsiteX216" fmla="*/ 20234 w 51323"/>
                <a:gd name="connsiteY216" fmla="*/ 4706 h 51323"/>
                <a:gd name="connsiteX217" fmla="*/ 20234 w 51323"/>
                <a:gd name="connsiteY217" fmla="*/ 4706 h 51323"/>
                <a:gd name="connsiteX218" fmla="*/ 20423 w 51323"/>
                <a:gd name="connsiteY218" fmla="*/ 4706 h 51323"/>
                <a:gd name="connsiteX219" fmla="*/ 20423 w 51323"/>
                <a:gd name="connsiteY219" fmla="*/ 4706 h 51323"/>
                <a:gd name="connsiteX220" fmla="*/ 21711 w 51323"/>
                <a:gd name="connsiteY220" fmla="*/ 4414 h 51323"/>
                <a:gd name="connsiteX221" fmla="*/ 21711 w 51323"/>
                <a:gd name="connsiteY221" fmla="*/ 4414 h 51323"/>
                <a:gd name="connsiteX222" fmla="*/ 22038 w 51323"/>
                <a:gd name="connsiteY222" fmla="*/ 4414 h 51323"/>
                <a:gd name="connsiteX223" fmla="*/ 21814 w 51323"/>
                <a:gd name="connsiteY223" fmla="*/ 4414 h 51323"/>
                <a:gd name="connsiteX224" fmla="*/ 21814 w 51323"/>
                <a:gd name="connsiteY224" fmla="*/ 4414 h 51323"/>
                <a:gd name="connsiteX225" fmla="*/ 22415 w 51323"/>
                <a:gd name="connsiteY225" fmla="*/ 4414 h 51323"/>
                <a:gd name="connsiteX226" fmla="*/ 22415 w 51323"/>
                <a:gd name="connsiteY226" fmla="*/ 4414 h 51323"/>
                <a:gd name="connsiteX227" fmla="*/ 22106 w 51323"/>
                <a:gd name="connsiteY227" fmla="*/ 4414 h 51323"/>
                <a:gd name="connsiteX228" fmla="*/ 22398 w 51323"/>
                <a:gd name="connsiteY228" fmla="*/ 4414 h 51323"/>
                <a:gd name="connsiteX229" fmla="*/ 22398 w 51323"/>
                <a:gd name="connsiteY229" fmla="*/ 4414 h 51323"/>
                <a:gd name="connsiteX230" fmla="*/ 22690 w 51323"/>
                <a:gd name="connsiteY230" fmla="*/ 4414 h 51323"/>
                <a:gd name="connsiteX231" fmla="*/ 22587 w 51323"/>
                <a:gd name="connsiteY231" fmla="*/ 4414 h 51323"/>
                <a:gd name="connsiteX232" fmla="*/ 22484 w 51323"/>
                <a:gd name="connsiteY232" fmla="*/ 4414 h 51323"/>
                <a:gd name="connsiteX233" fmla="*/ 22725 w 51323"/>
                <a:gd name="connsiteY233" fmla="*/ 4414 h 51323"/>
                <a:gd name="connsiteX234" fmla="*/ 22347 w 51323"/>
                <a:gd name="connsiteY234" fmla="*/ 4414 h 51323"/>
                <a:gd name="connsiteX235" fmla="*/ 22244 w 51323"/>
                <a:gd name="connsiteY235" fmla="*/ 4414 h 51323"/>
                <a:gd name="connsiteX236" fmla="*/ 22055 w 51323"/>
                <a:gd name="connsiteY236" fmla="*/ 4414 h 51323"/>
                <a:gd name="connsiteX237" fmla="*/ 22415 w 51323"/>
                <a:gd name="connsiteY237" fmla="*/ 4414 h 51323"/>
                <a:gd name="connsiteX238" fmla="*/ 22020 w 51323"/>
                <a:gd name="connsiteY238" fmla="*/ 4414 h 51323"/>
                <a:gd name="connsiteX239" fmla="*/ 22020 w 51323"/>
                <a:gd name="connsiteY239" fmla="*/ 4414 h 51323"/>
                <a:gd name="connsiteX240" fmla="*/ 21608 w 51323"/>
                <a:gd name="connsiteY240" fmla="*/ 4414 h 51323"/>
                <a:gd name="connsiteX241" fmla="*/ 21608 w 51323"/>
                <a:gd name="connsiteY241" fmla="*/ 4414 h 51323"/>
                <a:gd name="connsiteX242" fmla="*/ 21213 w 51323"/>
                <a:gd name="connsiteY242" fmla="*/ 4500 h 51323"/>
                <a:gd name="connsiteX243" fmla="*/ 21385 w 51323"/>
                <a:gd name="connsiteY243" fmla="*/ 4500 h 51323"/>
                <a:gd name="connsiteX244" fmla="*/ 21385 w 51323"/>
                <a:gd name="connsiteY244" fmla="*/ 4500 h 51323"/>
                <a:gd name="connsiteX245" fmla="*/ 20973 w 51323"/>
                <a:gd name="connsiteY245" fmla="*/ 4586 h 51323"/>
                <a:gd name="connsiteX246" fmla="*/ 21144 w 51323"/>
                <a:gd name="connsiteY246" fmla="*/ 4586 h 51323"/>
                <a:gd name="connsiteX247" fmla="*/ 20955 w 51323"/>
                <a:gd name="connsiteY247" fmla="*/ 4586 h 51323"/>
                <a:gd name="connsiteX248" fmla="*/ 20955 w 51323"/>
                <a:gd name="connsiteY248" fmla="*/ 4586 h 51323"/>
                <a:gd name="connsiteX249" fmla="*/ 20835 w 51323"/>
                <a:gd name="connsiteY249" fmla="*/ 4586 h 51323"/>
                <a:gd name="connsiteX250" fmla="*/ 20835 w 51323"/>
                <a:gd name="connsiteY250" fmla="*/ 4586 h 51323"/>
                <a:gd name="connsiteX251" fmla="*/ 20835 w 51323"/>
                <a:gd name="connsiteY251" fmla="*/ 4586 h 51323"/>
                <a:gd name="connsiteX252" fmla="*/ 20835 w 51323"/>
                <a:gd name="connsiteY252" fmla="*/ 4586 h 51323"/>
                <a:gd name="connsiteX253" fmla="*/ 20835 w 51323"/>
                <a:gd name="connsiteY253" fmla="*/ 4586 h 51323"/>
                <a:gd name="connsiteX254" fmla="*/ 20663 w 51323"/>
                <a:gd name="connsiteY254" fmla="*/ 4586 h 51323"/>
                <a:gd name="connsiteX255" fmla="*/ 20663 w 51323"/>
                <a:gd name="connsiteY255" fmla="*/ 4586 h 51323"/>
                <a:gd name="connsiteX256" fmla="*/ 20663 w 51323"/>
                <a:gd name="connsiteY256" fmla="*/ 4586 h 51323"/>
                <a:gd name="connsiteX257" fmla="*/ 20663 w 51323"/>
                <a:gd name="connsiteY257" fmla="*/ 4586 h 51323"/>
                <a:gd name="connsiteX258" fmla="*/ 20560 w 51323"/>
                <a:gd name="connsiteY258" fmla="*/ 4586 h 51323"/>
                <a:gd name="connsiteX259" fmla="*/ 20560 w 51323"/>
                <a:gd name="connsiteY259" fmla="*/ 4586 h 51323"/>
                <a:gd name="connsiteX260" fmla="*/ 20114 w 51323"/>
                <a:gd name="connsiteY260" fmla="*/ 4706 h 51323"/>
                <a:gd name="connsiteX261" fmla="*/ 20114 w 51323"/>
                <a:gd name="connsiteY261" fmla="*/ 4706 h 51323"/>
                <a:gd name="connsiteX262" fmla="*/ 19787 w 51323"/>
                <a:gd name="connsiteY262" fmla="*/ 4827 h 51323"/>
                <a:gd name="connsiteX263" fmla="*/ 19787 w 51323"/>
                <a:gd name="connsiteY263" fmla="*/ 4827 h 51323"/>
                <a:gd name="connsiteX264" fmla="*/ 19392 w 51323"/>
                <a:gd name="connsiteY264" fmla="*/ 4947 h 51323"/>
                <a:gd name="connsiteX265" fmla="*/ 19392 w 51323"/>
                <a:gd name="connsiteY265" fmla="*/ 4947 h 51323"/>
                <a:gd name="connsiteX266" fmla="*/ 19100 w 51323"/>
                <a:gd name="connsiteY266" fmla="*/ 5153 h 51323"/>
                <a:gd name="connsiteX267" fmla="*/ 19100 w 51323"/>
                <a:gd name="connsiteY267" fmla="*/ 5153 h 51323"/>
                <a:gd name="connsiteX268" fmla="*/ 18997 w 51323"/>
                <a:gd name="connsiteY268" fmla="*/ 5153 h 51323"/>
                <a:gd name="connsiteX269" fmla="*/ 18997 w 51323"/>
                <a:gd name="connsiteY269" fmla="*/ 5153 h 51323"/>
                <a:gd name="connsiteX270" fmla="*/ 18430 w 51323"/>
                <a:gd name="connsiteY270" fmla="*/ 5359 h 51323"/>
                <a:gd name="connsiteX271" fmla="*/ 18568 w 51323"/>
                <a:gd name="connsiteY271" fmla="*/ 5359 h 51323"/>
                <a:gd name="connsiteX272" fmla="*/ 18568 w 51323"/>
                <a:gd name="connsiteY272" fmla="*/ 5359 h 51323"/>
                <a:gd name="connsiteX273" fmla="*/ 19169 w 51323"/>
                <a:gd name="connsiteY273" fmla="*/ 5187 h 51323"/>
                <a:gd name="connsiteX274" fmla="*/ 19169 w 51323"/>
                <a:gd name="connsiteY274" fmla="*/ 5187 h 51323"/>
                <a:gd name="connsiteX275" fmla="*/ 19341 w 51323"/>
                <a:gd name="connsiteY275" fmla="*/ 5187 h 51323"/>
                <a:gd name="connsiteX276" fmla="*/ 19461 w 51323"/>
                <a:gd name="connsiteY276" fmla="*/ 5187 h 51323"/>
                <a:gd name="connsiteX277" fmla="*/ 19186 w 51323"/>
                <a:gd name="connsiteY277" fmla="*/ 5187 h 51323"/>
                <a:gd name="connsiteX278" fmla="*/ 19186 w 51323"/>
                <a:gd name="connsiteY278" fmla="*/ 5187 h 51323"/>
                <a:gd name="connsiteX279" fmla="*/ 19032 w 51323"/>
                <a:gd name="connsiteY279" fmla="*/ 5187 h 51323"/>
                <a:gd name="connsiteX280" fmla="*/ 19032 w 51323"/>
                <a:gd name="connsiteY280" fmla="*/ 5187 h 51323"/>
                <a:gd name="connsiteX281" fmla="*/ 18911 w 51323"/>
                <a:gd name="connsiteY281" fmla="*/ 5187 h 51323"/>
                <a:gd name="connsiteX282" fmla="*/ 18911 w 51323"/>
                <a:gd name="connsiteY282" fmla="*/ 5187 h 51323"/>
                <a:gd name="connsiteX283" fmla="*/ 18740 w 51323"/>
                <a:gd name="connsiteY283" fmla="*/ 5187 h 51323"/>
                <a:gd name="connsiteX284" fmla="*/ 18740 w 51323"/>
                <a:gd name="connsiteY284" fmla="*/ 5187 h 51323"/>
                <a:gd name="connsiteX285" fmla="*/ 18894 w 51323"/>
                <a:gd name="connsiteY285" fmla="*/ 5187 h 51323"/>
                <a:gd name="connsiteX286" fmla="*/ 18894 w 51323"/>
                <a:gd name="connsiteY286" fmla="*/ 5187 h 51323"/>
                <a:gd name="connsiteX287" fmla="*/ 19049 w 51323"/>
                <a:gd name="connsiteY287" fmla="*/ 5187 h 51323"/>
                <a:gd name="connsiteX288" fmla="*/ 19049 w 51323"/>
                <a:gd name="connsiteY288" fmla="*/ 5187 h 51323"/>
                <a:gd name="connsiteX289" fmla="*/ 18860 w 51323"/>
                <a:gd name="connsiteY289" fmla="*/ 5187 h 51323"/>
                <a:gd name="connsiteX290" fmla="*/ 19032 w 51323"/>
                <a:gd name="connsiteY290" fmla="*/ 5187 h 51323"/>
                <a:gd name="connsiteX291" fmla="*/ 19186 w 51323"/>
                <a:gd name="connsiteY291" fmla="*/ 5187 h 51323"/>
                <a:gd name="connsiteX292" fmla="*/ 19289 w 51323"/>
                <a:gd name="connsiteY292" fmla="*/ 5187 h 51323"/>
                <a:gd name="connsiteX293" fmla="*/ 19650 w 51323"/>
                <a:gd name="connsiteY293" fmla="*/ 5084 h 51323"/>
                <a:gd name="connsiteX294" fmla="*/ 18482 w 51323"/>
                <a:gd name="connsiteY294" fmla="*/ 5497 h 51323"/>
                <a:gd name="connsiteX295" fmla="*/ 18654 w 51323"/>
                <a:gd name="connsiteY295" fmla="*/ 5497 h 51323"/>
                <a:gd name="connsiteX296" fmla="*/ 18654 w 51323"/>
                <a:gd name="connsiteY296" fmla="*/ 5497 h 51323"/>
                <a:gd name="connsiteX297" fmla="*/ 18740 w 51323"/>
                <a:gd name="connsiteY297" fmla="*/ 5497 h 51323"/>
                <a:gd name="connsiteX298" fmla="*/ 18894 w 51323"/>
                <a:gd name="connsiteY298" fmla="*/ 5497 h 51323"/>
                <a:gd name="connsiteX299" fmla="*/ 18894 w 51323"/>
                <a:gd name="connsiteY299" fmla="*/ 5497 h 51323"/>
                <a:gd name="connsiteX300" fmla="*/ 19032 w 51323"/>
                <a:gd name="connsiteY300" fmla="*/ 5497 h 51323"/>
                <a:gd name="connsiteX301" fmla="*/ 18722 w 51323"/>
                <a:gd name="connsiteY301" fmla="*/ 5617 h 51323"/>
                <a:gd name="connsiteX302" fmla="*/ 18722 w 51323"/>
                <a:gd name="connsiteY302" fmla="*/ 5617 h 51323"/>
                <a:gd name="connsiteX303" fmla="*/ 18585 w 51323"/>
                <a:gd name="connsiteY303" fmla="*/ 5617 h 51323"/>
                <a:gd name="connsiteX304" fmla="*/ 18585 w 51323"/>
                <a:gd name="connsiteY304" fmla="*/ 5617 h 51323"/>
                <a:gd name="connsiteX305" fmla="*/ 18413 w 51323"/>
                <a:gd name="connsiteY305" fmla="*/ 5617 h 51323"/>
                <a:gd name="connsiteX306" fmla="*/ 18688 w 51323"/>
                <a:gd name="connsiteY306" fmla="*/ 5617 h 51323"/>
                <a:gd name="connsiteX307" fmla="*/ 17743 w 51323"/>
                <a:gd name="connsiteY307" fmla="*/ 6098 h 51323"/>
                <a:gd name="connsiteX308" fmla="*/ 17743 w 51323"/>
                <a:gd name="connsiteY308" fmla="*/ 6098 h 51323"/>
                <a:gd name="connsiteX309" fmla="*/ 17554 w 51323"/>
                <a:gd name="connsiteY309" fmla="*/ 6201 h 51323"/>
                <a:gd name="connsiteX310" fmla="*/ 17743 w 51323"/>
                <a:gd name="connsiteY310" fmla="*/ 6201 h 51323"/>
                <a:gd name="connsiteX311" fmla="*/ 17743 w 51323"/>
                <a:gd name="connsiteY311" fmla="*/ 6201 h 51323"/>
                <a:gd name="connsiteX312" fmla="*/ 17743 w 51323"/>
                <a:gd name="connsiteY312" fmla="*/ 6201 h 51323"/>
                <a:gd name="connsiteX313" fmla="*/ 17159 w 51323"/>
                <a:gd name="connsiteY313" fmla="*/ 6476 h 51323"/>
                <a:gd name="connsiteX314" fmla="*/ 17159 w 51323"/>
                <a:gd name="connsiteY314" fmla="*/ 6476 h 51323"/>
                <a:gd name="connsiteX315" fmla="*/ 17039 w 51323"/>
                <a:gd name="connsiteY315" fmla="*/ 6476 h 51323"/>
                <a:gd name="connsiteX316" fmla="*/ 17039 w 51323"/>
                <a:gd name="connsiteY316" fmla="*/ 6476 h 51323"/>
                <a:gd name="connsiteX317" fmla="*/ 16867 w 51323"/>
                <a:gd name="connsiteY317" fmla="*/ 6579 h 51323"/>
                <a:gd name="connsiteX318" fmla="*/ 16867 w 51323"/>
                <a:gd name="connsiteY318" fmla="*/ 6579 h 51323"/>
                <a:gd name="connsiteX319" fmla="*/ 16730 w 51323"/>
                <a:gd name="connsiteY319" fmla="*/ 6716 h 51323"/>
                <a:gd name="connsiteX320" fmla="*/ 16730 w 51323"/>
                <a:gd name="connsiteY320" fmla="*/ 6716 h 51323"/>
                <a:gd name="connsiteX321" fmla="*/ 16730 w 51323"/>
                <a:gd name="connsiteY321" fmla="*/ 6716 h 51323"/>
                <a:gd name="connsiteX322" fmla="*/ 16730 w 51323"/>
                <a:gd name="connsiteY322" fmla="*/ 6716 h 51323"/>
                <a:gd name="connsiteX323" fmla="*/ 16730 w 51323"/>
                <a:gd name="connsiteY323" fmla="*/ 6716 h 51323"/>
                <a:gd name="connsiteX324" fmla="*/ 16885 w 51323"/>
                <a:gd name="connsiteY324" fmla="*/ 6716 h 51323"/>
                <a:gd name="connsiteX325" fmla="*/ 16627 w 51323"/>
                <a:gd name="connsiteY325" fmla="*/ 6853 h 51323"/>
                <a:gd name="connsiteX326" fmla="*/ 16627 w 51323"/>
                <a:gd name="connsiteY326" fmla="*/ 6853 h 51323"/>
                <a:gd name="connsiteX327" fmla="*/ 16386 w 51323"/>
                <a:gd name="connsiteY327" fmla="*/ 6991 h 51323"/>
                <a:gd name="connsiteX328" fmla="*/ 16558 w 51323"/>
                <a:gd name="connsiteY328" fmla="*/ 6991 h 51323"/>
                <a:gd name="connsiteX329" fmla="*/ 16077 w 51323"/>
                <a:gd name="connsiteY329" fmla="*/ 7266 h 51323"/>
                <a:gd name="connsiteX330" fmla="*/ 16077 w 51323"/>
                <a:gd name="connsiteY330" fmla="*/ 7266 h 51323"/>
                <a:gd name="connsiteX331" fmla="*/ 16077 w 51323"/>
                <a:gd name="connsiteY331" fmla="*/ 7266 h 51323"/>
                <a:gd name="connsiteX332" fmla="*/ 16833 w 51323"/>
                <a:gd name="connsiteY332" fmla="*/ 6888 h 51323"/>
                <a:gd name="connsiteX333" fmla="*/ 16833 w 51323"/>
                <a:gd name="connsiteY333" fmla="*/ 6888 h 51323"/>
                <a:gd name="connsiteX334" fmla="*/ 16833 w 51323"/>
                <a:gd name="connsiteY334" fmla="*/ 6888 h 51323"/>
                <a:gd name="connsiteX335" fmla="*/ 16833 w 51323"/>
                <a:gd name="connsiteY335" fmla="*/ 6888 h 51323"/>
                <a:gd name="connsiteX336" fmla="*/ 16936 w 51323"/>
                <a:gd name="connsiteY336" fmla="*/ 6888 h 51323"/>
                <a:gd name="connsiteX337" fmla="*/ 16833 w 51323"/>
                <a:gd name="connsiteY337" fmla="*/ 6888 h 51323"/>
                <a:gd name="connsiteX338" fmla="*/ 17056 w 51323"/>
                <a:gd name="connsiteY338" fmla="*/ 6785 h 51323"/>
                <a:gd name="connsiteX339" fmla="*/ 17056 w 51323"/>
                <a:gd name="connsiteY339" fmla="*/ 6785 h 51323"/>
                <a:gd name="connsiteX340" fmla="*/ 17159 w 51323"/>
                <a:gd name="connsiteY340" fmla="*/ 6785 h 51323"/>
                <a:gd name="connsiteX341" fmla="*/ 17039 w 51323"/>
                <a:gd name="connsiteY341" fmla="*/ 6785 h 51323"/>
                <a:gd name="connsiteX342" fmla="*/ 17142 w 51323"/>
                <a:gd name="connsiteY342" fmla="*/ 6785 h 51323"/>
                <a:gd name="connsiteX343" fmla="*/ 17022 w 51323"/>
                <a:gd name="connsiteY343" fmla="*/ 6785 h 51323"/>
                <a:gd name="connsiteX344" fmla="*/ 17022 w 51323"/>
                <a:gd name="connsiteY344" fmla="*/ 6785 h 51323"/>
                <a:gd name="connsiteX345" fmla="*/ 16885 w 51323"/>
                <a:gd name="connsiteY345" fmla="*/ 6785 h 51323"/>
                <a:gd name="connsiteX346" fmla="*/ 17005 w 51323"/>
                <a:gd name="connsiteY346" fmla="*/ 6785 h 51323"/>
                <a:gd name="connsiteX347" fmla="*/ 17314 w 51323"/>
                <a:gd name="connsiteY347" fmla="*/ 6785 h 51323"/>
                <a:gd name="connsiteX348" fmla="*/ 17314 w 51323"/>
                <a:gd name="connsiteY348" fmla="*/ 6785 h 51323"/>
                <a:gd name="connsiteX349" fmla="*/ 16696 w 51323"/>
                <a:gd name="connsiteY349" fmla="*/ 7145 h 51323"/>
                <a:gd name="connsiteX350" fmla="*/ 16696 w 51323"/>
                <a:gd name="connsiteY350" fmla="*/ 7145 h 51323"/>
                <a:gd name="connsiteX351" fmla="*/ 16696 w 51323"/>
                <a:gd name="connsiteY351" fmla="*/ 7145 h 51323"/>
                <a:gd name="connsiteX352" fmla="*/ 16696 w 51323"/>
                <a:gd name="connsiteY352" fmla="*/ 7145 h 51323"/>
                <a:gd name="connsiteX353" fmla="*/ 16696 w 51323"/>
                <a:gd name="connsiteY353" fmla="*/ 7145 h 51323"/>
                <a:gd name="connsiteX354" fmla="*/ 16696 w 51323"/>
                <a:gd name="connsiteY354" fmla="*/ 7145 h 51323"/>
                <a:gd name="connsiteX355" fmla="*/ 16696 w 51323"/>
                <a:gd name="connsiteY355" fmla="*/ 7145 h 51323"/>
                <a:gd name="connsiteX356" fmla="*/ 16455 w 51323"/>
                <a:gd name="connsiteY356" fmla="*/ 7300 h 51323"/>
                <a:gd name="connsiteX357" fmla="*/ 16455 w 51323"/>
                <a:gd name="connsiteY357" fmla="*/ 7300 h 51323"/>
                <a:gd name="connsiteX358" fmla="*/ 16455 w 51323"/>
                <a:gd name="connsiteY358" fmla="*/ 7386 h 51323"/>
                <a:gd name="connsiteX359" fmla="*/ 16610 w 51323"/>
                <a:gd name="connsiteY359" fmla="*/ 7386 h 51323"/>
                <a:gd name="connsiteX360" fmla="*/ 16610 w 51323"/>
                <a:gd name="connsiteY360" fmla="*/ 7386 h 51323"/>
                <a:gd name="connsiteX361" fmla="*/ 16610 w 51323"/>
                <a:gd name="connsiteY361" fmla="*/ 7489 h 51323"/>
                <a:gd name="connsiteX362" fmla="*/ 16610 w 51323"/>
                <a:gd name="connsiteY362" fmla="*/ 7489 h 51323"/>
                <a:gd name="connsiteX363" fmla="*/ 16610 w 51323"/>
                <a:gd name="connsiteY363" fmla="*/ 7489 h 51323"/>
                <a:gd name="connsiteX364" fmla="*/ 16610 w 51323"/>
                <a:gd name="connsiteY364" fmla="*/ 7592 h 51323"/>
                <a:gd name="connsiteX365" fmla="*/ 16970 w 51323"/>
                <a:gd name="connsiteY365" fmla="*/ 7334 h 51323"/>
                <a:gd name="connsiteX366" fmla="*/ 16970 w 51323"/>
                <a:gd name="connsiteY366" fmla="*/ 7334 h 51323"/>
                <a:gd name="connsiteX367" fmla="*/ 17108 w 51323"/>
                <a:gd name="connsiteY367" fmla="*/ 7334 h 51323"/>
                <a:gd name="connsiteX368" fmla="*/ 17245 w 51323"/>
                <a:gd name="connsiteY368" fmla="*/ 7334 h 51323"/>
                <a:gd name="connsiteX369" fmla="*/ 17142 w 51323"/>
                <a:gd name="connsiteY369" fmla="*/ 7334 h 51323"/>
                <a:gd name="connsiteX370" fmla="*/ 17142 w 51323"/>
                <a:gd name="connsiteY370" fmla="*/ 7334 h 51323"/>
                <a:gd name="connsiteX371" fmla="*/ 16988 w 51323"/>
                <a:gd name="connsiteY371" fmla="*/ 7437 h 51323"/>
                <a:gd name="connsiteX372" fmla="*/ 16988 w 51323"/>
                <a:gd name="connsiteY372" fmla="*/ 7437 h 51323"/>
                <a:gd name="connsiteX373" fmla="*/ 16867 w 51323"/>
                <a:gd name="connsiteY373" fmla="*/ 7437 h 51323"/>
                <a:gd name="connsiteX374" fmla="*/ 16610 w 51323"/>
                <a:gd name="connsiteY374" fmla="*/ 7575 h 51323"/>
                <a:gd name="connsiteX375" fmla="*/ 16610 w 51323"/>
                <a:gd name="connsiteY375" fmla="*/ 7575 h 51323"/>
                <a:gd name="connsiteX376" fmla="*/ 16421 w 51323"/>
                <a:gd name="connsiteY376" fmla="*/ 7678 h 51323"/>
                <a:gd name="connsiteX377" fmla="*/ 16421 w 51323"/>
                <a:gd name="connsiteY377" fmla="*/ 7678 h 51323"/>
                <a:gd name="connsiteX378" fmla="*/ 16283 w 51323"/>
                <a:gd name="connsiteY378" fmla="*/ 7678 h 51323"/>
                <a:gd name="connsiteX379" fmla="*/ 16283 w 51323"/>
                <a:gd name="connsiteY379" fmla="*/ 7678 h 51323"/>
                <a:gd name="connsiteX380" fmla="*/ 16283 w 51323"/>
                <a:gd name="connsiteY380" fmla="*/ 7678 h 51323"/>
                <a:gd name="connsiteX381" fmla="*/ 16129 w 51323"/>
                <a:gd name="connsiteY381" fmla="*/ 7678 h 51323"/>
                <a:gd name="connsiteX382" fmla="*/ 16129 w 51323"/>
                <a:gd name="connsiteY382" fmla="*/ 7678 h 51323"/>
                <a:gd name="connsiteX383" fmla="*/ 16129 w 51323"/>
                <a:gd name="connsiteY383" fmla="*/ 7678 h 51323"/>
                <a:gd name="connsiteX384" fmla="*/ 16129 w 51323"/>
                <a:gd name="connsiteY384" fmla="*/ 7678 h 51323"/>
                <a:gd name="connsiteX385" fmla="*/ 15820 w 51323"/>
                <a:gd name="connsiteY385" fmla="*/ 7867 h 51323"/>
                <a:gd name="connsiteX386" fmla="*/ 16043 w 51323"/>
                <a:gd name="connsiteY386" fmla="*/ 7747 h 51323"/>
                <a:gd name="connsiteX387" fmla="*/ 16043 w 51323"/>
                <a:gd name="connsiteY387" fmla="*/ 7747 h 51323"/>
                <a:gd name="connsiteX388" fmla="*/ 16318 w 51323"/>
                <a:gd name="connsiteY388" fmla="*/ 7644 h 51323"/>
                <a:gd name="connsiteX389" fmla="*/ 16198 w 51323"/>
                <a:gd name="connsiteY389" fmla="*/ 7644 h 51323"/>
                <a:gd name="connsiteX390" fmla="*/ 16747 w 51323"/>
                <a:gd name="connsiteY390" fmla="*/ 7352 h 51323"/>
                <a:gd name="connsiteX391" fmla="*/ 16747 w 51323"/>
                <a:gd name="connsiteY391" fmla="*/ 7352 h 51323"/>
                <a:gd name="connsiteX392" fmla="*/ 16747 w 51323"/>
                <a:gd name="connsiteY392" fmla="*/ 7352 h 51323"/>
                <a:gd name="connsiteX393" fmla="*/ 17400 w 51323"/>
                <a:gd name="connsiteY393" fmla="*/ 7077 h 51323"/>
                <a:gd name="connsiteX394" fmla="*/ 17262 w 51323"/>
                <a:gd name="connsiteY394" fmla="*/ 7077 h 51323"/>
                <a:gd name="connsiteX395" fmla="*/ 17262 w 51323"/>
                <a:gd name="connsiteY395" fmla="*/ 7077 h 51323"/>
                <a:gd name="connsiteX396" fmla="*/ 17520 w 51323"/>
                <a:gd name="connsiteY396" fmla="*/ 6991 h 51323"/>
                <a:gd name="connsiteX397" fmla="*/ 17846 w 51323"/>
                <a:gd name="connsiteY397" fmla="*/ 6768 h 51323"/>
                <a:gd name="connsiteX398" fmla="*/ 17846 w 51323"/>
                <a:gd name="connsiteY398" fmla="*/ 6768 h 51323"/>
                <a:gd name="connsiteX399" fmla="*/ 17846 w 51323"/>
                <a:gd name="connsiteY399" fmla="*/ 6768 h 51323"/>
                <a:gd name="connsiteX400" fmla="*/ 18482 w 51323"/>
                <a:gd name="connsiteY400" fmla="*/ 6476 h 51323"/>
                <a:gd name="connsiteX401" fmla="*/ 18482 w 51323"/>
                <a:gd name="connsiteY401" fmla="*/ 6476 h 51323"/>
                <a:gd name="connsiteX402" fmla="*/ 19066 w 51323"/>
                <a:gd name="connsiteY402" fmla="*/ 6235 h 51323"/>
                <a:gd name="connsiteX403" fmla="*/ 18911 w 51323"/>
                <a:gd name="connsiteY403" fmla="*/ 6321 h 51323"/>
                <a:gd name="connsiteX404" fmla="*/ 19427 w 51323"/>
                <a:gd name="connsiteY404" fmla="*/ 6115 h 51323"/>
                <a:gd name="connsiteX405" fmla="*/ 19238 w 51323"/>
                <a:gd name="connsiteY405" fmla="*/ 6252 h 51323"/>
                <a:gd name="connsiteX406" fmla="*/ 20303 w 51323"/>
                <a:gd name="connsiteY406" fmla="*/ 5909 h 51323"/>
                <a:gd name="connsiteX407" fmla="*/ 21024 w 51323"/>
                <a:gd name="connsiteY407" fmla="*/ 5651 h 51323"/>
                <a:gd name="connsiteX408" fmla="*/ 20303 w 51323"/>
                <a:gd name="connsiteY408" fmla="*/ 6149 h 51323"/>
                <a:gd name="connsiteX409" fmla="*/ 20303 w 51323"/>
                <a:gd name="connsiteY409" fmla="*/ 6149 h 51323"/>
                <a:gd name="connsiteX410" fmla="*/ 20406 w 51323"/>
                <a:gd name="connsiteY410" fmla="*/ 6149 h 51323"/>
                <a:gd name="connsiteX411" fmla="*/ 20492 w 51323"/>
                <a:gd name="connsiteY411" fmla="*/ 6235 h 51323"/>
                <a:gd name="connsiteX412" fmla="*/ 20354 w 51323"/>
                <a:gd name="connsiteY412" fmla="*/ 6235 h 51323"/>
                <a:gd name="connsiteX413" fmla="*/ 20165 w 51323"/>
                <a:gd name="connsiteY413" fmla="*/ 6355 h 51323"/>
                <a:gd name="connsiteX414" fmla="*/ 20337 w 51323"/>
                <a:gd name="connsiteY414" fmla="*/ 6355 h 51323"/>
                <a:gd name="connsiteX415" fmla="*/ 19856 w 51323"/>
                <a:gd name="connsiteY415" fmla="*/ 6716 h 51323"/>
                <a:gd name="connsiteX416" fmla="*/ 20097 w 51323"/>
                <a:gd name="connsiteY416" fmla="*/ 6716 h 51323"/>
                <a:gd name="connsiteX417" fmla="*/ 19667 w 51323"/>
                <a:gd name="connsiteY417" fmla="*/ 6939 h 51323"/>
                <a:gd name="connsiteX418" fmla="*/ 19495 w 51323"/>
                <a:gd name="connsiteY418" fmla="*/ 7145 h 51323"/>
                <a:gd name="connsiteX419" fmla="*/ 19358 w 51323"/>
                <a:gd name="connsiteY419" fmla="*/ 7266 h 51323"/>
                <a:gd name="connsiteX420" fmla="*/ 19358 w 51323"/>
                <a:gd name="connsiteY420" fmla="*/ 7352 h 51323"/>
                <a:gd name="connsiteX421" fmla="*/ 19358 w 51323"/>
                <a:gd name="connsiteY421" fmla="*/ 7523 h 51323"/>
                <a:gd name="connsiteX422" fmla="*/ 19049 w 51323"/>
                <a:gd name="connsiteY422" fmla="*/ 7626 h 51323"/>
                <a:gd name="connsiteX423" fmla="*/ 18860 w 51323"/>
                <a:gd name="connsiteY423" fmla="*/ 7918 h 51323"/>
                <a:gd name="connsiteX424" fmla="*/ 18860 w 51323"/>
                <a:gd name="connsiteY424" fmla="*/ 8039 h 51323"/>
                <a:gd name="connsiteX425" fmla="*/ 18705 w 51323"/>
                <a:gd name="connsiteY425" fmla="*/ 8399 h 51323"/>
                <a:gd name="connsiteX426" fmla="*/ 18551 w 51323"/>
                <a:gd name="connsiteY426" fmla="*/ 8588 h 51323"/>
                <a:gd name="connsiteX427" fmla="*/ 18396 w 51323"/>
                <a:gd name="connsiteY427" fmla="*/ 8829 h 51323"/>
                <a:gd name="connsiteX428" fmla="*/ 18190 w 51323"/>
                <a:gd name="connsiteY428" fmla="*/ 8966 h 51323"/>
                <a:gd name="connsiteX429" fmla="*/ 18190 w 51323"/>
                <a:gd name="connsiteY429" fmla="*/ 8966 h 51323"/>
                <a:gd name="connsiteX430" fmla="*/ 17846 w 51323"/>
                <a:gd name="connsiteY430" fmla="*/ 9155 h 51323"/>
                <a:gd name="connsiteX431" fmla="*/ 18224 w 51323"/>
                <a:gd name="connsiteY431" fmla="*/ 8605 h 51323"/>
                <a:gd name="connsiteX432" fmla="*/ 18224 w 51323"/>
                <a:gd name="connsiteY432" fmla="*/ 8434 h 51323"/>
                <a:gd name="connsiteX433" fmla="*/ 18053 w 51323"/>
                <a:gd name="connsiteY433" fmla="*/ 8434 h 51323"/>
                <a:gd name="connsiteX434" fmla="*/ 17486 w 51323"/>
                <a:gd name="connsiteY434" fmla="*/ 9155 h 51323"/>
                <a:gd name="connsiteX435" fmla="*/ 16747 w 51323"/>
                <a:gd name="connsiteY435" fmla="*/ 9842 h 51323"/>
                <a:gd name="connsiteX436" fmla="*/ 16747 w 51323"/>
                <a:gd name="connsiteY436" fmla="*/ 9396 h 51323"/>
                <a:gd name="connsiteX437" fmla="*/ 16524 w 51323"/>
                <a:gd name="connsiteY437" fmla="*/ 10306 h 51323"/>
                <a:gd name="connsiteX438" fmla="*/ 16799 w 51323"/>
                <a:gd name="connsiteY438" fmla="*/ 9069 h 51323"/>
                <a:gd name="connsiteX439" fmla="*/ 16558 w 51323"/>
                <a:gd name="connsiteY439" fmla="*/ 9069 h 51323"/>
                <a:gd name="connsiteX440" fmla="*/ 16301 w 51323"/>
                <a:gd name="connsiteY440" fmla="*/ 9069 h 51323"/>
                <a:gd name="connsiteX441" fmla="*/ 16850 w 51323"/>
                <a:gd name="connsiteY441" fmla="*/ 8794 h 51323"/>
                <a:gd name="connsiteX442" fmla="*/ 19530 w 51323"/>
                <a:gd name="connsiteY442" fmla="*/ 6733 h 51323"/>
                <a:gd name="connsiteX443" fmla="*/ 18980 w 51323"/>
                <a:gd name="connsiteY443" fmla="*/ 6733 h 51323"/>
                <a:gd name="connsiteX444" fmla="*/ 18980 w 51323"/>
                <a:gd name="connsiteY444" fmla="*/ 6561 h 51323"/>
                <a:gd name="connsiteX445" fmla="*/ 18980 w 51323"/>
                <a:gd name="connsiteY445" fmla="*/ 6373 h 51323"/>
                <a:gd name="connsiteX446" fmla="*/ 19083 w 51323"/>
                <a:gd name="connsiteY446" fmla="*/ 6373 h 51323"/>
                <a:gd name="connsiteX447" fmla="*/ 18929 w 51323"/>
                <a:gd name="connsiteY447" fmla="*/ 6458 h 51323"/>
                <a:gd name="connsiteX448" fmla="*/ 18173 w 51323"/>
                <a:gd name="connsiteY448" fmla="*/ 6871 h 51323"/>
                <a:gd name="connsiteX449" fmla="*/ 18173 w 51323"/>
                <a:gd name="connsiteY449" fmla="*/ 6871 h 51323"/>
                <a:gd name="connsiteX450" fmla="*/ 18293 w 51323"/>
                <a:gd name="connsiteY450" fmla="*/ 6871 h 51323"/>
                <a:gd name="connsiteX451" fmla="*/ 18242 w 51323"/>
                <a:gd name="connsiteY451" fmla="*/ 6871 h 51323"/>
                <a:gd name="connsiteX452" fmla="*/ 18242 w 51323"/>
                <a:gd name="connsiteY452" fmla="*/ 6871 h 51323"/>
                <a:gd name="connsiteX453" fmla="*/ 17898 w 51323"/>
                <a:gd name="connsiteY453" fmla="*/ 7025 h 51323"/>
                <a:gd name="connsiteX454" fmla="*/ 17898 w 51323"/>
                <a:gd name="connsiteY454" fmla="*/ 7025 h 51323"/>
                <a:gd name="connsiteX455" fmla="*/ 17898 w 51323"/>
                <a:gd name="connsiteY455" fmla="*/ 7025 h 51323"/>
                <a:gd name="connsiteX456" fmla="*/ 18001 w 51323"/>
                <a:gd name="connsiteY456" fmla="*/ 7025 h 51323"/>
                <a:gd name="connsiteX457" fmla="*/ 18001 w 51323"/>
                <a:gd name="connsiteY457" fmla="*/ 7025 h 51323"/>
                <a:gd name="connsiteX458" fmla="*/ 18001 w 51323"/>
                <a:gd name="connsiteY458" fmla="*/ 7025 h 51323"/>
                <a:gd name="connsiteX459" fmla="*/ 17829 w 51323"/>
                <a:gd name="connsiteY459" fmla="*/ 7025 h 51323"/>
                <a:gd name="connsiteX460" fmla="*/ 17829 w 51323"/>
                <a:gd name="connsiteY460" fmla="*/ 7025 h 51323"/>
                <a:gd name="connsiteX461" fmla="*/ 17829 w 51323"/>
                <a:gd name="connsiteY461" fmla="*/ 7025 h 51323"/>
                <a:gd name="connsiteX462" fmla="*/ 17177 w 51323"/>
                <a:gd name="connsiteY462" fmla="*/ 7437 h 51323"/>
                <a:gd name="connsiteX463" fmla="*/ 17434 w 51323"/>
                <a:gd name="connsiteY463" fmla="*/ 7334 h 51323"/>
                <a:gd name="connsiteX464" fmla="*/ 17434 w 51323"/>
                <a:gd name="connsiteY464" fmla="*/ 7334 h 51323"/>
                <a:gd name="connsiteX465" fmla="*/ 17864 w 51323"/>
                <a:gd name="connsiteY465" fmla="*/ 7111 h 51323"/>
                <a:gd name="connsiteX466" fmla="*/ 17331 w 51323"/>
                <a:gd name="connsiteY466" fmla="*/ 7489 h 51323"/>
                <a:gd name="connsiteX467" fmla="*/ 17331 w 51323"/>
                <a:gd name="connsiteY467" fmla="*/ 7489 h 51323"/>
                <a:gd name="connsiteX468" fmla="*/ 16644 w 51323"/>
                <a:gd name="connsiteY468" fmla="*/ 7970 h 51323"/>
                <a:gd name="connsiteX469" fmla="*/ 16799 w 51323"/>
                <a:gd name="connsiteY469" fmla="*/ 7884 h 51323"/>
                <a:gd name="connsiteX470" fmla="*/ 16799 w 51323"/>
                <a:gd name="connsiteY470" fmla="*/ 7884 h 51323"/>
                <a:gd name="connsiteX471" fmla="*/ 17675 w 51323"/>
                <a:gd name="connsiteY471" fmla="*/ 7437 h 51323"/>
                <a:gd name="connsiteX472" fmla="*/ 17675 w 51323"/>
                <a:gd name="connsiteY472" fmla="*/ 7437 h 51323"/>
                <a:gd name="connsiteX473" fmla="*/ 17675 w 51323"/>
                <a:gd name="connsiteY473" fmla="*/ 7437 h 51323"/>
                <a:gd name="connsiteX474" fmla="*/ 17812 w 51323"/>
                <a:gd name="connsiteY474" fmla="*/ 7352 h 51323"/>
                <a:gd name="connsiteX475" fmla="*/ 17812 w 51323"/>
                <a:gd name="connsiteY475" fmla="*/ 7352 h 51323"/>
                <a:gd name="connsiteX476" fmla="*/ 17932 w 51323"/>
                <a:gd name="connsiteY476" fmla="*/ 7352 h 51323"/>
                <a:gd name="connsiteX477" fmla="*/ 17932 w 51323"/>
                <a:gd name="connsiteY477" fmla="*/ 7352 h 51323"/>
                <a:gd name="connsiteX478" fmla="*/ 18362 w 51323"/>
                <a:gd name="connsiteY478" fmla="*/ 7111 h 51323"/>
                <a:gd name="connsiteX479" fmla="*/ 18362 w 51323"/>
                <a:gd name="connsiteY479" fmla="*/ 7266 h 51323"/>
                <a:gd name="connsiteX480" fmla="*/ 18362 w 51323"/>
                <a:gd name="connsiteY480" fmla="*/ 7266 h 51323"/>
                <a:gd name="connsiteX481" fmla="*/ 18242 w 51323"/>
                <a:gd name="connsiteY481" fmla="*/ 7386 h 51323"/>
                <a:gd name="connsiteX482" fmla="*/ 18104 w 51323"/>
                <a:gd name="connsiteY482" fmla="*/ 7489 h 51323"/>
                <a:gd name="connsiteX483" fmla="*/ 17898 w 51323"/>
                <a:gd name="connsiteY483" fmla="*/ 7626 h 51323"/>
                <a:gd name="connsiteX484" fmla="*/ 17898 w 51323"/>
                <a:gd name="connsiteY484" fmla="*/ 7626 h 51323"/>
                <a:gd name="connsiteX485" fmla="*/ 17898 w 51323"/>
                <a:gd name="connsiteY485" fmla="*/ 7626 h 51323"/>
                <a:gd name="connsiteX486" fmla="*/ 17692 w 51323"/>
                <a:gd name="connsiteY486" fmla="*/ 7626 h 51323"/>
                <a:gd name="connsiteX487" fmla="*/ 17692 w 51323"/>
                <a:gd name="connsiteY487" fmla="*/ 7626 h 51323"/>
                <a:gd name="connsiteX488" fmla="*/ 17537 w 51323"/>
                <a:gd name="connsiteY488" fmla="*/ 7729 h 51323"/>
                <a:gd name="connsiteX489" fmla="*/ 17537 w 51323"/>
                <a:gd name="connsiteY489" fmla="*/ 7729 h 51323"/>
                <a:gd name="connsiteX490" fmla="*/ 17537 w 51323"/>
                <a:gd name="connsiteY490" fmla="*/ 7729 h 51323"/>
                <a:gd name="connsiteX491" fmla="*/ 16438 w 51323"/>
                <a:gd name="connsiteY491" fmla="*/ 8296 h 51323"/>
                <a:gd name="connsiteX492" fmla="*/ 16524 w 51323"/>
                <a:gd name="connsiteY492" fmla="*/ 8245 h 51323"/>
                <a:gd name="connsiteX493" fmla="*/ 16524 w 51323"/>
                <a:gd name="connsiteY493" fmla="*/ 8245 h 51323"/>
                <a:gd name="connsiteX494" fmla="*/ 16661 w 51323"/>
                <a:gd name="connsiteY494" fmla="*/ 8125 h 51323"/>
                <a:gd name="connsiteX495" fmla="*/ 16661 w 51323"/>
                <a:gd name="connsiteY495" fmla="*/ 8125 h 51323"/>
                <a:gd name="connsiteX496" fmla="*/ 16661 w 51323"/>
                <a:gd name="connsiteY496" fmla="*/ 8125 h 51323"/>
                <a:gd name="connsiteX497" fmla="*/ 16301 w 51323"/>
                <a:gd name="connsiteY497" fmla="*/ 8451 h 51323"/>
                <a:gd name="connsiteX498" fmla="*/ 16404 w 51323"/>
                <a:gd name="connsiteY498" fmla="*/ 8296 h 51323"/>
                <a:gd name="connsiteX499" fmla="*/ 16283 w 51323"/>
                <a:gd name="connsiteY499" fmla="*/ 8399 h 51323"/>
                <a:gd name="connsiteX500" fmla="*/ 16283 w 51323"/>
                <a:gd name="connsiteY500" fmla="*/ 8399 h 51323"/>
                <a:gd name="connsiteX501" fmla="*/ 16283 w 51323"/>
                <a:gd name="connsiteY501" fmla="*/ 8399 h 51323"/>
                <a:gd name="connsiteX502" fmla="*/ 16438 w 51323"/>
                <a:gd name="connsiteY502" fmla="*/ 8279 h 51323"/>
                <a:gd name="connsiteX503" fmla="*/ 16438 w 51323"/>
                <a:gd name="connsiteY503" fmla="*/ 8279 h 51323"/>
                <a:gd name="connsiteX504" fmla="*/ 16438 w 51323"/>
                <a:gd name="connsiteY504" fmla="*/ 8279 h 51323"/>
                <a:gd name="connsiteX505" fmla="*/ 16438 w 51323"/>
                <a:gd name="connsiteY505" fmla="*/ 8279 h 51323"/>
                <a:gd name="connsiteX506" fmla="*/ 15837 w 51323"/>
                <a:gd name="connsiteY506" fmla="*/ 8657 h 51323"/>
                <a:gd name="connsiteX507" fmla="*/ 15837 w 51323"/>
                <a:gd name="connsiteY507" fmla="*/ 8657 h 51323"/>
                <a:gd name="connsiteX508" fmla="*/ 15837 w 51323"/>
                <a:gd name="connsiteY508" fmla="*/ 8365 h 51323"/>
                <a:gd name="connsiteX509" fmla="*/ 15287 w 51323"/>
                <a:gd name="connsiteY509" fmla="*/ 8932 h 51323"/>
                <a:gd name="connsiteX510" fmla="*/ 15287 w 51323"/>
                <a:gd name="connsiteY510" fmla="*/ 8932 h 51323"/>
                <a:gd name="connsiteX511" fmla="*/ 14841 w 51323"/>
                <a:gd name="connsiteY511" fmla="*/ 9138 h 51323"/>
                <a:gd name="connsiteX512" fmla="*/ 14841 w 51323"/>
                <a:gd name="connsiteY512" fmla="*/ 9138 h 51323"/>
                <a:gd name="connsiteX513" fmla="*/ 14841 w 51323"/>
                <a:gd name="connsiteY513" fmla="*/ 9138 h 51323"/>
                <a:gd name="connsiteX514" fmla="*/ 14841 w 51323"/>
                <a:gd name="connsiteY514" fmla="*/ 9138 h 51323"/>
                <a:gd name="connsiteX515" fmla="*/ 14961 w 51323"/>
                <a:gd name="connsiteY515" fmla="*/ 9035 h 51323"/>
                <a:gd name="connsiteX516" fmla="*/ 14806 w 51323"/>
                <a:gd name="connsiteY516" fmla="*/ 9121 h 51323"/>
                <a:gd name="connsiteX517" fmla="*/ 14909 w 51323"/>
                <a:gd name="connsiteY517" fmla="*/ 9018 h 51323"/>
                <a:gd name="connsiteX518" fmla="*/ 14686 w 51323"/>
                <a:gd name="connsiteY518" fmla="*/ 9138 h 51323"/>
                <a:gd name="connsiteX519" fmla="*/ 14531 w 51323"/>
                <a:gd name="connsiteY519" fmla="*/ 9258 h 51323"/>
                <a:gd name="connsiteX520" fmla="*/ 14789 w 51323"/>
                <a:gd name="connsiteY520" fmla="*/ 8846 h 51323"/>
                <a:gd name="connsiteX521" fmla="*/ 14789 w 51323"/>
                <a:gd name="connsiteY521" fmla="*/ 8846 h 51323"/>
                <a:gd name="connsiteX522" fmla="*/ 14789 w 51323"/>
                <a:gd name="connsiteY522" fmla="*/ 8846 h 51323"/>
                <a:gd name="connsiteX523" fmla="*/ 14703 w 51323"/>
                <a:gd name="connsiteY523" fmla="*/ 8949 h 51323"/>
                <a:gd name="connsiteX524" fmla="*/ 14549 w 51323"/>
                <a:gd name="connsiteY524" fmla="*/ 9121 h 51323"/>
                <a:gd name="connsiteX525" fmla="*/ 14686 w 51323"/>
                <a:gd name="connsiteY525" fmla="*/ 9121 h 51323"/>
                <a:gd name="connsiteX526" fmla="*/ 14411 w 51323"/>
                <a:gd name="connsiteY526" fmla="*/ 9121 h 51323"/>
                <a:gd name="connsiteX527" fmla="*/ 14085 w 51323"/>
                <a:gd name="connsiteY527" fmla="*/ 9447 h 51323"/>
                <a:gd name="connsiteX528" fmla="*/ 14085 w 51323"/>
                <a:gd name="connsiteY528" fmla="*/ 9447 h 51323"/>
                <a:gd name="connsiteX529" fmla="*/ 14085 w 51323"/>
                <a:gd name="connsiteY529" fmla="*/ 9447 h 51323"/>
                <a:gd name="connsiteX530" fmla="*/ 14085 w 51323"/>
                <a:gd name="connsiteY530" fmla="*/ 9447 h 51323"/>
                <a:gd name="connsiteX531" fmla="*/ 13930 w 51323"/>
                <a:gd name="connsiteY531" fmla="*/ 9585 h 51323"/>
                <a:gd name="connsiteX532" fmla="*/ 13930 w 51323"/>
                <a:gd name="connsiteY532" fmla="*/ 9585 h 51323"/>
                <a:gd name="connsiteX533" fmla="*/ 13776 w 51323"/>
                <a:gd name="connsiteY533" fmla="*/ 9585 h 51323"/>
                <a:gd name="connsiteX534" fmla="*/ 13123 w 51323"/>
                <a:gd name="connsiteY534" fmla="*/ 9945 h 51323"/>
                <a:gd name="connsiteX535" fmla="*/ 13123 w 51323"/>
                <a:gd name="connsiteY535" fmla="*/ 9945 h 51323"/>
                <a:gd name="connsiteX536" fmla="*/ 11903 w 51323"/>
                <a:gd name="connsiteY536" fmla="*/ 10907 h 51323"/>
                <a:gd name="connsiteX537" fmla="*/ 11525 w 51323"/>
                <a:gd name="connsiteY537" fmla="*/ 11405 h 51323"/>
                <a:gd name="connsiteX538" fmla="*/ 11525 w 51323"/>
                <a:gd name="connsiteY538" fmla="*/ 12092 h 51323"/>
                <a:gd name="connsiteX539" fmla="*/ 11525 w 51323"/>
                <a:gd name="connsiteY539" fmla="*/ 12092 h 51323"/>
                <a:gd name="connsiteX540" fmla="*/ 11405 w 51323"/>
                <a:gd name="connsiteY540" fmla="*/ 12556 h 51323"/>
                <a:gd name="connsiteX541" fmla="*/ 11629 w 51323"/>
                <a:gd name="connsiteY541" fmla="*/ 12693 h 51323"/>
                <a:gd name="connsiteX542" fmla="*/ 11629 w 51323"/>
                <a:gd name="connsiteY542" fmla="*/ 12693 h 51323"/>
                <a:gd name="connsiteX543" fmla="*/ 10392 w 51323"/>
                <a:gd name="connsiteY543" fmla="*/ 14325 h 51323"/>
                <a:gd name="connsiteX544" fmla="*/ 10753 w 51323"/>
                <a:gd name="connsiteY544" fmla="*/ 14188 h 51323"/>
                <a:gd name="connsiteX545" fmla="*/ 10649 w 51323"/>
                <a:gd name="connsiteY545" fmla="*/ 14514 h 51323"/>
                <a:gd name="connsiteX546" fmla="*/ 12608 w 51323"/>
                <a:gd name="connsiteY546" fmla="*/ 12590 h 51323"/>
                <a:gd name="connsiteX547" fmla="*/ 13999 w 51323"/>
                <a:gd name="connsiteY547" fmla="*/ 11148 h 51323"/>
                <a:gd name="connsiteX548" fmla="*/ 13999 w 51323"/>
                <a:gd name="connsiteY548" fmla="*/ 11148 h 51323"/>
                <a:gd name="connsiteX549" fmla="*/ 14205 w 51323"/>
                <a:gd name="connsiteY549" fmla="*/ 10976 h 51323"/>
                <a:gd name="connsiteX550" fmla="*/ 14325 w 51323"/>
                <a:gd name="connsiteY550" fmla="*/ 10856 h 51323"/>
                <a:gd name="connsiteX551" fmla="*/ 15081 w 51323"/>
                <a:gd name="connsiteY551" fmla="*/ 10409 h 51323"/>
                <a:gd name="connsiteX552" fmla="*/ 15201 w 51323"/>
                <a:gd name="connsiteY552" fmla="*/ 10409 h 51323"/>
                <a:gd name="connsiteX553" fmla="*/ 15201 w 51323"/>
                <a:gd name="connsiteY553" fmla="*/ 10409 h 51323"/>
                <a:gd name="connsiteX554" fmla="*/ 15304 w 51323"/>
                <a:gd name="connsiteY554" fmla="*/ 10564 h 51323"/>
                <a:gd name="connsiteX555" fmla="*/ 15167 w 51323"/>
                <a:gd name="connsiteY555" fmla="*/ 10701 h 51323"/>
                <a:gd name="connsiteX556" fmla="*/ 15167 w 51323"/>
                <a:gd name="connsiteY556" fmla="*/ 10701 h 51323"/>
                <a:gd name="connsiteX557" fmla="*/ 15167 w 51323"/>
                <a:gd name="connsiteY557" fmla="*/ 10856 h 51323"/>
                <a:gd name="connsiteX558" fmla="*/ 15167 w 51323"/>
                <a:gd name="connsiteY558" fmla="*/ 10856 h 51323"/>
                <a:gd name="connsiteX559" fmla="*/ 15167 w 51323"/>
                <a:gd name="connsiteY559" fmla="*/ 10941 h 51323"/>
                <a:gd name="connsiteX560" fmla="*/ 15167 w 51323"/>
                <a:gd name="connsiteY560" fmla="*/ 10941 h 51323"/>
                <a:gd name="connsiteX561" fmla="*/ 15047 w 51323"/>
                <a:gd name="connsiteY561" fmla="*/ 11079 h 51323"/>
                <a:gd name="connsiteX562" fmla="*/ 15047 w 51323"/>
                <a:gd name="connsiteY562" fmla="*/ 11079 h 51323"/>
                <a:gd name="connsiteX563" fmla="*/ 15047 w 51323"/>
                <a:gd name="connsiteY563" fmla="*/ 11079 h 51323"/>
                <a:gd name="connsiteX564" fmla="*/ 15047 w 51323"/>
                <a:gd name="connsiteY564" fmla="*/ 11079 h 51323"/>
                <a:gd name="connsiteX565" fmla="*/ 15047 w 51323"/>
                <a:gd name="connsiteY565" fmla="*/ 11079 h 51323"/>
                <a:gd name="connsiteX566" fmla="*/ 15047 w 51323"/>
                <a:gd name="connsiteY566" fmla="*/ 11079 h 51323"/>
                <a:gd name="connsiteX567" fmla="*/ 15047 w 51323"/>
                <a:gd name="connsiteY567" fmla="*/ 11216 h 51323"/>
                <a:gd name="connsiteX568" fmla="*/ 15201 w 51323"/>
                <a:gd name="connsiteY568" fmla="*/ 11130 h 51323"/>
                <a:gd name="connsiteX569" fmla="*/ 14789 w 51323"/>
                <a:gd name="connsiteY569" fmla="*/ 11508 h 51323"/>
                <a:gd name="connsiteX570" fmla="*/ 14789 w 51323"/>
                <a:gd name="connsiteY570" fmla="*/ 11508 h 51323"/>
                <a:gd name="connsiteX571" fmla="*/ 14583 w 51323"/>
                <a:gd name="connsiteY571" fmla="*/ 11508 h 51323"/>
                <a:gd name="connsiteX572" fmla="*/ 14325 w 51323"/>
                <a:gd name="connsiteY572" fmla="*/ 11989 h 51323"/>
                <a:gd name="connsiteX573" fmla="*/ 14325 w 51323"/>
                <a:gd name="connsiteY573" fmla="*/ 11989 h 51323"/>
                <a:gd name="connsiteX574" fmla="*/ 14016 w 51323"/>
                <a:gd name="connsiteY574" fmla="*/ 12367 h 51323"/>
                <a:gd name="connsiteX575" fmla="*/ 14016 w 51323"/>
                <a:gd name="connsiteY575" fmla="*/ 12367 h 51323"/>
                <a:gd name="connsiteX576" fmla="*/ 14308 w 51323"/>
                <a:gd name="connsiteY576" fmla="*/ 12230 h 51323"/>
                <a:gd name="connsiteX577" fmla="*/ 14549 w 51323"/>
                <a:gd name="connsiteY577" fmla="*/ 12075 h 51323"/>
                <a:gd name="connsiteX578" fmla="*/ 14549 w 51323"/>
                <a:gd name="connsiteY578" fmla="*/ 12247 h 51323"/>
                <a:gd name="connsiteX579" fmla="*/ 14995 w 51323"/>
                <a:gd name="connsiteY579" fmla="*/ 11921 h 51323"/>
                <a:gd name="connsiteX580" fmla="*/ 14995 w 51323"/>
                <a:gd name="connsiteY580" fmla="*/ 11921 h 51323"/>
                <a:gd name="connsiteX581" fmla="*/ 15133 w 51323"/>
                <a:gd name="connsiteY581" fmla="*/ 11817 h 51323"/>
                <a:gd name="connsiteX582" fmla="*/ 15133 w 51323"/>
                <a:gd name="connsiteY582" fmla="*/ 11817 h 51323"/>
                <a:gd name="connsiteX583" fmla="*/ 15442 w 51323"/>
                <a:gd name="connsiteY583" fmla="*/ 11577 h 51323"/>
                <a:gd name="connsiteX584" fmla="*/ 15442 w 51323"/>
                <a:gd name="connsiteY584" fmla="*/ 11577 h 51323"/>
                <a:gd name="connsiteX585" fmla="*/ 15322 w 51323"/>
                <a:gd name="connsiteY585" fmla="*/ 11697 h 51323"/>
                <a:gd name="connsiteX586" fmla="*/ 15322 w 51323"/>
                <a:gd name="connsiteY586" fmla="*/ 11783 h 51323"/>
                <a:gd name="connsiteX587" fmla="*/ 15322 w 51323"/>
                <a:gd name="connsiteY587" fmla="*/ 11783 h 51323"/>
                <a:gd name="connsiteX588" fmla="*/ 15150 w 51323"/>
                <a:gd name="connsiteY588" fmla="*/ 12006 h 51323"/>
                <a:gd name="connsiteX589" fmla="*/ 15150 w 51323"/>
                <a:gd name="connsiteY589" fmla="*/ 12006 h 51323"/>
                <a:gd name="connsiteX590" fmla="*/ 15150 w 51323"/>
                <a:gd name="connsiteY590" fmla="*/ 12144 h 51323"/>
                <a:gd name="connsiteX591" fmla="*/ 15150 w 51323"/>
                <a:gd name="connsiteY591" fmla="*/ 12247 h 51323"/>
                <a:gd name="connsiteX592" fmla="*/ 14978 w 51323"/>
                <a:gd name="connsiteY592" fmla="*/ 12247 h 51323"/>
                <a:gd name="connsiteX593" fmla="*/ 14978 w 51323"/>
                <a:gd name="connsiteY593" fmla="*/ 12350 h 51323"/>
                <a:gd name="connsiteX594" fmla="*/ 15150 w 51323"/>
                <a:gd name="connsiteY594" fmla="*/ 12350 h 51323"/>
                <a:gd name="connsiteX595" fmla="*/ 14892 w 51323"/>
                <a:gd name="connsiteY595" fmla="*/ 12505 h 51323"/>
                <a:gd name="connsiteX596" fmla="*/ 14892 w 51323"/>
                <a:gd name="connsiteY596" fmla="*/ 12608 h 51323"/>
                <a:gd name="connsiteX597" fmla="*/ 14995 w 51323"/>
                <a:gd name="connsiteY597" fmla="*/ 12608 h 51323"/>
                <a:gd name="connsiteX598" fmla="*/ 14889 w 51323"/>
                <a:gd name="connsiteY598" fmla="*/ 12770 h 51323"/>
                <a:gd name="connsiteX599" fmla="*/ 14806 w 51323"/>
                <a:gd name="connsiteY599" fmla="*/ 12762 h 51323"/>
                <a:gd name="connsiteX600" fmla="*/ 14806 w 51323"/>
                <a:gd name="connsiteY600" fmla="*/ 12917 h 51323"/>
                <a:gd name="connsiteX601" fmla="*/ 14566 w 51323"/>
                <a:gd name="connsiteY601" fmla="*/ 13089 h 51323"/>
                <a:gd name="connsiteX602" fmla="*/ 14411 w 51323"/>
                <a:gd name="connsiteY602" fmla="*/ 13312 h 51323"/>
                <a:gd name="connsiteX603" fmla="*/ 14531 w 51323"/>
                <a:gd name="connsiteY603" fmla="*/ 13415 h 51323"/>
                <a:gd name="connsiteX604" fmla="*/ 14531 w 51323"/>
                <a:gd name="connsiteY604" fmla="*/ 13501 h 51323"/>
                <a:gd name="connsiteX605" fmla="*/ 14531 w 51323"/>
                <a:gd name="connsiteY605" fmla="*/ 13621 h 51323"/>
                <a:gd name="connsiteX606" fmla="*/ 14634 w 51323"/>
                <a:gd name="connsiteY606" fmla="*/ 13621 h 51323"/>
                <a:gd name="connsiteX607" fmla="*/ 14325 w 51323"/>
                <a:gd name="connsiteY607" fmla="*/ 13844 h 51323"/>
                <a:gd name="connsiteX608" fmla="*/ 14549 w 51323"/>
                <a:gd name="connsiteY608" fmla="*/ 13844 h 51323"/>
                <a:gd name="connsiteX609" fmla="*/ 14549 w 51323"/>
                <a:gd name="connsiteY609" fmla="*/ 13844 h 51323"/>
                <a:gd name="connsiteX610" fmla="*/ 14394 w 51323"/>
                <a:gd name="connsiteY610" fmla="*/ 13999 h 51323"/>
                <a:gd name="connsiteX611" fmla="*/ 14549 w 51323"/>
                <a:gd name="connsiteY611" fmla="*/ 13999 h 51323"/>
                <a:gd name="connsiteX612" fmla="*/ 14549 w 51323"/>
                <a:gd name="connsiteY612" fmla="*/ 13999 h 51323"/>
                <a:gd name="connsiteX613" fmla="*/ 14446 w 51323"/>
                <a:gd name="connsiteY613" fmla="*/ 14153 h 51323"/>
                <a:gd name="connsiteX614" fmla="*/ 14549 w 51323"/>
                <a:gd name="connsiteY614" fmla="*/ 14153 h 51323"/>
                <a:gd name="connsiteX615" fmla="*/ 14119 w 51323"/>
                <a:gd name="connsiteY615" fmla="*/ 14360 h 51323"/>
                <a:gd name="connsiteX616" fmla="*/ 13896 w 51323"/>
                <a:gd name="connsiteY616" fmla="*/ 14497 h 51323"/>
                <a:gd name="connsiteX617" fmla="*/ 13896 w 51323"/>
                <a:gd name="connsiteY617" fmla="*/ 14308 h 51323"/>
                <a:gd name="connsiteX618" fmla="*/ 13793 w 51323"/>
                <a:gd name="connsiteY618" fmla="*/ 14634 h 51323"/>
                <a:gd name="connsiteX619" fmla="*/ 14428 w 51323"/>
                <a:gd name="connsiteY619" fmla="*/ 14411 h 51323"/>
                <a:gd name="connsiteX620" fmla="*/ 14428 w 51323"/>
                <a:gd name="connsiteY620" fmla="*/ 14617 h 51323"/>
                <a:gd name="connsiteX621" fmla="*/ 14428 w 51323"/>
                <a:gd name="connsiteY621" fmla="*/ 14617 h 51323"/>
                <a:gd name="connsiteX622" fmla="*/ 14566 w 51323"/>
                <a:gd name="connsiteY622" fmla="*/ 14617 h 51323"/>
                <a:gd name="connsiteX623" fmla="*/ 14652 w 51323"/>
                <a:gd name="connsiteY623" fmla="*/ 14617 h 51323"/>
                <a:gd name="connsiteX624" fmla="*/ 14497 w 51323"/>
                <a:gd name="connsiteY624" fmla="*/ 14772 h 51323"/>
                <a:gd name="connsiteX625" fmla="*/ 14360 w 51323"/>
                <a:gd name="connsiteY625" fmla="*/ 14875 h 51323"/>
                <a:gd name="connsiteX626" fmla="*/ 14360 w 51323"/>
                <a:gd name="connsiteY626" fmla="*/ 15012 h 51323"/>
                <a:gd name="connsiteX627" fmla="*/ 13844 w 51323"/>
                <a:gd name="connsiteY627" fmla="*/ 15287 h 51323"/>
                <a:gd name="connsiteX628" fmla="*/ 13844 w 51323"/>
                <a:gd name="connsiteY628" fmla="*/ 15287 h 51323"/>
                <a:gd name="connsiteX629" fmla="*/ 12590 w 51323"/>
                <a:gd name="connsiteY629" fmla="*/ 15407 h 51323"/>
                <a:gd name="connsiteX630" fmla="*/ 12247 w 51323"/>
                <a:gd name="connsiteY630" fmla="*/ 15253 h 51323"/>
                <a:gd name="connsiteX631" fmla="*/ 10426 w 51323"/>
                <a:gd name="connsiteY631" fmla="*/ 16369 h 51323"/>
                <a:gd name="connsiteX632" fmla="*/ 11749 w 51323"/>
                <a:gd name="connsiteY632" fmla="*/ 16369 h 51323"/>
                <a:gd name="connsiteX633" fmla="*/ 11577 w 51323"/>
                <a:gd name="connsiteY633" fmla="*/ 16507 h 51323"/>
                <a:gd name="connsiteX634" fmla="*/ 11577 w 51323"/>
                <a:gd name="connsiteY634" fmla="*/ 16936 h 51323"/>
                <a:gd name="connsiteX635" fmla="*/ 11835 w 51323"/>
                <a:gd name="connsiteY635" fmla="*/ 17125 h 51323"/>
                <a:gd name="connsiteX636" fmla="*/ 11835 w 51323"/>
                <a:gd name="connsiteY636" fmla="*/ 17245 h 51323"/>
                <a:gd name="connsiteX637" fmla="*/ 11251 w 51323"/>
                <a:gd name="connsiteY637" fmla="*/ 17365 h 51323"/>
                <a:gd name="connsiteX638" fmla="*/ 10770 w 51323"/>
                <a:gd name="connsiteY638" fmla="*/ 17743 h 51323"/>
                <a:gd name="connsiteX639" fmla="*/ 10770 w 51323"/>
                <a:gd name="connsiteY639" fmla="*/ 17743 h 51323"/>
                <a:gd name="connsiteX640" fmla="*/ 10770 w 51323"/>
                <a:gd name="connsiteY640" fmla="*/ 17640 h 51323"/>
                <a:gd name="connsiteX641" fmla="*/ 11371 w 51323"/>
                <a:gd name="connsiteY641" fmla="*/ 17280 h 51323"/>
                <a:gd name="connsiteX642" fmla="*/ 11543 w 51323"/>
                <a:gd name="connsiteY642" fmla="*/ 17194 h 51323"/>
                <a:gd name="connsiteX643" fmla="*/ 11543 w 51323"/>
                <a:gd name="connsiteY643" fmla="*/ 16970 h 51323"/>
                <a:gd name="connsiteX644" fmla="*/ 11543 w 51323"/>
                <a:gd name="connsiteY644" fmla="*/ 16970 h 51323"/>
                <a:gd name="connsiteX645" fmla="*/ 11543 w 51323"/>
                <a:gd name="connsiteY645" fmla="*/ 16970 h 51323"/>
                <a:gd name="connsiteX646" fmla="*/ 11233 w 51323"/>
                <a:gd name="connsiteY646" fmla="*/ 16970 h 51323"/>
                <a:gd name="connsiteX647" fmla="*/ 10924 w 51323"/>
                <a:gd name="connsiteY647" fmla="*/ 16970 h 51323"/>
                <a:gd name="connsiteX648" fmla="*/ 10924 w 51323"/>
                <a:gd name="connsiteY648" fmla="*/ 17159 h 51323"/>
                <a:gd name="connsiteX649" fmla="*/ 10924 w 51323"/>
                <a:gd name="connsiteY649" fmla="*/ 17159 h 51323"/>
                <a:gd name="connsiteX650" fmla="*/ 10667 w 51323"/>
                <a:gd name="connsiteY650" fmla="*/ 17159 h 51323"/>
                <a:gd name="connsiteX651" fmla="*/ 10667 w 51323"/>
                <a:gd name="connsiteY651" fmla="*/ 17159 h 51323"/>
                <a:gd name="connsiteX652" fmla="*/ 10478 w 51323"/>
                <a:gd name="connsiteY652" fmla="*/ 17331 h 51323"/>
                <a:gd name="connsiteX653" fmla="*/ 10478 w 51323"/>
                <a:gd name="connsiteY653" fmla="*/ 17331 h 51323"/>
                <a:gd name="connsiteX654" fmla="*/ 10478 w 51323"/>
                <a:gd name="connsiteY654" fmla="*/ 17331 h 51323"/>
                <a:gd name="connsiteX655" fmla="*/ 10478 w 51323"/>
                <a:gd name="connsiteY655" fmla="*/ 17331 h 51323"/>
                <a:gd name="connsiteX656" fmla="*/ 10083 w 51323"/>
                <a:gd name="connsiteY656" fmla="*/ 18001 h 51323"/>
                <a:gd name="connsiteX657" fmla="*/ 9911 w 51323"/>
                <a:gd name="connsiteY657" fmla="*/ 18087 h 51323"/>
                <a:gd name="connsiteX658" fmla="*/ 9808 w 51323"/>
                <a:gd name="connsiteY658" fmla="*/ 18087 h 51323"/>
                <a:gd name="connsiteX659" fmla="*/ 8743 w 51323"/>
                <a:gd name="connsiteY659" fmla="*/ 18980 h 51323"/>
                <a:gd name="connsiteX660" fmla="*/ 8743 w 51323"/>
                <a:gd name="connsiteY660" fmla="*/ 18980 h 51323"/>
                <a:gd name="connsiteX661" fmla="*/ 8743 w 51323"/>
                <a:gd name="connsiteY661" fmla="*/ 18980 h 51323"/>
                <a:gd name="connsiteX662" fmla="*/ 8743 w 51323"/>
                <a:gd name="connsiteY662" fmla="*/ 18740 h 51323"/>
                <a:gd name="connsiteX663" fmla="*/ 8365 w 51323"/>
                <a:gd name="connsiteY663" fmla="*/ 19495 h 51323"/>
                <a:gd name="connsiteX664" fmla="*/ 8365 w 51323"/>
                <a:gd name="connsiteY664" fmla="*/ 19495 h 51323"/>
                <a:gd name="connsiteX665" fmla="*/ 8262 w 51323"/>
                <a:gd name="connsiteY665" fmla="*/ 19650 h 51323"/>
                <a:gd name="connsiteX666" fmla="*/ 8434 w 51323"/>
                <a:gd name="connsiteY666" fmla="*/ 19341 h 51323"/>
                <a:gd name="connsiteX667" fmla="*/ 8434 w 51323"/>
                <a:gd name="connsiteY667" fmla="*/ 19221 h 51323"/>
                <a:gd name="connsiteX668" fmla="*/ 8434 w 51323"/>
                <a:gd name="connsiteY668" fmla="*/ 19221 h 51323"/>
                <a:gd name="connsiteX669" fmla="*/ 8674 w 51323"/>
                <a:gd name="connsiteY669" fmla="*/ 18671 h 51323"/>
                <a:gd name="connsiteX670" fmla="*/ 8365 w 51323"/>
                <a:gd name="connsiteY670" fmla="*/ 19221 h 51323"/>
                <a:gd name="connsiteX671" fmla="*/ 8365 w 51323"/>
                <a:gd name="connsiteY671" fmla="*/ 18929 h 51323"/>
                <a:gd name="connsiteX672" fmla="*/ 8365 w 51323"/>
                <a:gd name="connsiteY672" fmla="*/ 19324 h 51323"/>
                <a:gd name="connsiteX673" fmla="*/ 8365 w 51323"/>
                <a:gd name="connsiteY673" fmla="*/ 19530 h 51323"/>
                <a:gd name="connsiteX674" fmla="*/ 8365 w 51323"/>
                <a:gd name="connsiteY674" fmla="*/ 19650 h 51323"/>
                <a:gd name="connsiteX675" fmla="*/ 8365 w 51323"/>
                <a:gd name="connsiteY675" fmla="*/ 19513 h 51323"/>
                <a:gd name="connsiteX676" fmla="*/ 8365 w 51323"/>
                <a:gd name="connsiteY676" fmla="*/ 19856 h 51323"/>
                <a:gd name="connsiteX677" fmla="*/ 8365 w 51323"/>
                <a:gd name="connsiteY677" fmla="*/ 19856 h 51323"/>
                <a:gd name="connsiteX678" fmla="*/ 8210 w 51323"/>
                <a:gd name="connsiteY678" fmla="*/ 19976 h 51323"/>
                <a:gd name="connsiteX679" fmla="*/ 8210 w 51323"/>
                <a:gd name="connsiteY679" fmla="*/ 20097 h 51323"/>
                <a:gd name="connsiteX680" fmla="*/ 8313 w 51323"/>
                <a:gd name="connsiteY680" fmla="*/ 20234 h 51323"/>
                <a:gd name="connsiteX681" fmla="*/ 8313 w 51323"/>
                <a:gd name="connsiteY681" fmla="*/ 20131 h 51323"/>
                <a:gd name="connsiteX682" fmla="*/ 8176 w 51323"/>
                <a:gd name="connsiteY682" fmla="*/ 20354 h 51323"/>
                <a:gd name="connsiteX683" fmla="*/ 8176 w 51323"/>
                <a:gd name="connsiteY683" fmla="*/ 20251 h 51323"/>
                <a:gd name="connsiteX684" fmla="*/ 8176 w 51323"/>
                <a:gd name="connsiteY684" fmla="*/ 20251 h 51323"/>
                <a:gd name="connsiteX685" fmla="*/ 8176 w 51323"/>
                <a:gd name="connsiteY685" fmla="*/ 20389 h 51323"/>
                <a:gd name="connsiteX686" fmla="*/ 8176 w 51323"/>
                <a:gd name="connsiteY686" fmla="*/ 20389 h 51323"/>
                <a:gd name="connsiteX687" fmla="*/ 8176 w 51323"/>
                <a:gd name="connsiteY687" fmla="*/ 20389 h 51323"/>
                <a:gd name="connsiteX688" fmla="*/ 8176 w 51323"/>
                <a:gd name="connsiteY688" fmla="*/ 20389 h 51323"/>
                <a:gd name="connsiteX689" fmla="*/ 6579 w 51323"/>
                <a:gd name="connsiteY689" fmla="*/ 22982 h 51323"/>
                <a:gd name="connsiteX690" fmla="*/ 6579 w 51323"/>
                <a:gd name="connsiteY690" fmla="*/ 22982 h 51323"/>
                <a:gd name="connsiteX691" fmla="*/ 6579 w 51323"/>
                <a:gd name="connsiteY691" fmla="*/ 22982 h 51323"/>
                <a:gd name="connsiteX692" fmla="*/ 6579 w 51323"/>
                <a:gd name="connsiteY692" fmla="*/ 22982 h 51323"/>
                <a:gd name="connsiteX693" fmla="*/ 6579 w 51323"/>
                <a:gd name="connsiteY693" fmla="*/ 22604 h 51323"/>
                <a:gd name="connsiteX694" fmla="*/ 6579 w 51323"/>
                <a:gd name="connsiteY694" fmla="*/ 22707 h 51323"/>
                <a:gd name="connsiteX695" fmla="*/ 6579 w 51323"/>
                <a:gd name="connsiteY695" fmla="*/ 21745 h 51323"/>
                <a:gd name="connsiteX696" fmla="*/ 6579 w 51323"/>
                <a:gd name="connsiteY696" fmla="*/ 21745 h 51323"/>
                <a:gd name="connsiteX697" fmla="*/ 6579 w 51323"/>
                <a:gd name="connsiteY697" fmla="*/ 21745 h 51323"/>
                <a:gd name="connsiteX698" fmla="*/ 6579 w 51323"/>
                <a:gd name="connsiteY698" fmla="*/ 21745 h 51323"/>
                <a:gd name="connsiteX699" fmla="*/ 6579 w 51323"/>
                <a:gd name="connsiteY699" fmla="*/ 21642 h 51323"/>
                <a:gd name="connsiteX700" fmla="*/ 6579 w 51323"/>
                <a:gd name="connsiteY700" fmla="*/ 21522 h 51323"/>
                <a:gd name="connsiteX701" fmla="*/ 6579 w 51323"/>
                <a:gd name="connsiteY701" fmla="*/ 21522 h 51323"/>
                <a:gd name="connsiteX702" fmla="*/ 6579 w 51323"/>
                <a:gd name="connsiteY702" fmla="*/ 21385 h 51323"/>
                <a:gd name="connsiteX703" fmla="*/ 6579 w 51323"/>
                <a:gd name="connsiteY703" fmla="*/ 21385 h 51323"/>
                <a:gd name="connsiteX704" fmla="*/ 6579 w 51323"/>
                <a:gd name="connsiteY704" fmla="*/ 21385 h 51323"/>
                <a:gd name="connsiteX705" fmla="*/ 6579 w 51323"/>
                <a:gd name="connsiteY705" fmla="*/ 21385 h 51323"/>
                <a:gd name="connsiteX706" fmla="*/ 6579 w 51323"/>
                <a:gd name="connsiteY706" fmla="*/ 21230 h 51323"/>
                <a:gd name="connsiteX707" fmla="*/ 6579 w 51323"/>
                <a:gd name="connsiteY707" fmla="*/ 21333 h 51323"/>
                <a:gd name="connsiteX708" fmla="*/ 6373 w 51323"/>
                <a:gd name="connsiteY708" fmla="*/ 21453 h 51323"/>
                <a:gd name="connsiteX709" fmla="*/ 6373 w 51323"/>
                <a:gd name="connsiteY709" fmla="*/ 21453 h 51323"/>
                <a:gd name="connsiteX710" fmla="*/ 6373 w 51323"/>
                <a:gd name="connsiteY710" fmla="*/ 21849 h 51323"/>
                <a:gd name="connsiteX711" fmla="*/ 6373 w 51323"/>
                <a:gd name="connsiteY711" fmla="*/ 21763 h 51323"/>
                <a:gd name="connsiteX712" fmla="*/ 6373 w 51323"/>
                <a:gd name="connsiteY712" fmla="*/ 21660 h 51323"/>
                <a:gd name="connsiteX713" fmla="*/ 6373 w 51323"/>
                <a:gd name="connsiteY713" fmla="*/ 21350 h 51323"/>
                <a:gd name="connsiteX714" fmla="*/ 6373 w 51323"/>
                <a:gd name="connsiteY714" fmla="*/ 21350 h 51323"/>
                <a:gd name="connsiteX715" fmla="*/ 6184 w 51323"/>
                <a:gd name="connsiteY715" fmla="*/ 21350 h 51323"/>
                <a:gd name="connsiteX716" fmla="*/ 6184 w 51323"/>
                <a:gd name="connsiteY716" fmla="*/ 21127 h 51323"/>
                <a:gd name="connsiteX717" fmla="*/ 6184 w 51323"/>
                <a:gd name="connsiteY717" fmla="*/ 21127 h 51323"/>
                <a:gd name="connsiteX718" fmla="*/ 6184 w 51323"/>
                <a:gd name="connsiteY718" fmla="*/ 21385 h 51323"/>
                <a:gd name="connsiteX719" fmla="*/ 6184 w 51323"/>
                <a:gd name="connsiteY719" fmla="*/ 21385 h 51323"/>
                <a:gd name="connsiteX720" fmla="*/ 6184 w 51323"/>
                <a:gd name="connsiteY720" fmla="*/ 21505 h 51323"/>
                <a:gd name="connsiteX721" fmla="*/ 6184 w 51323"/>
                <a:gd name="connsiteY721" fmla="*/ 21505 h 51323"/>
                <a:gd name="connsiteX722" fmla="*/ 6184 w 51323"/>
                <a:gd name="connsiteY722" fmla="*/ 21505 h 51323"/>
                <a:gd name="connsiteX723" fmla="*/ 6184 w 51323"/>
                <a:gd name="connsiteY723" fmla="*/ 21505 h 51323"/>
                <a:gd name="connsiteX724" fmla="*/ 6184 w 51323"/>
                <a:gd name="connsiteY724" fmla="*/ 21505 h 51323"/>
                <a:gd name="connsiteX725" fmla="*/ 6184 w 51323"/>
                <a:gd name="connsiteY725" fmla="*/ 21505 h 51323"/>
                <a:gd name="connsiteX726" fmla="*/ 6184 w 51323"/>
                <a:gd name="connsiteY726" fmla="*/ 21608 h 51323"/>
                <a:gd name="connsiteX727" fmla="*/ 6184 w 51323"/>
                <a:gd name="connsiteY727" fmla="*/ 21608 h 51323"/>
                <a:gd name="connsiteX728" fmla="*/ 5943 w 51323"/>
                <a:gd name="connsiteY728" fmla="*/ 22553 h 51323"/>
                <a:gd name="connsiteX729" fmla="*/ 5943 w 51323"/>
                <a:gd name="connsiteY729" fmla="*/ 22398 h 51323"/>
                <a:gd name="connsiteX730" fmla="*/ 5943 w 51323"/>
                <a:gd name="connsiteY730" fmla="*/ 22621 h 51323"/>
                <a:gd name="connsiteX731" fmla="*/ 5703 w 51323"/>
                <a:gd name="connsiteY731" fmla="*/ 24116 h 51323"/>
                <a:gd name="connsiteX732" fmla="*/ 5703 w 51323"/>
                <a:gd name="connsiteY732" fmla="*/ 25507 h 51323"/>
                <a:gd name="connsiteX733" fmla="*/ 5703 w 51323"/>
                <a:gd name="connsiteY733" fmla="*/ 25507 h 51323"/>
                <a:gd name="connsiteX734" fmla="*/ 5703 w 51323"/>
                <a:gd name="connsiteY734" fmla="*/ 25421 h 51323"/>
                <a:gd name="connsiteX735" fmla="*/ 5703 w 51323"/>
                <a:gd name="connsiteY735" fmla="*/ 25421 h 51323"/>
                <a:gd name="connsiteX736" fmla="*/ 5703 w 51323"/>
                <a:gd name="connsiteY736" fmla="*/ 25421 h 51323"/>
                <a:gd name="connsiteX737" fmla="*/ 5703 w 51323"/>
                <a:gd name="connsiteY737" fmla="*/ 25421 h 51323"/>
                <a:gd name="connsiteX738" fmla="*/ 5703 w 51323"/>
                <a:gd name="connsiteY738" fmla="*/ 25627 h 51323"/>
                <a:gd name="connsiteX739" fmla="*/ 5703 w 51323"/>
                <a:gd name="connsiteY739" fmla="*/ 25627 h 51323"/>
                <a:gd name="connsiteX740" fmla="*/ 5703 w 51323"/>
                <a:gd name="connsiteY740" fmla="*/ 25627 h 51323"/>
                <a:gd name="connsiteX741" fmla="*/ 5703 w 51323"/>
                <a:gd name="connsiteY741" fmla="*/ 25404 h 51323"/>
                <a:gd name="connsiteX742" fmla="*/ 5703 w 51323"/>
                <a:gd name="connsiteY742" fmla="*/ 25404 h 51323"/>
                <a:gd name="connsiteX743" fmla="*/ 5995 w 51323"/>
                <a:gd name="connsiteY743" fmla="*/ 24665 h 51323"/>
                <a:gd name="connsiteX744" fmla="*/ 5995 w 51323"/>
                <a:gd name="connsiteY744" fmla="*/ 24665 h 51323"/>
                <a:gd name="connsiteX745" fmla="*/ 5995 w 51323"/>
                <a:gd name="connsiteY745" fmla="*/ 24665 h 51323"/>
                <a:gd name="connsiteX746" fmla="*/ 5995 w 51323"/>
                <a:gd name="connsiteY746" fmla="*/ 24665 h 51323"/>
                <a:gd name="connsiteX747" fmla="*/ 5857 w 51323"/>
                <a:gd name="connsiteY747" fmla="*/ 25593 h 51323"/>
                <a:gd name="connsiteX748" fmla="*/ 5857 w 51323"/>
                <a:gd name="connsiteY748" fmla="*/ 25919 h 51323"/>
                <a:gd name="connsiteX749" fmla="*/ 5101 w 51323"/>
                <a:gd name="connsiteY749" fmla="*/ 26521 h 51323"/>
                <a:gd name="connsiteX750" fmla="*/ 4500 w 51323"/>
                <a:gd name="connsiteY750" fmla="*/ 25765 h 51323"/>
                <a:gd name="connsiteX751" fmla="*/ 4397 w 51323"/>
                <a:gd name="connsiteY751" fmla="*/ 26658 h 51323"/>
                <a:gd name="connsiteX752" fmla="*/ 4397 w 51323"/>
                <a:gd name="connsiteY752" fmla="*/ 26658 h 51323"/>
                <a:gd name="connsiteX753" fmla="*/ 4397 w 51323"/>
                <a:gd name="connsiteY753" fmla="*/ 26864 h 51323"/>
                <a:gd name="connsiteX754" fmla="*/ 4397 w 51323"/>
                <a:gd name="connsiteY754" fmla="*/ 26864 h 51323"/>
                <a:gd name="connsiteX755" fmla="*/ 4397 w 51323"/>
                <a:gd name="connsiteY755" fmla="*/ 26950 h 51323"/>
                <a:gd name="connsiteX756" fmla="*/ 4586 w 51323"/>
                <a:gd name="connsiteY756" fmla="*/ 26950 h 51323"/>
                <a:gd name="connsiteX757" fmla="*/ 4724 w 51323"/>
                <a:gd name="connsiteY757" fmla="*/ 27190 h 51323"/>
                <a:gd name="connsiteX758" fmla="*/ 4724 w 51323"/>
                <a:gd name="connsiteY758" fmla="*/ 27190 h 51323"/>
                <a:gd name="connsiteX759" fmla="*/ 4724 w 51323"/>
                <a:gd name="connsiteY759" fmla="*/ 27345 h 51323"/>
                <a:gd name="connsiteX760" fmla="*/ 4724 w 51323"/>
                <a:gd name="connsiteY760" fmla="*/ 27448 h 51323"/>
                <a:gd name="connsiteX761" fmla="*/ 4724 w 51323"/>
                <a:gd name="connsiteY761" fmla="*/ 27448 h 51323"/>
                <a:gd name="connsiteX762" fmla="*/ 4724 w 51323"/>
                <a:gd name="connsiteY762" fmla="*/ 28152 h 51323"/>
                <a:gd name="connsiteX763" fmla="*/ 4724 w 51323"/>
                <a:gd name="connsiteY763" fmla="*/ 28152 h 51323"/>
                <a:gd name="connsiteX764" fmla="*/ 4724 w 51323"/>
                <a:gd name="connsiteY764" fmla="*/ 28616 h 51323"/>
                <a:gd name="connsiteX765" fmla="*/ 4724 w 51323"/>
                <a:gd name="connsiteY765" fmla="*/ 28444 h 51323"/>
                <a:gd name="connsiteX766" fmla="*/ 4724 w 51323"/>
                <a:gd name="connsiteY766" fmla="*/ 28805 h 51323"/>
                <a:gd name="connsiteX767" fmla="*/ 4724 w 51323"/>
                <a:gd name="connsiteY767" fmla="*/ 28719 h 51323"/>
                <a:gd name="connsiteX768" fmla="*/ 4724 w 51323"/>
                <a:gd name="connsiteY768" fmla="*/ 29149 h 51323"/>
                <a:gd name="connsiteX769" fmla="*/ 4930 w 51323"/>
                <a:gd name="connsiteY769" fmla="*/ 29733 h 51323"/>
                <a:gd name="connsiteX770" fmla="*/ 5634 w 51323"/>
                <a:gd name="connsiteY770" fmla="*/ 30471 h 51323"/>
                <a:gd name="connsiteX771" fmla="*/ 5960 w 51323"/>
                <a:gd name="connsiteY771" fmla="*/ 29595 h 51323"/>
                <a:gd name="connsiteX772" fmla="*/ 5960 w 51323"/>
                <a:gd name="connsiteY772" fmla="*/ 29475 h 51323"/>
                <a:gd name="connsiteX773" fmla="*/ 6355 w 51323"/>
                <a:gd name="connsiteY773" fmla="*/ 29234 h 51323"/>
                <a:gd name="connsiteX774" fmla="*/ 6355 w 51323"/>
                <a:gd name="connsiteY774" fmla="*/ 30145 h 51323"/>
                <a:gd name="connsiteX775" fmla="*/ 6665 w 51323"/>
                <a:gd name="connsiteY775" fmla="*/ 29664 h 51323"/>
                <a:gd name="connsiteX776" fmla="*/ 6665 w 51323"/>
                <a:gd name="connsiteY776" fmla="*/ 29441 h 51323"/>
                <a:gd name="connsiteX777" fmla="*/ 6785 w 51323"/>
                <a:gd name="connsiteY777" fmla="*/ 29733 h 51323"/>
                <a:gd name="connsiteX778" fmla="*/ 7060 w 51323"/>
                <a:gd name="connsiteY778" fmla="*/ 30007 h 51323"/>
                <a:gd name="connsiteX779" fmla="*/ 7472 w 51323"/>
                <a:gd name="connsiteY779" fmla="*/ 30196 h 51323"/>
                <a:gd name="connsiteX780" fmla="*/ 8262 w 51323"/>
                <a:gd name="connsiteY780" fmla="*/ 30402 h 51323"/>
                <a:gd name="connsiteX781" fmla="*/ 8262 w 51323"/>
                <a:gd name="connsiteY781" fmla="*/ 30643 h 51323"/>
                <a:gd name="connsiteX782" fmla="*/ 8434 w 51323"/>
                <a:gd name="connsiteY782" fmla="*/ 31107 h 51323"/>
                <a:gd name="connsiteX783" fmla="*/ 9189 w 51323"/>
                <a:gd name="connsiteY783" fmla="*/ 32000 h 51323"/>
                <a:gd name="connsiteX784" fmla="*/ 9550 w 51323"/>
                <a:gd name="connsiteY784" fmla="*/ 32309 h 51323"/>
                <a:gd name="connsiteX785" fmla="*/ 10220 w 51323"/>
                <a:gd name="connsiteY785" fmla="*/ 32532 h 51323"/>
                <a:gd name="connsiteX786" fmla="*/ 10856 w 51323"/>
                <a:gd name="connsiteY786" fmla="*/ 33151 h 51323"/>
                <a:gd name="connsiteX787" fmla="*/ 11302 w 51323"/>
                <a:gd name="connsiteY787" fmla="*/ 33924 h 51323"/>
                <a:gd name="connsiteX788" fmla="*/ 11045 w 51323"/>
                <a:gd name="connsiteY788" fmla="*/ 34868 h 51323"/>
                <a:gd name="connsiteX789" fmla="*/ 11148 w 51323"/>
                <a:gd name="connsiteY789" fmla="*/ 34868 h 51323"/>
                <a:gd name="connsiteX790" fmla="*/ 11337 w 51323"/>
                <a:gd name="connsiteY790" fmla="*/ 34731 h 51323"/>
                <a:gd name="connsiteX791" fmla="*/ 11337 w 51323"/>
                <a:gd name="connsiteY791" fmla="*/ 34731 h 51323"/>
                <a:gd name="connsiteX792" fmla="*/ 11337 w 51323"/>
                <a:gd name="connsiteY792" fmla="*/ 35092 h 51323"/>
                <a:gd name="connsiteX793" fmla="*/ 11680 w 51323"/>
                <a:gd name="connsiteY793" fmla="*/ 35624 h 51323"/>
                <a:gd name="connsiteX794" fmla="*/ 12419 w 51323"/>
                <a:gd name="connsiteY794" fmla="*/ 35074 h 51323"/>
                <a:gd name="connsiteX795" fmla="*/ 12642 w 51323"/>
                <a:gd name="connsiteY795" fmla="*/ 35263 h 51323"/>
                <a:gd name="connsiteX796" fmla="*/ 12882 w 51323"/>
                <a:gd name="connsiteY796" fmla="*/ 35469 h 51323"/>
                <a:gd name="connsiteX797" fmla="*/ 12968 w 51323"/>
                <a:gd name="connsiteY797" fmla="*/ 35830 h 51323"/>
                <a:gd name="connsiteX798" fmla="*/ 12968 w 51323"/>
                <a:gd name="connsiteY798" fmla="*/ 35710 h 51323"/>
                <a:gd name="connsiteX799" fmla="*/ 12968 w 51323"/>
                <a:gd name="connsiteY799" fmla="*/ 35504 h 51323"/>
                <a:gd name="connsiteX800" fmla="*/ 13363 w 51323"/>
                <a:gd name="connsiteY800" fmla="*/ 35641 h 51323"/>
                <a:gd name="connsiteX801" fmla="*/ 13466 w 51323"/>
                <a:gd name="connsiteY801" fmla="*/ 35744 h 51323"/>
                <a:gd name="connsiteX802" fmla="*/ 13466 w 51323"/>
                <a:gd name="connsiteY802" fmla="*/ 35744 h 51323"/>
                <a:gd name="connsiteX803" fmla="*/ 13466 w 51323"/>
                <a:gd name="connsiteY803" fmla="*/ 35744 h 51323"/>
                <a:gd name="connsiteX804" fmla="*/ 13466 w 51323"/>
                <a:gd name="connsiteY804" fmla="*/ 35744 h 51323"/>
                <a:gd name="connsiteX805" fmla="*/ 14926 w 51323"/>
                <a:gd name="connsiteY805" fmla="*/ 38922 h 51323"/>
                <a:gd name="connsiteX806" fmla="*/ 14926 w 51323"/>
                <a:gd name="connsiteY806" fmla="*/ 38819 h 51323"/>
                <a:gd name="connsiteX807" fmla="*/ 14806 w 51323"/>
                <a:gd name="connsiteY807" fmla="*/ 38819 h 51323"/>
                <a:gd name="connsiteX808" fmla="*/ 14806 w 51323"/>
                <a:gd name="connsiteY808" fmla="*/ 38819 h 51323"/>
                <a:gd name="connsiteX809" fmla="*/ 14806 w 51323"/>
                <a:gd name="connsiteY809" fmla="*/ 41447 h 51323"/>
                <a:gd name="connsiteX810" fmla="*/ 14806 w 51323"/>
                <a:gd name="connsiteY810" fmla="*/ 41447 h 51323"/>
                <a:gd name="connsiteX811" fmla="*/ 14600 w 51323"/>
                <a:gd name="connsiteY811" fmla="*/ 41447 h 51323"/>
                <a:gd name="connsiteX812" fmla="*/ 14600 w 51323"/>
                <a:gd name="connsiteY812" fmla="*/ 41687 h 51323"/>
                <a:gd name="connsiteX813" fmla="*/ 14154 w 51323"/>
                <a:gd name="connsiteY813" fmla="*/ 41962 h 51323"/>
                <a:gd name="connsiteX814" fmla="*/ 14154 w 51323"/>
                <a:gd name="connsiteY814" fmla="*/ 41962 h 51323"/>
                <a:gd name="connsiteX815" fmla="*/ 14154 w 51323"/>
                <a:gd name="connsiteY815" fmla="*/ 42048 h 51323"/>
                <a:gd name="connsiteX816" fmla="*/ 14154 w 51323"/>
                <a:gd name="connsiteY816" fmla="*/ 42048 h 51323"/>
                <a:gd name="connsiteX817" fmla="*/ 14411 w 51323"/>
                <a:gd name="connsiteY817" fmla="*/ 42529 h 51323"/>
                <a:gd name="connsiteX818" fmla="*/ 14411 w 51323"/>
                <a:gd name="connsiteY818" fmla="*/ 43336 h 51323"/>
                <a:gd name="connsiteX819" fmla="*/ 14411 w 51323"/>
                <a:gd name="connsiteY819" fmla="*/ 43250 h 51323"/>
                <a:gd name="connsiteX820" fmla="*/ 14411 w 51323"/>
                <a:gd name="connsiteY820" fmla="*/ 43113 h 51323"/>
                <a:gd name="connsiteX821" fmla="*/ 14171 w 51323"/>
                <a:gd name="connsiteY821" fmla="*/ 42924 h 51323"/>
                <a:gd name="connsiteX822" fmla="*/ 14325 w 51323"/>
                <a:gd name="connsiteY822" fmla="*/ 43113 h 51323"/>
                <a:gd name="connsiteX823" fmla="*/ 14325 w 51323"/>
                <a:gd name="connsiteY823" fmla="*/ 43250 h 51323"/>
                <a:gd name="connsiteX824" fmla="*/ 13844 w 51323"/>
                <a:gd name="connsiteY824" fmla="*/ 43817 h 51323"/>
                <a:gd name="connsiteX825" fmla="*/ 14549 w 51323"/>
                <a:gd name="connsiteY825" fmla="*/ 44418 h 51323"/>
                <a:gd name="connsiteX826" fmla="*/ 14549 w 51323"/>
                <a:gd name="connsiteY826" fmla="*/ 44418 h 51323"/>
                <a:gd name="connsiteX827" fmla="*/ 14755 w 51323"/>
                <a:gd name="connsiteY827" fmla="*/ 44693 h 51323"/>
                <a:gd name="connsiteX828" fmla="*/ 14755 w 51323"/>
                <a:gd name="connsiteY828" fmla="*/ 44693 h 51323"/>
                <a:gd name="connsiteX829" fmla="*/ 14755 w 51323"/>
                <a:gd name="connsiteY829" fmla="*/ 44882 h 51323"/>
                <a:gd name="connsiteX830" fmla="*/ 14291 w 51323"/>
                <a:gd name="connsiteY830" fmla="*/ 44882 h 51323"/>
                <a:gd name="connsiteX831" fmla="*/ 14566 w 51323"/>
                <a:gd name="connsiteY831" fmla="*/ 45123 h 51323"/>
                <a:gd name="connsiteX832" fmla="*/ 14566 w 51323"/>
                <a:gd name="connsiteY832" fmla="*/ 45123 h 51323"/>
                <a:gd name="connsiteX833" fmla="*/ 14463 w 51323"/>
                <a:gd name="connsiteY833" fmla="*/ 45294 h 51323"/>
                <a:gd name="connsiteX834" fmla="*/ 15012 w 51323"/>
                <a:gd name="connsiteY834" fmla="*/ 45707 h 51323"/>
                <a:gd name="connsiteX835" fmla="*/ 15012 w 51323"/>
                <a:gd name="connsiteY835" fmla="*/ 45707 h 51323"/>
                <a:gd name="connsiteX836" fmla="*/ 15012 w 51323"/>
                <a:gd name="connsiteY836" fmla="*/ 45707 h 51323"/>
                <a:gd name="connsiteX837" fmla="*/ 15717 w 51323"/>
                <a:gd name="connsiteY837" fmla="*/ 46359 h 51323"/>
                <a:gd name="connsiteX838" fmla="*/ 15717 w 51323"/>
                <a:gd name="connsiteY838" fmla="*/ 46359 h 51323"/>
                <a:gd name="connsiteX839" fmla="*/ 15717 w 51323"/>
                <a:gd name="connsiteY839" fmla="*/ 46359 h 51323"/>
                <a:gd name="connsiteX840" fmla="*/ 15717 w 51323"/>
                <a:gd name="connsiteY840" fmla="*/ 46359 h 51323"/>
                <a:gd name="connsiteX841" fmla="*/ 16730 w 51323"/>
                <a:gd name="connsiteY841" fmla="*/ 47012 h 51323"/>
                <a:gd name="connsiteX842" fmla="*/ 16730 w 51323"/>
                <a:gd name="connsiteY842" fmla="*/ 47012 h 51323"/>
                <a:gd name="connsiteX843" fmla="*/ 16730 w 51323"/>
                <a:gd name="connsiteY843" fmla="*/ 47012 h 51323"/>
                <a:gd name="connsiteX844" fmla="*/ 16730 w 51323"/>
                <a:gd name="connsiteY844" fmla="*/ 47012 h 51323"/>
                <a:gd name="connsiteX845" fmla="*/ 16885 w 51323"/>
                <a:gd name="connsiteY845" fmla="*/ 47132 h 51323"/>
                <a:gd name="connsiteX846" fmla="*/ 16885 w 51323"/>
                <a:gd name="connsiteY846" fmla="*/ 47132 h 51323"/>
                <a:gd name="connsiteX847" fmla="*/ 17091 w 51323"/>
                <a:gd name="connsiteY847" fmla="*/ 47270 h 51323"/>
                <a:gd name="connsiteX848" fmla="*/ 16988 w 51323"/>
                <a:gd name="connsiteY848" fmla="*/ 47270 h 51323"/>
                <a:gd name="connsiteX849" fmla="*/ 17898 w 51323"/>
                <a:gd name="connsiteY849" fmla="*/ 47751 h 51323"/>
                <a:gd name="connsiteX850" fmla="*/ 17898 w 51323"/>
                <a:gd name="connsiteY850" fmla="*/ 47751 h 51323"/>
                <a:gd name="connsiteX851" fmla="*/ 17898 w 51323"/>
                <a:gd name="connsiteY851" fmla="*/ 47751 h 51323"/>
                <a:gd name="connsiteX852" fmla="*/ 17898 w 51323"/>
                <a:gd name="connsiteY852" fmla="*/ 47751 h 51323"/>
                <a:gd name="connsiteX853" fmla="*/ 18396 w 51323"/>
                <a:gd name="connsiteY853" fmla="*/ 48008 h 51323"/>
                <a:gd name="connsiteX854" fmla="*/ 18173 w 51323"/>
                <a:gd name="connsiteY854" fmla="*/ 48008 h 51323"/>
                <a:gd name="connsiteX855" fmla="*/ 20560 w 51323"/>
                <a:gd name="connsiteY855" fmla="*/ 10117 h 51323"/>
                <a:gd name="connsiteX856" fmla="*/ 20560 w 51323"/>
                <a:gd name="connsiteY856" fmla="*/ 9980 h 51323"/>
                <a:gd name="connsiteX857" fmla="*/ 20286 w 51323"/>
                <a:gd name="connsiteY857" fmla="*/ 10323 h 51323"/>
                <a:gd name="connsiteX858" fmla="*/ 19289 w 51323"/>
                <a:gd name="connsiteY858" fmla="*/ 10907 h 51323"/>
                <a:gd name="connsiteX859" fmla="*/ 19152 w 51323"/>
                <a:gd name="connsiteY859" fmla="*/ 11165 h 51323"/>
                <a:gd name="connsiteX860" fmla="*/ 19152 w 51323"/>
                <a:gd name="connsiteY860" fmla="*/ 11165 h 51323"/>
                <a:gd name="connsiteX861" fmla="*/ 18997 w 51323"/>
                <a:gd name="connsiteY861" fmla="*/ 11165 h 51323"/>
                <a:gd name="connsiteX862" fmla="*/ 18585 w 51323"/>
                <a:gd name="connsiteY862" fmla="*/ 11577 h 51323"/>
                <a:gd name="connsiteX863" fmla="*/ 18259 w 51323"/>
                <a:gd name="connsiteY863" fmla="*/ 11903 h 51323"/>
                <a:gd name="connsiteX864" fmla="*/ 18001 w 51323"/>
                <a:gd name="connsiteY864" fmla="*/ 12109 h 51323"/>
                <a:gd name="connsiteX865" fmla="*/ 17743 w 51323"/>
                <a:gd name="connsiteY865" fmla="*/ 12006 h 51323"/>
                <a:gd name="connsiteX866" fmla="*/ 17503 w 51323"/>
                <a:gd name="connsiteY866" fmla="*/ 11783 h 51323"/>
                <a:gd name="connsiteX867" fmla="*/ 18018 w 51323"/>
                <a:gd name="connsiteY867" fmla="*/ 10461 h 51323"/>
                <a:gd name="connsiteX868" fmla="*/ 18448 w 51323"/>
                <a:gd name="connsiteY868" fmla="*/ 10134 h 51323"/>
                <a:gd name="connsiteX869" fmla="*/ 18448 w 51323"/>
                <a:gd name="connsiteY869" fmla="*/ 9739 h 51323"/>
                <a:gd name="connsiteX870" fmla="*/ 18345 w 51323"/>
                <a:gd name="connsiteY870" fmla="*/ 9739 h 51323"/>
                <a:gd name="connsiteX871" fmla="*/ 18963 w 51323"/>
                <a:gd name="connsiteY871" fmla="*/ 9344 h 51323"/>
                <a:gd name="connsiteX872" fmla="*/ 18774 w 51323"/>
                <a:gd name="connsiteY872" fmla="*/ 9104 h 51323"/>
                <a:gd name="connsiteX873" fmla="*/ 19324 w 51323"/>
                <a:gd name="connsiteY873" fmla="*/ 9104 h 51323"/>
                <a:gd name="connsiteX874" fmla="*/ 19324 w 51323"/>
                <a:gd name="connsiteY874" fmla="*/ 8966 h 51323"/>
                <a:gd name="connsiteX875" fmla="*/ 18946 w 51323"/>
                <a:gd name="connsiteY875" fmla="*/ 8966 h 51323"/>
                <a:gd name="connsiteX876" fmla="*/ 19598 w 51323"/>
                <a:gd name="connsiteY876" fmla="*/ 8674 h 51323"/>
                <a:gd name="connsiteX877" fmla="*/ 19598 w 51323"/>
                <a:gd name="connsiteY877" fmla="*/ 8674 h 51323"/>
                <a:gd name="connsiteX878" fmla="*/ 20182 w 51323"/>
                <a:gd name="connsiteY878" fmla="*/ 8193 h 51323"/>
                <a:gd name="connsiteX879" fmla="*/ 20354 w 51323"/>
                <a:gd name="connsiteY879" fmla="*/ 7953 h 51323"/>
                <a:gd name="connsiteX880" fmla="*/ 20560 w 51323"/>
                <a:gd name="connsiteY880" fmla="*/ 7764 h 51323"/>
                <a:gd name="connsiteX881" fmla="*/ 20681 w 51323"/>
                <a:gd name="connsiteY881" fmla="*/ 7386 h 51323"/>
                <a:gd name="connsiteX882" fmla="*/ 21746 w 51323"/>
                <a:gd name="connsiteY882" fmla="*/ 6338 h 51323"/>
                <a:gd name="connsiteX883" fmla="*/ 22914 w 51323"/>
                <a:gd name="connsiteY883" fmla="*/ 4981 h 51323"/>
                <a:gd name="connsiteX884" fmla="*/ 23326 w 51323"/>
                <a:gd name="connsiteY884" fmla="*/ 4844 h 51323"/>
                <a:gd name="connsiteX885" fmla="*/ 26761 w 51323"/>
                <a:gd name="connsiteY885" fmla="*/ 3693 h 51323"/>
                <a:gd name="connsiteX886" fmla="*/ 26881 w 51323"/>
                <a:gd name="connsiteY886" fmla="*/ 3693 h 51323"/>
                <a:gd name="connsiteX887" fmla="*/ 26607 w 51323"/>
                <a:gd name="connsiteY887" fmla="*/ 3951 h 51323"/>
                <a:gd name="connsiteX888" fmla="*/ 26211 w 51323"/>
                <a:gd name="connsiteY888" fmla="*/ 4208 h 51323"/>
                <a:gd name="connsiteX889" fmla="*/ 26211 w 51323"/>
                <a:gd name="connsiteY889" fmla="*/ 4329 h 51323"/>
                <a:gd name="connsiteX890" fmla="*/ 26074 w 51323"/>
                <a:gd name="connsiteY890" fmla="*/ 4500 h 51323"/>
                <a:gd name="connsiteX891" fmla="*/ 26383 w 51323"/>
                <a:gd name="connsiteY891" fmla="*/ 4621 h 51323"/>
                <a:gd name="connsiteX892" fmla="*/ 26057 w 51323"/>
                <a:gd name="connsiteY892" fmla="*/ 4947 h 51323"/>
                <a:gd name="connsiteX893" fmla="*/ 25301 w 51323"/>
                <a:gd name="connsiteY893" fmla="*/ 6235 h 51323"/>
                <a:gd name="connsiteX894" fmla="*/ 25112 w 51323"/>
                <a:gd name="connsiteY894" fmla="*/ 6373 h 51323"/>
                <a:gd name="connsiteX895" fmla="*/ 25009 w 51323"/>
                <a:gd name="connsiteY895" fmla="*/ 6596 h 51323"/>
                <a:gd name="connsiteX896" fmla="*/ 24751 w 51323"/>
                <a:gd name="connsiteY896" fmla="*/ 6596 h 51323"/>
                <a:gd name="connsiteX897" fmla="*/ 24751 w 51323"/>
                <a:gd name="connsiteY897" fmla="*/ 6768 h 51323"/>
                <a:gd name="connsiteX898" fmla="*/ 24751 w 51323"/>
                <a:gd name="connsiteY898" fmla="*/ 7180 h 51323"/>
                <a:gd name="connsiteX899" fmla="*/ 24442 w 51323"/>
                <a:gd name="connsiteY899" fmla="*/ 7489 h 51323"/>
                <a:gd name="connsiteX900" fmla="*/ 24133 w 51323"/>
                <a:gd name="connsiteY900" fmla="*/ 7489 h 51323"/>
                <a:gd name="connsiteX901" fmla="*/ 23738 w 51323"/>
                <a:gd name="connsiteY901" fmla="*/ 7626 h 51323"/>
                <a:gd name="connsiteX902" fmla="*/ 23738 w 51323"/>
                <a:gd name="connsiteY902" fmla="*/ 7781 h 51323"/>
                <a:gd name="connsiteX903" fmla="*/ 23824 w 51323"/>
                <a:gd name="connsiteY903" fmla="*/ 7987 h 51323"/>
                <a:gd name="connsiteX904" fmla="*/ 23583 w 51323"/>
                <a:gd name="connsiteY904" fmla="*/ 8262 h 51323"/>
                <a:gd name="connsiteX905" fmla="*/ 23137 w 51323"/>
                <a:gd name="connsiteY905" fmla="*/ 8520 h 51323"/>
                <a:gd name="connsiteX906" fmla="*/ 22931 w 51323"/>
                <a:gd name="connsiteY906" fmla="*/ 8726 h 51323"/>
                <a:gd name="connsiteX907" fmla="*/ 22931 w 51323"/>
                <a:gd name="connsiteY907" fmla="*/ 8846 h 51323"/>
                <a:gd name="connsiteX908" fmla="*/ 23446 w 51323"/>
                <a:gd name="connsiteY908" fmla="*/ 9121 h 51323"/>
                <a:gd name="connsiteX909" fmla="*/ 23137 w 51323"/>
                <a:gd name="connsiteY909" fmla="*/ 9275 h 51323"/>
                <a:gd name="connsiteX910" fmla="*/ 21952 w 51323"/>
                <a:gd name="connsiteY910" fmla="*/ 9396 h 51323"/>
                <a:gd name="connsiteX911" fmla="*/ 21831 w 51323"/>
                <a:gd name="connsiteY911" fmla="*/ 9653 h 51323"/>
                <a:gd name="connsiteX912" fmla="*/ 20560 w 51323"/>
                <a:gd name="connsiteY912" fmla="*/ 10117 h 51323"/>
                <a:gd name="connsiteX913" fmla="*/ 23669 w 51323"/>
                <a:gd name="connsiteY913" fmla="*/ 11440 h 51323"/>
                <a:gd name="connsiteX914" fmla="*/ 23412 w 51323"/>
                <a:gd name="connsiteY914" fmla="*/ 11440 h 51323"/>
                <a:gd name="connsiteX915" fmla="*/ 23274 w 51323"/>
                <a:gd name="connsiteY915" fmla="*/ 11319 h 51323"/>
                <a:gd name="connsiteX916" fmla="*/ 23274 w 51323"/>
                <a:gd name="connsiteY916" fmla="*/ 11319 h 51323"/>
                <a:gd name="connsiteX917" fmla="*/ 22965 w 51323"/>
                <a:gd name="connsiteY917" fmla="*/ 11319 h 51323"/>
                <a:gd name="connsiteX918" fmla="*/ 22965 w 51323"/>
                <a:gd name="connsiteY918" fmla="*/ 11319 h 51323"/>
                <a:gd name="connsiteX919" fmla="*/ 22965 w 51323"/>
                <a:gd name="connsiteY919" fmla="*/ 11233 h 51323"/>
                <a:gd name="connsiteX920" fmla="*/ 22965 w 51323"/>
                <a:gd name="connsiteY920" fmla="*/ 11233 h 51323"/>
                <a:gd name="connsiteX921" fmla="*/ 23206 w 51323"/>
                <a:gd name="connsiteY921" fmla="*/ 11148 h 51323"/>
                <a:gd name="connsiteX922" fmla="*/ 23206 w 51323"/>
                <a:gd name="connsiteY922" fmla="*/ 11027 h 51323"/>
                <a:gd name="connsiteX923" fmla="*/ 23206 w 51323"/>
                <a:gd name="connsiteY923" fmla="*/ 10941 h 51323"/>
                <a:gd name="connsiteX924" fmla="*/ 22948 w 51323"/>
                <a:gd name="connsiteY924" fmla="*/ 10821 h 51323"/>
                <a:gd name="connsiteX925" fmla="*/ 23223 w 51323"/>
                <a:gd name="connsiteY925" fmla="*/ 10821 h 51323"/>
                <a:gd name="connsiteX926" fmla="*/ 23412 w 51323"/>
                <a:gd name="connsiteY926" fmla="*/ 10718 h 51323"/>
                <a:gd name="connsiteX927" fmla="*/ 23412 w 51323"/>
                <a:gd name="connsiteY927" fmla="*/ 10718 h 51323"/>
                <a:gd name="connsiteX928" fmla="*/ 23412 w 51323"/>
                <a:gd name="connsiteY928" fmla="*/ 10632 h 51323"/>
                <a:gd name="connsiteX929" fmla="*/ 23412 w 51323"/>
                <a:gd name="connsiteY929" fmla="*/ 10632 h 51323"/>
                <a:gd name="connsiteX930" fmla="*/ 23412 w 51323"/>
                <a:gd name="connsiteY930" fmla="*/ 10632 h 51323"/>
                <a:gd name="connsiteX931" fmla="*/ 23412 w 51323"/>
                <a:gd name="connsiteY931" fmla="*/ 10632 h 51323"/>
                <a:gd name="connsiteX932" fmla="*/ 23291 w 51323"/>
                <a:gd name="connsiteY932" fmla="*/ 10632 h 51323"/>
                <a:gd name="connsiteX933" fmla="*/ 23291 w 51323"/>
                <a:gd name="connsiteY933" fmla="*/ 10632 h 51323"/>
                <a:gd name="connsiteX934" fmla="*/ 23291 w 51323"/>
                <a:gd name="connsiteY934" fmla="*/ 10632 h 51323"/>
                <a:gd name="connsiteX935" fmla="*/ 23291 w 51323"/>
                <a:gd name="connsiteY935" fmla="*/ 10632 h 51323"/>
                <a:gd name="connsiteX936" fmla="*/ 23291 w 51323"/>
                <a:gd name="connsiteY936" fmla="*/ 10632 h 51323"/>
                <a:gd name="connsiteX937" fmla="*/ 23291 w 51323"/>
                <a:gd name="connsiteY937" fmla="*/ 10632 h 51323"/>
                <a:gd name="connsiteX938" fmla="*/ 23291 w 51323"/>
                <a:gd name="connsiteY938" fmla="*/ 10632 h 51323"/>
                <a:gd name="connsiteX939" fmla="*/ 23291 w 51323"/>
                <a:gd name="connsiteY939" fmla="*/ 10478 h 51323"/>
                <a:gd name="connsiteX940" fmla="*/ 23291 w 51323"/>
                <a:gd name="connsiteY940" fmla="*/ 10581 h 51323"/>
                <a:gd name="connsiteX941" fmla="*/ 23291 w 51323"/>
                <a:gd name="connsiteY941" fmla="*/ 10581 h 51323"/>
                <a:gd name="connsiteX942" fmla="*/ 23291 w 51323"/>
                <a:gd name="connsiteY942" fmla="*/ 10581 h 51323"/>
                <a:gd name="connsiteX943" fmla="*/ 23291 w 51323"/>
                <a:gd name="connsiteY943" fmla="*/ 10667 h 51323"/>
                <a:gd name="connsiteX944" fmla="*/ 23291 w 51323"/>
                <a:gd name="connsiteY944" fmla="*/ 10787 h 51323"/>
                <a:gd name="connsiteX945" fmla="*/ 23291 w 51323"/>
                <a:gd name="connsiteY945" fmla="*/ 10873 h 51323"/>
                <a:gd name="connsiteX946" fmla="*/ 23429 w 51323"/>
                <a:gd name="connsiteY946" fmla="*/ 10701 h 51323"/>
                <a:gd name="connsiteX947" fmla="*/ 23601 w 51323"/>
                <a:gd name="connsiteY947" fmla="*/ 10461 h 51323"/>
                <a:gd name="connsiteX948" fmla="*/ 23601 w 51323"/>
                <a:gd name="connsiteY948" fmla="*/ 10598 h 51323"/>
                <a:gd name="connsiteX949" fmla="*/ 23790 w 51323"/>
                <a:gd name="connsiteY949" fmla="*/ 10478 h 51323"/>
                <a:gd name="connsiteX950" fmla="*/ 23790 w 51323"/>
                <a:gd name="connsiteY950" fmla="*/ 10787 h 51323"/>
                <a:gd name="connsiteX951" fmla="*/ 23961 w 51323"/>
                <a:gd name="connsiteY951" fmla="*/ 10512 h 51323"/>
                <a:gd name="connsiteX952" fmla="*/ 24099 w 51323"/>
                <a:gd name="connsiteY952" fmla="*/ 10512 h 51323"/>
                <a:gd name="connsiteX953" fmla="*/ 24322 w 51323"/>
                <a:gd name="connsiteY953" fmla="*/ 10512 h 51323"/>
                <a:gd name="connsiteX954" fmla="*/ 24528 w 51323"/>
                <a:gd name="connsiteY954" fmla="*/ 10512 h 51323"/>
                <a:gd name="connsiteX955" fmla="*/ 24528 w 51323"/>
                <a:gd name="connsiteY955" fmla="*/ 10632 h 51323"/>
                <a:gd name="connsiteX956" fmla="*/ 24528 w 51323"/>
                <a:gd name="connsiteY956" fmla="*/ 10804 h 51323"/>
                <a:gd name="connsiteX957" fmla="*/ 24528 w 51323"/>
                <a:gd name="connsiteY957" fmla="*/ 10804 h 51323"/>
                <a:gd name="connsiteX958" fmla="*/ 24528 w 51323"/>
                <a:gd name="connsiteY958" fmla="*/ 10924 h 51323"/>
                <a:gd name="connsiteX959" fmla="*/ 24528 w 51323"/>
                <a:gd name="connsiteY959" fmla="*/ 11148 h 51323"/>
                <a:gd name="connsiteX960" fmla="*/ 24288 w 51323"/>
                <a:gd name="connsiteY960" fmla="*/ 11148 h 51323"/>
                <a:gd name="connsiteX961" fmla="*/ 23978 w 51323"/>
                <a:gd name="connsiteY961" fmla="*/ 11388 h 51323"/>
                <a:gd name="connsiteX962" fmla="*/ 23978 w 51323"/>
                <a:gd name="connsiteY962" fmla="*/ 11388 h 51323"/>
                <a:gd name="connsiteX963" fmla="*/ 23790 w 51323"/>
                <a:gd name="connsiteY963" fmla="*/ 11388 h 51323"/>
                <a:gd name="connsiteX964" fmla="*/ 23790 w 51323"/>
                <a:gd name="connsiteY964" fmla="*/ 11388 h 51323"/>
                <a:gd name="connsiteX965" fmla="*/ 23669 w 51323"/>
                <a:gd name="connsiteY965" fmla="*/ 11440 h 51323"/>
                <a:gd name="connsiteX966" fmla="*/ 38184 w 51323"/>
                <a:gd name="connsiteY966" fmla="*/ 41533 h 51323"/>
                <a:gd name="connsiteX967" fmla="*/ 38802 w 51323"/>
                <a:gd name="connsiteY967" fmla="*/ 40640 h 51323"/>
                <a:gd name="connsiteX968" fmla="*/ 39540 w 51323"/>
                <a:gd name="connsiteY968" fmla="*/ 39523 h 51323"/>
                <a:gd name="connsiteX969" fmla="*/ 39540 w 51323"/>
                <a:gd name="connsiteY969" fmla="*/ 39523 h 51323"/>
                <a:gd name="connsiteX970" fmla="*/ 39540 w 51323"/>
                <a:gd name="connsiteY970" fmla="*/ 39523 h 51323"/>
                <a:gd name="connsiteX971" fmla="*/ 39781 w 51323"/>
                <a:gd name="connsiteY971" fmla="*/ 39386 h 51323"/>
                <a:gd name="connsiteX972" fmla="*/ 39953 w 51323"/>
                <a:gd name="connsiteY972" fmla="*/ 39386 h 51323"/>
                <a:gd name="connsiteX973" fmla="*/ 39953 w 51323"/>
                <a:gd name="connsiteY973" fmla="*/ 39386 h 51323"/>
                <a:gd name="connsiteX974" fmla="*/ 39953 w 51323"/>
                <a:gd name="connsiteY974" fmla="*/ 39248 h 51323"/>
                <a:gd name="connsiteX975" fmla="*/ 39953 w 51323"/>
                <a:gd name="connsiteY975" fmla="*/ 39248 h 51323"/>
                <a:gd name="connsiteX976" fmla="*/ 39953 w 51323"/>
                <a:gd name="connsiteY976" fmla="*/ 39248 h 51323"/>
                <a:gd name="connsiteX977" fmla="*/ 39953 w 51323"/>
                <a:gd name="connsiteY977" fmla="*/ 39369 h 51323"/>
                <a:gd name="connsiteX978" fmla="*/ 40107 w 51323"/>
                <a:gd name="connsiteY978" fmla="*/ 39266 h 51323"/>
                <a:gd name="connsiteX979" fmla="*/ 40107 w 51323"/>
                <a:gd name="connsiteY979" fmla="*/ 39145 h 51323"/>
                <a:gd name="connsiteX980" fmla="*/ 40107 w 51323"/>
                <a:gd name="connsiteY980" fmla="*/ 39042 h 51323"/>
                <a:gd name="connsiteX981" fmla="*/ 40262 w 51323"/>
                <a:gd name="connsiteY981" fmla="*/ 38939 h 51323"/>
                <a:gd name="connsiteX982" fmla="*/ 40485 w 51323"/>
                <a:gd name="connsiteY982" fmla="*/ 38561 h 51323"/>
                <a:gd name="connsiteX983" fmla="*/ 40674 w 51323"/>
                <a:gd name="connsiteY983" fmla="*/ 38441 h 51323"/>
                <a:gd name="connsiteX984" fmla="*/ 40674 w 51323"/>
                <a:gd name="connsiteY984" fmla="*/ 38664 h 51323"/>
                <a:gd name="connsiteX985" fmla="*/ 38184 w 51323"/>
                <a:gd name="connsiteY985" fmla="*/ 41533 h 51323"/>
                <a:gd name="connsiteX986" fmla="*/ 49159 w 51323"/>
                <a:gd name="connsiteY986" fmla="*/ 26589 h 51323"/>
                <a:gd name="connsiteX987" fmla="*/ 49159 w 51323"/>
                <a:gd name="connsiteY987" fmla="*/ 26589 h 51323"/>
                <a:gd name="connsiteX988" fmla="*/ 48386 w 51323"/>
                <a:gd name="connsiteY988" fmla="*/ 30643 h 51323"/>
                <a:gd name="connsiteX989" fmla="*/ 48215 w 51323"/>
                <a:gd name="connsiteY989" fmla="*/ 30849 h 51323"/>
                <a:gd name="connsiteX990" fmla="*/ 47613 w 51323"/>
                <a:gd name="connsiteY990" fmla="*/ 26452 h 51323"/>
                <a:gd name="connsiteX991" fmla="*/ 47613 w 51323"/>
                <a:gd name="connsiteY991" fmla="*/ 26160 h 51323"/>
                <a:gd name="connsiteX992" fmla="*/ 47528 w 51323"/>
                <a:gd name="connsiteY992" fmla="*/ 26160 h 51323"/>
                <a:gd name="connsiteX993" fmla="*/ 47098 w 51323"/>
                <a:gd name="connsiteY993" fmla="*/ 26606 h 51323"/>
                <a:gd name="connsiteX994" fmla="*/ 46995 w 51323"/>
                <a:gd name="connsiteY994" fmla="*/ 26383 h 51323"/>
                <a:gd name="connsiteX995" fmla="*/ 46995 w 51323"/>
                <a:gd name="connsiteY995" fmla="*/ 26383 h 51323"/>
                <a:gd name="connsiteX996" fmla="*/ 46995 w 51323"/>
                <a:gd name="connsiteY996" fmla="*/ 26383 h 51323"/>
                <a:gd name="connsiteX997" fmla="*/ 47081 w 51323"/>
                <a:gd name="connsiteY997" fmla="*/ 26040 h 51323"/>
                <a:gd name="connsiteX998" fmla="*/ 46806 w 51323"/>
                <a:gd name="connsiteY998" fmla="*/ 25833 h 51323"/>
                <a:gd name="connsiteX999" fmla="*/ 46686 w 51323"/>
                <a:gd name="connsiteY999" fmla="*/ 25971 h 51323"/>
                <a:gd name="connsiteX1000" fmla="*/ 46549 w 51323"/>
                <a:gd name="connsiteY1000" fmla="*/ 25971 h 51323"/>
                <a:gd name="connsiteX1001" fmla="*/ 46428 w 51323"/>
                <a:gd name="connsiteY1001" fmla="*/ 25559 h 51323"/>
                <a:gd name="connsiteX1002" fmla="*/ 46119 w 51323"/>
                <a:gd name="connsiteY1002" fmla="*/ 25438 h 51323"/>
                <a:gd name="connsiteX1003" fmla="*/ 45913 w 51323"/>
                <a:gd name="connsiteY1003" fmla="*/ 25610 h 51323"/>
                <a:gd name="connsiteX1004" fmla="*/ 45741 w 51323"/>
                <a:gd name="connsiteY1004" fmla="*/ 25610 h 51323"/>
                <a:gd name="connsiteX1005" fmla="*/ 45552 w 51323"/>
                <a:gd name="connsiteY1005" fmla="*/ 25765 h 51323"/>
                <a:gd name="connsiteX1006" fmla="*/ 45432 w 51323"/>
                <a:gd name="connsiteY1006" fmla="*/ 25765 h 51323"/>
                <a:gd name="connsiteX1007" fmla="*/ 45209 w 51323"/>
                <a:gd name="connsiteY1007" fmla="*/ 25679 h 51323"/>
                <a:gd name="connsiteX1008" fmla="*/ 44728 w 51323"/>
                <a:gd name="connsiteY1008" fmla="*/ 25679 h 51323"/>
                <a:gd name="connsiteX1009" fmla="*/ 44453 w 51323"/>
                <a:gd name="connsiteY1009" fmla="*/ 25679 h 51323"/>
                <a:gd name="connsiteX1010" fmla="*/ 43663 w 51323"/>
                <a:gd name="connsiteY1010" fmla="*/ 25404 h 51323"/>
                <a:gd name="connsiteX1011" fmla="*/ 43285 w 51323"/>
                <a:gd name="connsiteY1011" fmla="*/ 25146 h 51323"/>
                <a:gd name="connsiteX1012" fmla="*/ 42804 w 51323"/>
                <a:gd name="connsiteY1012" fmla="*/ 24803 h 51323"/>
                <a:gd name="connsiteX1013" fmla="*/ 42804 w 51323"/>
                <a:gd name="connsiteY1013" fmla="*/ 24803 h 51323"/>
                <a:gd name="connsiteX1014" fmla="*/ 42375 w 51323"/>
                <a:gd name="connsiteY1014" fmla="*/ 24425 h 51323"/>
                <a:gd name="connsiteX1015" fmla="*/ 42272 w 51323"/>
                <a:gd name="connsiteY1015" fmla="*/ 24270 h 51323"/>
                <a:gd name="connsiteX1016" fmla="*/ 42272 w 51323"/>
                <a:gd name="connsiteY1016" fmla="*/ 24270 h 51323"/>
                <a:gd name="connsiteX1017" fmla="*/ 42272 w 51323"/>
                <a:gd name="connsiteY1017" fmla="*/ 24270 h 51323"/>
                <a:gd name="connsiteX1018" fmla="*/ 42100 w 51323"/>
                <a:gd name="connsiteY1018" fmla="*/ 24597 h 51323"/>
                <a:gd name="connsiteX1019" fmla="*/ 42220 w 51323"/>
                <a:gd name="connsiteY1019" fmla="*/ 24597 h 51323"/>
                <a:gd name="connsiteX1020" fmla="*/ 42220 w 51323"/>
                <a:gd name="connsiteY1020" fmla="*/ 24597 h 51323"/>
                <a:gd name="connsiteX1021" fmla="*/ 42220 w 51323"/>
                <a:gd name="connsiteY1021" fmla="*/ 24734 h 51323"/>
                <a:gd name="connsiteX1022" fmla="*/ 42220 w 51323"/>
                <a:gd name="connsiteY1022" fmla="*/ 24734 h 51323"/>
                <a:gd name="connsiteX1023" fmla="*/ 42512 w 51323"/>
                <a:gd name="connsiteY1023" fmla="*/ 25112 h 51323"/>
                <a:gd name="connsiteX1024" fmla="*/ 42770 w 51323"/>
                <a:gd name="connsiteY1024" fmla="*/ 25610 h 51323"/>
                <a:gd name="connsiteX1025" fmla="*/ 42770 w 51323"/>
                <a:gd name="connsiteY1025" fmla="*/ 25610 h 51323"/>
                <a:gd name="connsiteX1026" fmla="*/ 43045 w 51323"/>
                <a:gd name="connsiteY1026" fmla="*/ 25782 h 51323"/>
                <a:gd name="connsiteX1027" fmla="*/ 43165 w 51323"/>
                <a:gd name="connsiteY1027" fmla="*/ 25627 h 51323"/>
                <a:gd name="connsiteX1028" fmla="*/ 43165 w 51323"/>
                <a:gd name="connsiteY1028" fmla="*/ 26108 h 51323"/>
                <a:gd name="connsiteX1029" fmla="*/ 43165 w 51323"/>
                <a:gd name="connsiteY1029" fmla="*/ 26211 h 51323"/>
                <a:gd name="connsiteX1030" fmla="*/ 43165 w 51323"/>
                <a:gd name="connsiteY1030" fmla="*/ 26366 h 51323"/>
                <a:gd name="connsiteX1031" fmla="*/ 43766 w 51323"/>
                <a:gd name="connsiteY1031" fmla="*/ 26091 h 51323"/>
                <a:gd name="connsiteX1032" fmla="*/ 43766 w 51323"/>
                <a:gd name="connsiteY1032" fmla="*/ 26091 h 51323"/>
                <a:gd name="connsiteX1033" fmla="*/ 44058 w 51323"/>
                <a:gd name="connsiteY1033" fmla="*/ 25318 h 51323"/>
                <a:gd name="connsiteX1034" fmla="*/ 44058 w 51323"/>
                <a:gd name="connsiteY1034" fmla="*/ 25318 h 51323"/>
                <a:gd name="connsiteX1035" fmla="*/ 44058 w 51323"/>
                <a:gd name="connsiteY1035" fmla="*/ 25215 h 51323"/>
                <a:gd name="connsiteX1036" fmla="*/ 44058 w 51323"/>
                <a:gd name="connsiteY1036" fmla="*/ 25507 h 51323"/>
                <a:gd name="connsiteX1037" fmla="*/ 44642 w 51323"/>
                <a:gd name="connsiteY1037" fmla="*/ 26091 h 51323"/>
                <a:gd name="connsiteX1038" fmla="*/ 44642 w 51323"/>
                <a:gd name="connsiteY1038" fmla="*/ 27311 h 51323"/>
                <a:gd name="connsiteX1039" fmla="*/ 44642 w 51323"/>
                <a:gd name="connsiteY1039" fmla="*/ 27877 h 51323"/>
                <a:gd name="connsiteX1040" fmla="*/ 44109 w 51323"/>
                <a:gd name="connsiteY1040" fmla="*/ 28376 h 51323"/>
                <a:gd name="connsiteX1041" fmla="*/ 44109 w 51323"/>
                <a:gd name="connsiteY1041" fmla="*/ 28719 h 51323"/>
                <a:gd name="connsiteX1042" fmla="*/ 43457 w 51323"/>
                <a:gd name="connsiteY1042" fmla="*/ 29114 h 51323"/>
                <a:gd name="connsiteX1043" fmla="*/ 42684 w 51323"/>
                <a:gd name="connsiteY1043" fmla="*/ 29767 h 51323"/>
                <a:gd name="connsiteX1044" fmla="*/ 42357 w 51323"/>
                <a:gd name="connsiteY1044" fmla="*/ 29990 h 51323"/>
                <a:gd name="connsiteX1045" fmla="*/ 41791 w 51323"/>
                <a:gd name="connsiteY1045" fmla="*/ 30248 h 51323"/>
                <a:gd name="connsiteX1046" fmla="*/ 41172 w 51323"/>
                <a:gd name="connsiteY1046" fmla="*/ 30626 h 51323"/>
                <a:gd name="connsiteX1047" fmla="*/ 40897 w 51323"/>
                <a:gd name="connsiteY1047" fmla="*/ 29629 h 51323"/>
                <a:gd name="connsiteX1048" fmla="*/ 39850 w 51323"/>
                <a:gd name="connsiteY1048" fmla="*/ 27706 h 51323"/>
                <a:gd name="connsiteX1049" fmla="*/ 39283 w 51323"/>
                <a:gd name="connsiteY1049" fmla="*/ 26606 h 51323"/>
                <a:gd name="connsiteX1050" fmla="*/ 38338 w 51323"/>
                <a:gd name="connsiteY1050" fmla="*/ 24751 h 51323"/>
                <a:gd name="connsiteX1051" fmla="*/ 38201 w 51323"/>
                <a:gd name="connsiteY1051" fmla="*/ 25438 h 51323"/>
                <a:gd name="connsiteX1052" fmla="*/ 37548 w 51323"/>
                <a:gd name="connsiteY1052" fmla="*/ 24717 h 51323"/>
                <a:gd name="connsiteX1053" fmla="*/ 38682 w 51323"/>
                <a:gd name="connsiteY1053" fmla="*/ 26692 h 51323"/>
                <a:gd name="connsiteX1054" fmla="*/ 38682 w 51323"/>
                <a:gd name="connsiteY1054" fmla="*/ 26692 h 51323"/>
                <a:gd name="connsiteX1055" fmla="*/ 38819 w 51323"/>
                <a:gd name="connsiteY1055" fmla="*/ 26830 h 51323"/>
                <a:gd name="connsiteX1056" fmla="*/ 38699 w 51323"/>
                <a:gd name="connsiteY1056" fmla="*/ 26830 h 51323"/>
                <a:gd name="connsiteX1057" fmla="*/ 39317 w 51323"/>
                <a:gd name="connsiteY1057" fmla="*/ 27826 h 51323"/>
                <a:gd name="connsiteX1058" fmla="*/ 39317 w 51323"/>
                <a:gd name="connsiteY1058" fmla="*/ 28376 h 51323"/>
                <a:gd name="connsiteX1059" fmla="*/ 39712 w 51323"/>
                <a:gd name="connsiteY1059" fmla="*/ 28891 h 51323"/>
                <a:gd name="connsiteX1060" fmla="*/ 40021 w 51323"/>
                <a:gd name="connsiteY1060" fmla="*/ 29715 h 51323"/>
                <a:gd name="connsiteX1061" fmla="*/ 40021 w 51323"/>
                <a:gd name="connsiteY1061" fmla="*/ 29801 h 51323"/>
                <a:gd name="connsiteX1062" fmla="*/ 40193 w 51323"/>
                <a:gd name="connsiteY1062" fmla="*/ 29939 h 51323"/>
                <a:gd name="connsiteX1063" fmla="*/ 40932 w 51323"/>
                <a:gd name="connsiteY1063" fmla="*/ 30626 h 51323"/>
                <a:gd name="connsiteX1064" fmla="*/ 41035 w 51323"/>
                <a:gd name="connsiteY1064" fmla="*/ 30746 h 51323"/>
                <a:gd name="connsiteX1065" fmla="*/ 40794 w 51323"/>
                <a:gd name="connsiteY1065" fmla="*/ 31038 h 51323"/>
                <a:gd name="connsiteX1066" fmla="*/ 41327 w 51323"/>
                <a:gd name="connsiteY1066" fmla="*/ 31450 h 51323"/>
                <a:gd name="connsiteX1067" fmla="*/ 42770 w 51323"/>
                <a:gd name="connsiteY1067" fmla="*/ 30901 h 51323"/>
                <a:gd name="connsiteX1068" fmla="*/ 42993 w 51323"/>
                <a:gd name="connsiteY1068" fmla="*/ 30660 h 51323"/>
                <a:gd name="connsiteX1069" fmla="*/ 42993 w 51323"/>
                <a:gd name="connsiteY1069" fmla="*/ 31210 h 51323"/>
                <a:gd name="connsiteX1070" fmla="*/ 42993 w 51323"/>
                <a:gd name="connsiteY1070" fmla="*/ 31210 h 51323"/>
                <a:gd name="connsiteX1071" fmla="*/ 38922 w 51323"/>
                <a:gd name="connsiteY1071" fmla="*/ 37033 h 51323"/>
                <a:gd name="connsiteX1072" fmla="*/ 38802 w 51323"/>
                <a:gd name="connsiteY1072" fmla="*/ 37307 h 51323"/>
                <a:gd name="connsiteX1073" fmla="*/ 38802 w 51323"/>
                <a:gd name="connsiteY1073" fmla="*/ 38012 h 51323"/>
                <a:gd name="connsiteX1074" fmla="*/ 38355 w 51323"/>
                <a:gd name="connsiteY1074" fmla="*/ 39248 h 51323"/>
                <a:gd name="connsiteX1075" fmla="*/ 38355 w 51323"/>
                <a:gd name="connsiteY1075" fmla="*/ 39351 h 51323"/>
                <a:gd name="connsiteX1076" fmla="*/ 37119 w 51323"/>
                <a:gd name="connsiteY1076" fmla="*/ 40193 h 51323"/>
                <a:gd name="connsiteX1077" fmla="*/ 37119 w 51323"/>
                <a:gd name="connsiteY1077" fmla="*/ 40193 h 51323"/>
                <a:gd name="connsiteX1078" fmla="*/ 36311 w 51323"/>
                <a:gd name="connsiteY1078" fmla="*/ 40691 h 51323"/>
                <a:gd name="connsiteX1079" fmla="*/ 36311 w 51323"/>
                <a:gd name="connsiteY1079" fmla="*/ 40880 h 51323"/>
                <a:gd name="connsiteX1080" fmla="*/ 36311 w 51323"/>
                <a:gd name="connsiteY1080" fmla="*/ 41035 h 51323"/>
                <a:gd name="connsiteX1081" fmla="*/ 36311 w 51323"/>
                <a:gd name="connsiteY1081" fmla="*/ 41395 h 51323"/>
                <a:gd name="connsiteX1082" fmla="*/ 36311 w 51323"/>
                <a:gd name="connsiteY1082" fmla="*/ 41292 h 51323"/>
                <a:gd name="connsiteX1083" fmla="*/ 36311 w 51323"/>
                <a:gd name="connsiteY1083" fmla="*/ 41292 h 51323"/>
                <a:gd name="connsiteX1084" fmla="*/ 36311 w 51323"/>
                <a:gd name="connsiteY1084" fmla="*/ 41292 h 51323"/>
                <a:gd name="connsiteX1085" fmla="*/ 36054 w 51323"/>
                <a:gd name="connsiteY1085" fmla="*/ 41705 h 51323"/>
                <a:gd name="connsiteX1086" fmla="*/ 36054 w 51323"/>
                <a:gd name="connsiteY1086" fmla="*/ 41705 h 51323"/>
                <a:gd name="connsiteX1087" fmla="*/ 35006 w 51323"/>
                <a:gd name="connsiteY1087" fmla="*/ 42392 h 51323"/>
                <a:gd name="connsiteX1088" fmla="*/ 35126 w 51323"/>
                <a:gd name="connsiteY1088" fmla="*/ 42392 h 51323"/>
                <a:gd name="connsiteX1089" fmla="*/ 34954 w 51323"/>
                <a:gd name="connsiteY1089" fmla="*/ 42598 h 51323"/>
                <a:gd name="connsiteX1090" fmla="*/ 34954 w 51323"/>
                <a:gd name="connsiteY1090" fmla="*/ 42598 h 51323"/>
                <a:gd name="connsiteX1091" fmla="*/ 32051 w 51323"/>
                <a:gd name="connsiteY1091" fmla="*/ 44315 h 51323"/>
                <a:gd name="connsiteX1092" fmla="*/ 30660 w 51323"/>
                <a:gd name="connsiteY1092" fmla="*/ 44418 h 51323"/>
                <a:gd name="connsiteX1093" fmla="*/ 30660 w 51323"/>
                <a:gd name="connsiteY1093" fmla="*/ 44418 h 51323"/>
                <a:gd name="connsiteX1094" fmla="*/ 30660 w 51323"/>
                <a:gd name="connsiteY1094" fmla="*/ 44418 h 51323"/>
                <a:gd name="connsiteX1095" fmla="*/ 30660 w 51323"/>
                <a:gd name="connsiteY1095" fmla="*/ 44092 h 51323"/>
                <a:gd name="connsiteX1096" fmla="*/ 30660 w 51323"/>
                <a:gd name="connsiteY1096" fmla="*/ 43199 h 51323"/>
                <a:gd name="connsiteX1097" fmla="*/ 29836 w 51323"/>
                <a:gd name="connsiteY1097" fmla="*/ 40296 h 51323"/>
                <a:gd name="connsiteX1098" fmla="*/ 30591 w 51323"/>
                <a:gd name="connsiteY1098" fmla="*/ 38046 h 51323"/>
                <a:gd name="connsiteX1099" fmla="*/ 30471 w 51323"/>
                <a:gd name="connsiteY1099" fmla="*/ 37204 h 51323"/>
                <a:gd name="connsiteX1100" fmla="*/ 30574 w 51323"/>
                <a:gd name="connsiteY1100" fmla="*/ 37204 h 51323"/>
                <a:gd name="connsiteX1101" fmla="*/ 30454 w 51323"/>
                <a:gd name="connsiteY1101" fmla="*/ 37050 h 51323"/>
                <a:gd name="connsiteX1102" fmla="*/ 29423 w 51323"/>
                <a:gd name="connsiteY1102" fmla="*/ 35607 h 51323"/>
                <a:gd name="connsiteX1103" fmla="*/ 29630 w 51323"/>
                <a:gd name="connsiteY1103" fmla="*/ 35298 h 51323"/>
                <a:gd name="connsiteX1104" fmla="*/ 29819 w 51323"/>
                <a:gd name="connsiteY1104" fmla="*/ 35298 h 51323"/>
                <a:gd name="connsiteX1105" fmla="*/ 29647 w 51323"/>
                <a:gd name="connsiteY1105" fmla="*/ 35177 h 51323"/>
                <a:gd name="connsiteX1106" fmla="*/ 29647 w 51323"/>
                <a:gd name="connsiteY1106" fmla="*/ 35040 h 51323"/>
                <a:gd name="connsiteX1107" fmla="*/ 29836 w 51323"/>
                <a:gd name="connsiteY1107" fmla="*/ 34095 h 51323"/>
                <a:gd name="connsiteX1108" fmla="*/ 29612 w 51323"/>
                <a:gd name="connsiteY1108" fmla="*/ 33906 h 51323"/>
                <a:gd name="connsiteX1109" fmla="*/ 29423 w 51323"/>
                <a:gd name="connsiteY1109" fmla="*/ 33906 h 51323"/>
                <a:gd name="connsiteX1110" fmla="*/ 28496 w 51323"/>
                <a:gd name="connsiteY1110" fmla="*/ 34044 h 51323"/>
                <a:gd name="connsiteX1111" fmla="*/ 25937 w 51323"/>
                <a:gd name="connsiteY1111" fmla="*/ 33821 h 51323"/>
                <a:gd name="connsiteX1112" fmla="*/ 22501 w 51323"/>
                <a:gd name="connsiteY1112" fmla="*/ 32687 h 51323"/>
                <a:gd name="connsiteX1113" fmla="*/ 22226 w 51323"/>
                <a:gd name="connsiteY1113" fmla="*/ 32361 h 51323"/>
                <a:gd name="connsiteX1114" fmla="*/ 22226 w 51323"/>
                <a:gd name="connsiteY1114" fmla="*/ 32137 h 51323"/>
                <a:gd name="connsiteX1115" fmla="*/ 21986 w 51323"/>
                <a:gd name="connsiteY1115" fmla="*/ 31828 h 51323"/>
                <a:gd name="connsiteX1116" fmla="*/ 21591 w 51323"/>
                <a:gd name="connsiteY1116" fmla="*/ 31536 h 51323"/>
                <a:gd name="connsiteX1117" fmla="*/ 21436 w 51323"/>
                <a:gd name="connsiteY1117" fmla="*/ 31450 h 51323"/>
                <a:gd name="connsiteX1118" fmla="*/ 21436 w 51323"/>
                <a:gd name="connsiteY1118" fmla="*/ 31450 h 51323"/>
                <a:gd name="connsiteX1119" fmla="*/ 21436 w 51323"/>
                <a:gd name="connsiteY1119" fmla="*/ 31450 h 51323"/>
                <a:gd name="connsiteX1120" fmla="*/ 21436 w 51323"/>
                <a:gd name="connsiteY1120" fmla="*/ 31347 h 51323"/>
                <a:gd name="connsiteX1121" fmla="*/ 21642 w 51323"/>
                <a:gd name="connsiteY1121" fmla="*/ 31347 h 51323"/>
                <a:gd name="connsiteX1122" fmla="*/ 21247 w 51323"/>
                <a:gd name="connsiteY1122" fmla="*/ 31158 h 51323"/>
                <a:gd name="connsiteX1123" fmla="*/ 21041 w 51323"/>
                <a:gd name="connsiteY1123" fmla="*/ 30986 h 51323"/>
                <a:gd name="connsiteX1124" fmla="*/ 21213 w 51323"/>
                <a:gd name="connsiteY1124" fmla="*/ 30986 h 51323"/>
                <a:gd name="connsiteX1125" fmla="*/ 21024 w 51323"/>
                <a:gd name="connsiteY1125" fmla="*/ 30986 h 51323"/>
                <a:gd name="connsiteX1126" fmla="*/ 21024 w 51323"/>
                <a:gd name="connsiteY1126" fmla="*/ 30780 h 51323"/>
                <a:gd name="connsiteX1127" fmla="*/ 21299 w 51323"/>
                <a:gd name="connsiteY1127" fmla="*/ 30780 h 51323"/>
                <a:gd name="connsiteX1128" fmla="*/ 21144 w 51323"/>
                <a:gd name="connsiteY1128" fmla="*/ 30626 h 51323"/>
                <a:gd name="connsiteX1129" fmla="*/ 21144 w 51323"/>
                <a:gd name="connsiteY1129" fmla="*/ 30626 h 51323"/>
                <a:gd name="connsiteX1130" fmla="*/ 20921 w 51323"/>
                <a:gd name="connsiteY1130" fmla="*/ 30299 h 51323"/>
                <a:gd name="connsiteX1131" fmla="*/ 21333 w 51323"/>
                <a:gd name="connsiteY1131" fmla="*/ 28582 h 51323"/>
                <a:gd name="connsiteX1132" fmla="*/ 21436 w 51323"/>
                <a:gd name="connsiteY1132" fmla="*/ 28358 h 51323"/>
                <a:gd name="connsiteX1133" fmla="*/ 21247 w 51323"/>
                <a:gd name="connsiteY1133" fmla="*/ 28135 h 51323"/>
                <a:gd name="connsiteX1134" fmla="*/ 21247 w 51323"/>
                <a:gd name="connsiteY1134" fmla="*/ 28221 h 51323"/>
                <a:gd name="connsiteX1135" fmla="*/ 21591 w 51323"/>
                <a:gd name="connsiteY1135" fmla="*/ 27465 h 51323"/>
                <a:gd name="connsiteX1136" fmla="*/ 23927 w 51323"/>
                <a:gd name="connsiteY1136" fmla="*/ 25043 h 51323"/>
                <a:gd name="connsiteX1137" fmla="*/ 23927 w 51323"/>
                <a:gd name="connsiteY1137" fmla="*/ 24562 h 51323"/>
                <a:gd name="connsiteX1138" fmla="*/ 24133 w 51323"/>
                <a:gd name="connsiteY1138" fmla="*/ 24081 h 51323"/>
                <a:gd name="connsiteX1139" fmla="*/ 25473 w 51323"/>
                <a:gd name="connsiteY1139" fmla="*/ 22896 h 51323"/>
                <a:gd name="connsiteX1140" fmla="*/ 26194 w 51323"/>
                <a:gd name="connsiteY1140" fmla="*/ 23102 h 51323"/>
                <a:gd name="connsiteX1141" fmla="*/ 27586 w 51323"/>
                <a:gd name="connsiteY1141" fmla="*/ 22725 h 51323"/>
                <a:gd name="connsiteX1142" fmla="*/ 29063 w 51323"/>
                <a:gd name="connsiteY1142" fmla="*/ 22587 h 51323"/>
                <a:gd name="connsiteX1143" fmla="*/ 29372 w 51323"/>
                <a:gd name="connsiteY1143" fmla="*/ 22587 h 51323"/>
                <a:gd name="connsiteX1144" fmla="*/ 30162 w 51323"/>
                <a:gd name="connsiteY1144" fmla="*/ 22587 h 51323"/>
                <a:gd name="connsiteX1145" fmla="*/ 30385 w 51323"/>
                <a:gd name="connsiteY1145" fmla="*/ 22776 h 51323"/>
                <a:gd name="connsiteX1146" fmla="*/ 30385 w 51323"/>
                <a:gd name="connsiteY1146" fmla="*/ 23017 h 51323"/>
                <a:gd name="connsiteX1147" fmla="*/ 30385 w 51323"/>
                <a:gd name="connsiteY1147" fmla="*/ 23910 h 51323"/>
                <a:gd name="connsiteX1148" fmla="*/ 30506 w 51323"/>
                <a:gd name="connsiteY1148" fmla="*/ 23910 h 51323"/>
                <a:gd name="connsiteX1149" fmla="*/ 30506 w 51323"/>
                <a:gd name="connsiteY1149" fmla="*/ 23910 h 51323"/>
                <a:gd name="connsiteX1150" fmla="*/ 31622 w 51323"/>
                <a:gd name="connsiteY1150" fmla="*/ 24236 h 51323"/>
                <a:gd name="connsiteX1151" fmla="*/ 34473 w 51323"/>
                <a:gd name="connsiteY1151" fmla="*/ 24236 h 51323"/>
                <a:gd name="connsiteX1152" fmla="*/ 36191 w 51323"/>
                <a:gd name="connsiteY1152" fmla="*/ 24700 h 51323"/>
                <a:gd name="connsiteX1153" fmla="*/ 37084 w 51323"/>
                <a:gd name="connsiteY1153" fmla="*/ 24494 h 51323"/>
                <a:gd name="connsiteX1154" fmla="*/ 37187 w 51323"/>
                <a:gd name="connsiteY1154" fmla="*/ 24494 h 51323"/>
                <a:gd name="connsiteX1155" fmla="*/ 37187 w 51323"/>
                <a:gd name="connsiteY1155" fmla="*/ 24494 h 51323"/>
                <a:gd name="connsiteX1156" fmla="*/ 37462 w 51323"/>
                <a:gd name="connsiteY1156" fmla="*/ 24494 h 51323"/>
                <a:gd name="connsiteX1157" fmla="*/ 37565 w 51323"/>
                <a:gd name="connsiteY1157" fmla="*/ 24665 h 51323"/>
                <a:gd name="connsiteX1158" fmla="*/ 37565 w 51323"/>
                <a:gd name="connsiteY1158" fmla="*/ 24494 h 51323"/>
                <a:gd name="connsiteX1159" fmla="*/ 38407 w 51323"/>
                <a:gd name="connsiteY1159" fmla="*/ 22381 h 51323"/>
                <a:gd name="connsiteX1160" fmla="*/ 37840 w 51323"/>
                <a:gd name="connsiteY1160" fmla="*/ 22656 h 51323"/>
                <a:gd name="connsiteX1161" fmla="*/ 36775 w 51323"/>
                <a:gd name="connsiteY1161" fmla="*/ 22656 h 51323"/>
                <a:gd name="connsiteX1162" fmla="*/ 36277 w 51323"/>
                <a:gd name="connsiteY1162" fmla="*/ 22536 h 51323"/>
                <a:gd name="connsiteX1163" fmla="*/ 36140 w 51323"/>
                <a:gd name="connsiteY1163" fmla="*/ 22536 h 51323"/>
                <a:gd name="connsiteX1164" fmla="*/ 35933 w 51323"/>
                <a:gd name="connsiteY1164" fmla="*/ 22536 h 51323"/>
                <a:gd name="connsiteX1165" fmla="*/ 35727 w 51323"/>
                <a:gd name="connsiteY1165" fmla="*/ 22536 h 51323"/>
                <a:gd name="connsiteX1166" fmla="*/ 35951 w 51323"/>
                <a:gd name="connsiteY1166" fmla="*/ 22398 h 51323"/>
                <a:gd name="connsiteX1167" fmla="*/ 35762 w 51323"/>
                <a:gd name="connsiteY1167" fmla="*/ 22398 h 51323"/>
                <a:gd name="connsiteX1168" fmla="*/ 35401 w 51323"/>
                <a:gd name="connsiteY1168" fmla="*/ 22020 h 51323"/>
                <a:gd name="connsiteX1169" fmla="*/ 35401 w 51323"/>
                <a:gd name="connsiteY1169" fmla="*/ 21831 h 51323"/>
                <a:gd name="connsiteX1170" fmla="*/ 35573 w 51323"/>
                <a:gd name="connsiteY1170" fmla="*/ 21831 h 51323"/>
                <a:gd name="connsiteX1171" fmla="*/ 35573 w 51323"/>
                <a:gd name="connsiteY1171" fmla="*/ 21831 h 51323"/>
                <a:gd name="connsiteX1172" fmla="*/ 35676 w 51323"/>
                <a:gd name="connsiteY1172" fmla="*/ 21694 h 51323"/>
                <a:gd name="connsiteX1173" fmla="*/ 35676 w 51323"/>
                <a:gd name="connsiteY1173" fmla="*/ 21488 h 51323"/>
                <a:gd name="connsiteX1174" fmla="*/ 35779 w 51323"/>
                <a:gd name="connsiteY1174" fmla="*/ 21179 h 51323"/>
                <a:gd name="connsiteX1175" fmla="*/ 36225 w 51323"/>
                <a:gd name="connsiteY1175" fmla="*/ 21179 h 51323"/>
                <a:gd name="connsiteX1176" fmla="*/ 36397 w 51323"/>
                <a:gd name="connsiteY1176" fmla="*/ 20990 h 51323"/>
                <a:gd name="connsiteX1177" fmla="*/ 36827 w 51323"/>
                <a:gd name="connsiteY1177" fmla="*/ 20784 h 51323"/>
                <a:gd name="connsiteX1178" fmla="*/ 37788 w 51323"/>
                <a:gd name="connsiteY1178" fmla="*/ 20371 h 51323"/>
                <a:gd name="connsiteX1179" fmla="*/ 38063 w 51323"/>
                <a:gd name="connsiteY1179" fmla="*/ 20371 h 51323"/>
                <a:gd name="connsiteX1180" fmla="*/ 38287 w 51323"/>
                <a:gd name="connsiteY1180" fmla="*/ 20526 h 51323"/>
                <a:gd name="connsiteX1181" fmla="*/ 37857 w 51323"/>
                <a:gd name="connsiteY1181" fmla="*/ 19049 h 51323"/>
                <a:gd name="connsiteX1182" fmla="*/ 37857 w 51323"/>
                <a:gd name="connsiteY1182" fmla="*/ 18911 h 51323"/>
                <a:gd name="connsiteX1183" fmla="*/ 37977 w 51323"/>
                <a:gd name="connsiteY1183" fmla="*/ 18791 h 51323"/>
                <a:gd name="connsiteX1184" fmla="*/ 37977 w 51323"/>
                <a:gd name="connsiteY1184" fmla="*/ 18551 h 51323"/>
                <a:gd name="connsiteX1185" fmla="*/ 37857 w 51323"/>
                <a:gd name="connsiteY1185" fmla="*/ 18448 h 51323"/>
                <a:gd name="connsiteX1186" fmla="*/ 38029 w 51323"/>
                <a:gd name="connsiteY1186" fmla="*/ 18448 h 51323"/>
                <a:gd name="connsiteX1187" fmla="*/ 38132 w 51323"/>
                <a:gd name="connsiteY1187" fmla="*/ 18224 h 51323"/>
                <a:gd name="connsiteX1188" fmla="*/ 37548 w 51323"/>
                <a:gd name="connsiteY1188" fmla="*/ 18499 h 51323"/>
                <a:gd name="connsiteX1189" fmla="*/ 37359 w 51323"/>
                <a:gd name="connsiteY1189" fmla="*/ 18499 h 51323"/>
                <a:gd name="connsiteX1190" fmla="*/ 37204 w 51323"/>
                <a:gd name="connsiteY1190" fmla="*/ 18499 h 51323"/>
                <a:gd name="connsiteX1191" fmla="*/ 37204 w 51323"/>
                <a:gd name="connsiteY1191" fmla="*/ 18705 h 51323"/>
                <a:gd name="connsiteX1192" fmla="*/ 37204 w 51323"/>
                <a:gd name="connsiteY1192" fmla="*/ 18568 h 51323"/>
                <a:gd name="connsiteX1193" fmla="*/ 36878 w 51323"/>
                <a:gd name="connsiteY1193" fmla="*/ 18791 h 51323"/>
                <a:gd name="connsiteX1194" fmla="*/ 37136 w 51323"/>
                <a:gd name="connsiteY1194" fmla="*/ 18946 h 51323"/>
                <a:gd name="connsiteX1195" fmla="*/ 37136 w 51323"/>
                <a:gd name="connsiteY1195" fmla="*/ 18946 h 51323"/>
                <a:gd name="connsiteX1196" fmla="*/ 37325 w 51323"/>
                <a:gd name="connsiteY1196" fmla="*/ 19049 h 51323"/>
                <a:gd name="connsiteX1197" fmla="*/ 37084 w 51323"/>
                <a:gd name="connsiteY1197" fmla="*/ 18705 h 51323"/>
                <a:gd name="connsiteX1198" fmla="*/ 37393 w 51323"/>
                <a:gd name="connsiteY1198" fmla="*/ 19014 h 51323"/>
                <a:gd name="connsiteX1199" fmla="*/ 37514 w 51323"/>
                <a:gd name="connsiteY1199" fmla="*/ 19014 h 51323"/>
                <a:gd name="connsiteX1200" fmla="*/ 37685 w 51323"/>
                <a:gd name="connsiteY1200" fmla="*/ 18929 h 51323"/>
                <a:gd name="connsiteX1201" fmla="*/ 37462 w 51323"/>
                <a:gd name="connsiteY1201" fmla="*/ 19100 h 51323"/>
                <a:gd name="connsiteX1202" fmla="*/ 36912 w 51323"/>
                <a:gd name="connsiteY1202" fmla="*/ 19100 h 51323"/>
                <a:gd name="connsiteX1203" fmla="*/ 36758 w 51323"/>
                <a:gd name="connsiteY1203" fmla="*/ 18860 h 51323"/>
                <a:gd name="connsiteX1204" fmla="*/ 36500 w 51323"/>
                <a:gd name="connsiteY1204" fmla="*/ 18740 h 51323"/>
                <a:gd name="connsiteX1205" fmla="*/ 36380 w 51323"/>
                <a:gd name="connsiteY1205" fmla="*/ 18619 h 51323"/>
                <a:gd name="connsiteX1206" fmla="*/ 36157 w 51323"/>
                <a:gd name="connsiteY1206" fmla="*/ 18619 h 51323"/>
                <a:gd name="connsiteX1207" fmla="*/ 36449 w 51323"/>
                <a:gd name="connsiteY1207" fmla="*/ 18619 h 51323"/>
                <a:gd name="connsiteX1208" fmla="*/ 36260 w 51323"/>
                <a:gd name="connsiteY1208" fmla="*/ 18619 h 51323"/>
                <a:gd name="connsiteX1209" fmla="*/ 36088 w 51323"/>
                <a:gd name="connsiteY1209" fmla="*/ 18740 h 51323"/>
                <a:gd name="connsiteX1210" fmla="*/ 35916 w 51323"/>
                <a:gd name="connsiteY1210" fmla="*/ 18946 h 51323"/>
                <a:gd name="connsiteX1211" fmla="*/ 35796 w 51323"/>
                <a:gd name="connsiteY1211" fmla="*/ 19083 h 51323"/>
                <a:gd name="connsiteX1212" fmla="*/ 35607 w 51323"/>
                <a:gd name="connsiteY1212" fmla="*/ 19598 h 51323"/>
                <a:gd name="connsiteX1213" fmla="*/ 35607 w 51323"/>
                <a:gd name="connsiteY1213" fmla="*/ 19993 h 51323"/>
                <a:gd name="connsiteX1214" fmla="*/ 35470 w 51323"/>
                <a:gd name="connsiteY1214" fmla="*/ 20251 h 51323"/>
                <a:gd name="connsiteX1215" fmla="*/ 35607 w 51323"/>
                <a:gd name="connsiteY1215" fmla="*/ 20698 h 51323"/>
                <a:gd name="connsiteX1216" fmla="*/ 35899 w 51323"/>
                <a:gd name="connsiteY1216" fmla="*/ 20990 h 51323"/>
                <a:gd name="connsiteX1217" fmla="*/ 35212 w 51323"/>
                <a:gd name="connsiteY1217" fmla="*/ 21333 h 51323"/>
                <a:gd name="connsiteX1218" fmla="*/ 35315 w 51323"/>
                <a:gd name="connsiteY1218" fmla="*/ 21144 h 51323"/>
                <a:gd name="connsiteX1219" fmla="*/ 34731 w 51323"/>
                <a:gd name="connsiteY1219" fmla="*/ 21144 h 51323"/>
                <a:gd name="connsiteX1220" fmla="*/ 34491 w 51323"/>
                <a:gd name="connsiteY1220" fmla="*/ 21230 h 51323"/>
                <a:gd name="connsiteX1221" fmla="*/ 34611 w 51323"/>
                <a:gd name="connsiteY1221" fmla="*/ 21385 h 51323"/>
                <a:gd name="connsiteX1222" fmla="*/ 34439 w 51323"/>
                <a:gd name="connsiteY1222" fmla="*/ 21385 h 51323"/>
                <a:gd name="connsiteX1223" fmla="*/ 34439 w 51323"/>
                <a:gd name="connsiteY1223" fmla="*/ 21471 h 51323"/>
                <a:gd name="connsiteX1224" fmla="*/ 34439 w 51323"/>
                <a:gd name="connsiteY1224" fmla="*/ 21471 h 51323"/>
                <a:gd name="connsiteX1225" fmla="*/ 34164 w 51323"/>
                <a:gd name="connsiteY1225" fmla="*/ 21282 h 51323"/>
                <a:gd name="connsiteX1226" fmla="*/ 34164 w 51323"/>
                <a:gd name="connsiteY1226" fmla="*/ 21522 h 51323"/>
                <a:gd name="connsiteX1227" fmla="*/ 34164 w 51323"/>
                <a:gd name="connsiteY1227" fmla="*/ 21728 h 51323"/>
                <a:gd name="connsiteX1228" fmla="*/ 34164 w 51323"/>
                <a:gd name="connsiteY1228" fmla="*/ 21728 h 51323"/>
                <a:gd name="connsiteX1229" fmla="*/ 34164 w 51323"/>
                <a:gd name="connsiteY1229" fmla="*/ 21831 h 51323"/>
                <a:gd name="connsiteX1230" fmla="*/ 34662 w 51323"/>
                <a:gd name="connsiteY1230" fmla="*/ 22295 h 51323"/>
                <a:gd name="connsiteX1231" fmla="*/ 34336 w 51323"/>
                <a:gd name="connsiteY1231" fmla="*/ 22295 h 51323"/>
                <a:gd name="connsiteX1232" fmla="*/ 34456 w 51323"/>
                <a:gd name="connsiteY1232" fmla="*/ 22467 h 51323"/>
                <a:gd name="connsiteX1233" fmla="*/ 34456 w 51323"/>
                <a:gd name="connsiteY1233" fmla="*/ 22467 h 51323"/>
                <a:gd name="connsiteX1234" fmla="*/ 34456 w 51323"/>
                <a:gd name="connsiteY1234" fmla="*/ 22776 h 51323"/>
                <a:gd name="connsiteX1235" fmla="*/ 34250 w 51323"/>
                <a:gd name="connsiteY1235" fmla="*/ 22776 h 51323"/>
                <a:gd name="connsiteX1236" fmla="*/ 34078 w 51323"/>
                <a:gd name="connsiteY1236" fmla="*/ 22518 h 51323"/>
                <a:gd name="connsiteX1237" fmla="*/ 34078 w 51323"/>
                <a:gd name="connsiteY1237" fmla="*/ 22656 h 51323"/>
                <a:gd name="connsiteX1238" fmla="*/ 33975 w 51323"/>
                <a:gd name="connsiteY1238" fmla="*/ 22398 h 51323"/>
                <a:gd name="connsiteX1239" fmla="*/ 33855 w 51323"/>
                <a:gd name="connsiteY1239" fmla="*/ 22089 h 51323"/>
                <a:gd name="connsiteX1240" fmla="*/ 34353 w 51323"/>
                <a:gd name="connsiteY1240" fmla="*/ 22089 h 51323"/>
                <a:gd name="connsiteX1241" fmla="*/ 33958 w 51323"/>
                <a:gd name="connsiteY1241" fmla="*/ 22089 h 51323"/>
                <a:gd name="connsiteX1242" fmla="*/ 33786 w 51323"/>
                <a:gd name="connsiteY1242" fmla="*/ 22089 h 51323"/>
                <a:gd name="connsiteX1243" fmla="*/ 33065 w 51323"/>
                <a:gd name="connsiteY1243" fmla="*/ 21316 h 51323"/>
                <a:gd name="connsiteX1244" fmla="*/ 33065 w 51323"/>
                <a:gd name="connsiteY1244" fmla="*/ 20732 h 51323"/>
                <a:gd name="connsiteX1245" fmla="*/ 32584 w 51323"/>
                <a:gd name="connsiteY1245" fmla="*/ 20320 h 51323"/>
                <a:gd name="connsiteX1246" fmla="*/ 32275 w 51323"/>
                <a:gd name="connsiteY1246" fmla="*/ 20320 h 51323"/>
                <a:gd name="connsiteX1247" fmla="*/ 32395 w 51323"/>
                <a:gd name="connsiteY1247" fmla="*/ 20320 h 51323"/>
                <a:gd name="connsiteX1248" fmla="*/ 31931 w 51323"/>
                <a:gd name="connsiteY1248" fmla="*/ 20131 h 51323"/>
                <a:gd name="connsiteX1249" fmla="*/ 31742 w 51323"/>
                <a:gd name="connsiteY1249" fmla="*/ 19856 h 51323"/>
                <a:gd name="connsiteX1250" fmla="*/ 31175 w 51323"/>
                <a:gd name="connsiteY1250" fmla="*/ 19633 h 51323"/>
                <a:gd name="connsiteX1251" fmla="*/ 31175 w 51323"/>
                <a:gd name="connsiteY1251" fmla="*/ 19306 h 51323"/>
                <a:gd name="connsiteX1252" fmla="*/ 30746 w 51323"/>
                <a:gd name="connsiteY1252" fmla="*/ 19427 h 51323"/>
                <a:gd name="connsiteX1253" fmla="*/ 31656 w 51323"/>
                <a:gd name="connsiteY1253" fmla="*/ 20681 h 51323"/>
                <a:gd name="connsiteX1254" fmla="*/ 31983 w 51323"/>
                <a:gd name="connsiteY1254" fmla="*/ 20887 h 51323"/>
                <a:gd name="connsiteX1255" fmla="*/ 32807 w 51323"/>
                <a:gd name="connsiteY1255" fmla="*/ 21539 h 51323"/>
                <a:gd name="connsiteX1256" fmla="*/ 32532 w 51323"/>
                <a:gd name="connsiteY1256" fmla="*/ 21333 h 51323"/>
                <a:gd name="connsiteX1257" fmla="*/ 32309 w 51323"/>
                <a:gd name="connsiteY1257" fmla="*/ 21625 h 51323"/>
                <a:gd name="connsiteX1258" fmla="*/ 32309 w 51323"/>
                <a:gd name="connsiteY1258" fmla="*/ 22141 h 51323"/>
                <a:gd name="connsiteX1259" fmla="*/ 32086 w 51323"/>
                <a:gd name="connsiteY1259" fmla="*/ 22141 h 51323"/>
                <a:gd name="connsiteX1260" fmla="*/ 31794 w 51323"/>
                <a:gd name="connsiteY1260" fmla="*/ 21402 h 51323"/>
                <a:gd name="connsiteX1261" fmla="*/ 31656 w 51323"/>
                <a:gd name="connsiteY1261" fmla="*/ 21230 h 51323"/>
                <a:gd name="connsiteX1262" fmla="*/ 31330 w 51323"/>
                <a:gd name="connsiteY1262" fmla="*/ 21024 h 51323"/>
                <a:gd name="connsiteX1263" fmla="*/ 29080 w 51323"/>
                <a:gd name="connsiteY1263" fmla="*/ 20217 h 51323"/>
                <a:gd name="connsiteX1264" fmla="*/ 28633 w 51323"/>
                <a:gd name="connsiteY1264" fmla="*/ 20114 h 51323"/>
                <a:gd name="connsiteX1265" fmla="*/ 27448 w 51323"/>
                <a:gd name="connsiteY1265" fmla="*/ 21093 h 51323"/>
                <a:gd name="connsiteX1266" fmla="*/ 27448 w 51323"/>
                <a:gd name="connsiteY1266" fmla="*/ 21213 h 51323"/>
                <a:gd name="connsiteX1267" fmla="*/ 27191 w 51323"/>
                <a:gd name="connsiteY1267" fmla="*/ 22003 h 51323"/>
                <a:gd name="connsiteX1268" fmla="*/ 26847 w 51323"/>
                <a:gd name="connsiteY1268" fmla="*/ 22398 h 51323"/>
                <a:gd name="connsiteX1269" fmla="*/ 25421 w 51323"/>
                <a:gd name="connsiteY1269" fmla="*/ 22896 h 51323"/>
                <a:gd name="connsiteX1270" fmla="*/ 24700 w 51323"/>
                <a:gd name="connsiteY1270" fmla="*/ 22501 h 51323"/>
                <a:gd name="connsiteX1271" fmla="*/ 24408 w 51323"/>
                <a:gd name="connsiteY1271" fmla="*/ 22501 h 51323"/>
                <a:gd name="connsiteX1272" fmla="*/ 24511 w 51323"/>
                <a:gd name="connsiteY1272" fmla="*/ 21934 h 51323"/>
                <a:gd name="connsiteX1273" fmla="*/ 24511 w 51323"/>
                <a:gd name="connsiteY1273" fmla="*/ 21763 h 51323"/>
                <a:gd name="connsiteX1274" fmla="*/ 24631 w 51323"/>
                <a:gd name="connsiteY1274" fmla="*/ 21144 h 51323"/>
                <a:gd name="connsiteX1275" fmla="*/ 24734 w 51323"/>
                <a:gd name="connsiteY1275" fmla="*/ 20457 h 51323"/>
                <a:gd name="connsiteX1276" fmla="*/ 24734 w 51323"/>
                <a:gd name="connsiteY1276" fmla="*/ 20457 h 51323"/>
                <a:gd name="connsiteX1277" fmla="*/ 24734 w 51323"/>
                <a:gd name="connsiteY1277" fmla="*/ 20337 h 51323"/>
                <a:gd name="connsiteX1278" fmla="*/ 24734 w 51323"/>
                <a:gd name="connsiteY1278" fmla="*/ 20234 h 51323"/>
                <a:gd name="connsiteX1279" fmla="*/ 25026 w 51323"/>
                <a:gd name="connsiteY1279" fmla="*/ 20045 h 51323"/>
                <a:gd name="connsiteX1280" fmla="*/ 25490 w 51323"/>
                <a:gd name="connsiteY1280" fmla="*/ 20045 h 51323"/>
                <a:gd name="connsiteX1281" fmla="*/ 26607 w 51323"/>
                <a:gd name="connsiteY1281" fmla="*/ 20131 h 51323"/>
                <a:gd name="connsiteX1282" fmla="*/ 27276 w 51323"/>
                <a:gd name="connsiteY1282" fmla="*/ 19564 h 51323"/>
                <a:gd name="connsiteX1283" fmla="*/ 27053 w 51323"/>
                <a:gd name="connsiteY1283" fmla="*/ 19289 h 51323"/>
                <a:gd name="connsiteX1284" fmla="*/ 26813 w 51323"/>
                <a:gd name="connsiteY1284" fmla="*/ 18860 h 51323"/>
                <a:gd name="connsiteX1285" fmla="*/ 26950 w 51323"/>
                <a:gd name="connsiteY1285" fmla="*/ 18722 h 51323"/>
                <a:gd name="connsiteX1286" fmla="*/ 26727 w 51323"/>
                <a:gd name="connsiteY1286" fmla="*/ 18551 h 51323"/>
                <a:gd name="connsiteX1287" fmla="*/ 26229 w 51323"/>
                <a:gd name="connsiteY1287" fmla="*/ 18465 h 51323"/>
                <a:gd name="connsiteX1288" fmla="*/ 26229 w 51323"/>
                <a:gd name="connsiteY1288" fmla="*/ 18345 h 51323"/>
                <a:gd name="connsiteX1289" fmla="*/ 26229 w 51323"/>
                <a:gd name="connsiteY1289" fmla="*/ 18345 h 51323"/>
                <a:gd name="connsiteX1290" fmla="*/ 26229 w 51323"/>
                <a:gd name="connsiteY1290" fmla="*/ 18345 h 51323"/>
                <a:gd name="connsiteX1291" fmla="*/ 26555 w 51323"/>
                <a:gd name="connsiteY1291" fmla="*/ 18121 h 51323"/>
                <a:gd name="connsiteX1292" fmla="*/ 27019 w 51323"/>
                <a:gd name="connsiteY1292" fmla="*/ 18241 h 51323"/>
                <a:gd name="connsiteX1293" fmla="*/ 26899 w 51323"/>
                <a:gd name="connsiteY1293" fmla="*/ 17812 h 51323"/>
                <a:gd name="connsiteX1294" fmla="*/ 27105 w 51323"/>
                <a:gd name="connsiteY1294" fmla="*/ 17812 h 51323"/>
                <a:gd name="connsiteX1295" fmla="*/ 27500 w 51323"/>
                <a:gd name="connsiteY1295" fmla="*/ 17812 h 51323"/>
                <a:gd name="connsiteX1296" fmla="*/ 27775 w 51323"/>
                <a:gd name="connsiteY1296" fmla="*/ 17606 h 51323"/>
                <a:gd name="connsiteX1297" fmla="*/ 27895 w 51323"/>
                <a:gd name="connsiteY1297" fmla="*/ 17280 h 51323"/>
                <a:gd name="connsiteX1298" fmla="*/ 28444 w 51323"/>
                <a:gd name="connsiteY1298" fmla="*/ 17125 h 51323"/>
                <a:gd name="connsiteX1299" fmla="*/ 28444 w 51323"/>
                <a:gd name="connsiteY1299" fmla="*/ 17125 h 51323"/>
                <a:gd name="connsiteX1300" fmla="*/ 28547 w 51323"/>
                <a:gd name="connsiteY1300" fmla="*/ 17022 h 51323"/>
                <a:gd name="connsiteX1301" fmla="*/ 29286 w 51323"/>
                <a:gd name="connsiteY1301" fmla="*/ 16438 h 51323"/>
                <a:gd name="connsiteX1302" fmla="*/ 29458 w 51323"/>
                <a:gd name="connsiteY1302" fmla="*/ 16438 h 51323"/>
                <a:gd name="connsiteX1303" fmla="*/ 29595 w 51323"/>
                <a:gd name="connsiteY1303" fmla="*/ 16438 h 51323"/>
                <a:gd name="connsiteX1304" fmla="*/ 29956 w 51323"/>
                <a:gd name="connsiteY1304" fmla="*/ 16301 h 51323"/>
                <a:gd name="connsiteX1305" fmla="*/ 29389 w 51323"/>
                <a:gd name="connsiteY1305" fmla="*/ 15115 h 51323"/>
                <a:gd name="connsiteX1306" fmla="*/ 29664 w 51323"/>
                <a:gd name="connsiteY1306" fmla="*/ 15115 h 51323"/>
                <a:gd name="connsiteX1307" fmla="*/ 30025 w 51323"/>
                <a:gd name="connsiteY1307" fmla="*/ 15115 h 51323"/>
                <a:gd name="connsiteX1308" fmla="*/ 29922 w 51323"/>
                <a:gd name="connsiteY1308" fmla="*/ 16009 h 51323"/>
                <a:gd name="connsiteX1309" fmla="*/ 30059 w 51323"/>
                <a:gd name="connsiteY1309" fmla="*/ 16094 h 51323"/>
                <a:gd name="connsiteX1310" fmla="*/ 30883 w 51323"/>
                <a:gd name="connsiteY1310" fmla="*/ 16094 h 51323"/>
                <a:gd name="connsiteX1311" fmla="*/ 32103 w 51323"/>
                <a:gd name="connsiteY1311" fmla="*/ 15768 h 51323"/>
                <a:gd name="connsiteX1312" fmla="*/ 32326 w 51323"/>
                <a:gd name="connsiteY1312" fmla="*/ 15768 h 51323"/>
                <a:gd name="connsiteX1313" fmla="*/ 32189 w 51323"/>
                <a:gd name="connsiteY1313" fmla="*/ 15905 h 51323"/>
                <a:gd name="connsiteX1314" fmla="*/ 32704 w 51323"/>
                <a:gd name="connsiteY1314" fmla="*/ 14497 h 51323"/>
                <a:gd name="connsiteX1315" fmla="*/ 33031 w 51323"/>
                <a:gd name="connsiteY1315" fmla="*/ 14222 h 51323"/>
                <a:gd name="connsiteX1316" fmla="*/ 32842 w 51323"/>
                <a:gd name="connsiteY1316" fmla="*/ 14068 h 51323"/>
                <a:gd name="connsiteX1317" fmla="*/ 32842 w 51323"/>
                <a:gd name="connsiteY1317" fmla="*/ 13690 h 51323"/>
                <a:gd name="connsiteX1318" fmla="*/ 32979 w 51323"/>
                <a:gd name="connsiteY1318" fmla="*/ 13690 h 51323"/>
                <a:gd name="connsiteX1319" fmla="*/ 33615 w 51323"/>
                <a:gd name="connsiteY1319" fmla="*/ 13793 h 51323"/>
                <a:gd name="connsiteX1320" fmla="*/ 33752 w 51323"/>
                <a:gd name="connsiteY1320" fmla="*/ 13466 h 51323"/>
                <a:gd name="connsiteX1321" fmla="*/ 33546 w 51323"/>
                <a:gd name="connsiteY1321" fmla="*/ 13192 h 51323"/>
                <a:gd name="connsiteX1322" fmla="*/ 33408 w 51323"/>
                <a:gd name="connsiteY1322" fmla="*/ 13192 h 51323"/>
                <a:gd name="connsiteX1323" fmla="*/ 33031 w 51323"/>
                <a:gd name="connsiteY1323" fmla="*/ 13312 h 51323"/>
                <a:gd name="connsiteX1324" fmla="*/ 33031 w 51323"/>
                <a:gd name="connsiteY1324" fmla="*/ 13312 h 51323"/>
                <a:gd name="connsiteX1325" fmla="*/ 33031 w 51323"/>
                <a:gd name="connsiteY1325" fmla="*/ 13312 h 51323"/>
                <a:gd name="connsiteX1326" fmla="*/ 32567 w 51323"/>
                <a:gd name="connsiteY1326" fmla="*/ 13621 h 51323"/>
                <a:gd name="connsiteX1327" fmla="*/ 32172 w 51323"/>
                <a:gd name="connsiteY1327" fmla="*/ 13260 h 51323"/>
                <a:gd name="connsiteX1328" fmla="*/ 31914 w 51323"/>
                <a:gd name="connsiteY1328" fmla="*/ 12058 h 51323"/>
                <a:gd name="connsiteX1329" fmla="*/ 32017 w 51323"/>
                <a:gd name="connsiteY1329" fmla="*/ 12058 h 51323"/>
                <a:gd name="connsiteX1330" fmla="*/ 32017 w 51323"/>
                <a:gd name="connsiteY1330" fmla="*/ 11817 h 51323"/>
                <a:gd name="connsiteX1331" fmla="*/ 32309 w 51323"/>
                <a:gd name="connsiteY1331" fmla="*/ 11457 h 51323"/>
                <a:gd name="connsiteX1332" fmla="*/ 31502 w 51323"/>
                <a:gd name="connsiteY1332" fmla="*/ 11182 h 51323"/>
                <a:gd name="connsiteX1333" fmla="*/ 31656 w 51323"/>
                <a:gd name="connsiteY1333" fmla="*/ 11714 h 51323"/>
                <a:gd name="connsiteX1334" fmla="*/ 31038 w 51323"/>
                <a:gd name="connsiteY1334" fmla="*/ 12590 h 51323"/>
                <a:gd name="connsiteX1335" fmla="*/ 31175 w 51323"/>
                <a:gd name="connsiteY1335" fmla="*/ 12968 h 51323"/>
                <a:gd name="connsiteX1336" fmla="*/ 31382 w 51323"/>
                <a:gd name="connsiteY1336" fmla="*/ 13793 h 51323"/>
                <a:gd name="connsiteX1337" fmla="*/ 31210 w 51323"/>
                <a:gd name="connsiteY1337" fmla="*/ 13913 h 51323"/>
                <a:gd name="connsiteX1338" fmla="*/ 31485 w 51323"/>
                <a:gd name="connsiteY1338" fmla="*/ 14050 h 51323"/>
                <a:gd name="connsiteX1339" fmla="*/ 31364 w 51323"/>
                <a:gd name="connsiteY1339" fmla="*/ 14188 h 51323"/>
                <a:gd name="connsiteX1340" fmla="*/ 31364 w 51323"/>
                <a:gd name="connsiteY1340" fmla="*/ 14342 h 51323"/>
                <a:gd name="connsiteX1341" fmla="*/ 31364 w 51323"/>
                <a:gd name="connsiteY1341" fmla="*/ 14514 h 51323"/>
                <a:gd name="connsiteX1342" fmla="*/ 31090 w 51323"/>
                <a:gd name="connsiteY1342" fmla="*/ 15236 h 51323"/>
                <a:gd name="connsiteX1343" fmla="*/ 30162 w 51323"/>
                <a:gd name="connsiteY1343" fmla="*/ 14050 h 51323"/>
                <a:gd name="connsiteX1344" fmla="*/ 29939 w 51323"/>
                <a:gd name="connsiteY1344" fmla="*/ 13810 h 51323"/>
                <a:gd name="connsiteX1345" fmla="*/ 29939 w 51323"/>
                <a:gd name="connsiteY1345" fmla="*/ 14102 h 51323"/>
                <a:gd name="connsiteX1346" fmla="*/ 29733 w 51323"/>
                <a:gd name="connsiteY1346" fmla="*/ 13965 h 51323"/>
                <a:gd name="connsiteX1347" fmla="*/ 29595 w 51323"/>
                <a:gd name="connsiteY1347" fmla="*/ 14291 h 51323"/>
                <a:gd name="connsiteX1348" fmla="*/ 29183 w 51323"/>
                <a:gd name="connsiteY1348" fmla="*/ 14428 h 51323"/>
                <a:gd name="connsiteX1349" fmla="*/ 29183 w 51323"/>
                <a:gd name="connsiteY1349" fmla="*/ 14102 h 51323"/>
                <a:gd name="connsiteX1350" fmla="*/ 29011 w 51323"/>
                <a:gd name="connsiteY1350" fmla="*/ 13879 h 51323"/>
                <a:gd name="connsiteX1351" fmla="*/ 29011 w 51323"/>
                <a:gd name="connsiteY1351" fmla="*/ 13879 h 51323"/>
                <a:gd name="connsiteX1352" fmla="*/ 29166 w 51323"/>
                <a:gd name="connsiteY1352" fmla="*/ 13776 h 51323"/>
                <a:gd name="connsiteX1353" fmla="*/ 29166 w 51323"/>
                <a:gd name="connsiteY1353" fmla="*/ 13655 h 51323"/>
                <a:gd name="connsiteX1354" fmla="*/ 29164 w 51323"/>
                <a:gd name="connsiteY1354" fmla="*/ 13485 h 51323"/>
                <a:gd name="connsiteX1355" fmla="*/ 29166 w 51323"/>
                <a:gd name="connsiteY1355" fmla="*/ 13484 h 51323"/>
                <a:gd name="connsiteX1356" fmla="*/ 28943 w 51323"/>
                <a:gd name="connsiteY1356" fmla="*/ 13484 h 51323"/>
                <a:gd name="connsiteX1357" fmla="*/ 28943 w 51323"/>
                <a:gd name="connsiteY1357" fmla="*/ 13381 h 51323"/>
                <a:gd name="connsiteX1358" fmla="*/ 29355 w 51323"/>
                <a:gd name="connsiteY1358" fmla="*/ 13157 h 51323"/>
                <a:gd name="connsiteX1359" fmla="*/ 28994 w 51323"/>
                <a:gd name="connsiteY1359" fmla="*/ 13157 h 51323"/>
                <a:gd name="connsiteX1360" fmla="*/ 29183 w 51323"/>
                <a:gd name="connsiteY1360" fmla="*/ 13020 h 51323"/>
                <a:gd name="connsiteX1361" fmla="*/ 29046 w 51323"/>
                <a:gd name="connsiteY1361" fmla="*/ 12917 h 51323"/>
                <a:gd name="connsiteX1362" fmla="*/ 29183 w 51323"/>
                <a:gd name="connsiteY1362" fmla="*/ 12917 h 51323"/>
                <a:gd name="connsiteX1363" fmla="*/ 29183 w 51323"/>
                <a:gd name="connsiteY1363" fmla="*/ 12797 h 51323"/>
                <a:gd name="connsiteX1364" fmla="*/ 29441 w 51323"/>
                <a:gd name="connsiteY1364" fmla="*/ 12797 h 51323"/>
                <a:gd name="connsiteX1365" fmla="*/ 29578 w 51323"/>
                <a:gd name="connsiteY1365" fmla="*/ 12797 h 51323"/>
                <a:gd name="connsiteX1366" fmla="*/ 29578 w 51323"/>
                <a:gd name="connsiteY1366" fmla="*/ 12676 h 51323"/>
                <a:gd name="connsiteX1367" fmla="*/ 29767 w 51323"/>
                <a:gd name="connsiteY1367" fmla="*/ 12676 h 51323"/>
                <a:gd name="connsiteX1368" fmla="*/ 30059 w 51323"/>
                <a:gd name="connsiteY1368" fmla="*/ 12298 h 51323"/>
                <a:gd name="connsiteX1369" fmla="*/ 29801 w 51323"/>
                <a:gd name="connsiteY1369" fmla="*/ 12419 h 51323"/>
                <a:gd name="connsiteX1370" fmla="*/ 29801 w 51323"/>
                <a:gd name="connsiteY1370" fmla="*/ 12195 h 51323"/>
                <a:gd name="connsiteX1371" fmla="*/ 30145 w 51323"/>
                <a:gd name="connsiteY1371" fmla="*/ 11766 h 51323"/>
                <a:gd name="connsiteX1372" fmla="*/ 30145 w 51323"/>
                <a:gd name="connsiteY1372" fmla="*/ 11611 h 51323"/>
                <a:gd name="connsiteX1373" fmla="*/ 30145 w 51323"/>
                <a:gd name="connsiteY1373" fmla="*/ 11525 h 51323"/>
                <a:gd name="connsiteX1374" fmla="*/ 30145 w 51323"/>
                <a:gd name="connsiteY1374" fmla="*/ 11337 h 51323"/>
                <a:gd name="connsiteX1375" fmla="*/ 30025 w 51323"/>
                <a:gd name="connsiteY1375" fmla="*/ 11148 h 51323"/>
                <a:gd name="connsiteX1376" fmla="*/ 30334 w 51323"/>
                <a:gd name="connsiteY1376" fmla="*/ 10976 h 51323"/>
                <a:gd name="connsiteX1377" fmla="*/ 30334 w 51323"/>
                <a:gd name="connsiteY1377" fmla="*/ 10838 h 51323"/>
                <a:gd name="connsiteX1378" fmla="*/ 30334 w 51323"/>
                <a:gd name="connsiteY1378" fmla="*/ 10684 h 51323"/>
                <a:gd name="connsiteX1379" fmla="*/ 30334 w 51323"/>
                <a:gd name="connsiteY1379" fmla="*/ 10478 h 51323"/>
                <a:gd name="connsiteX1380" fmla="*/ 30506 w 51323"/>
                <a:gd name="connsiteY1380" fmla="*/ 10478 h 51323"/>
                <a:gd name="connsiteX1381" fmla="*/ 30506 w 51323"/>
                <a:gd name="connsiteY1381" fmla="*/ 10323 h 51323"/>
                <a:gd name="connsiteX1382" fmla="*/ 30506 w 51323"/>
                <a:gd name="connsiteY1382" fmla="*/ 10220 h 51323"/>
                <a:gd name="connsiteX1383" fmla="*/ 30609 w 51323"/>
                <a:gd name="connsiteY1383" fmla="*/ 10117 h 51323"/>
                <a:gd name="connsiteX1384" fmla="*/ 30609 w 51323"/>
                <a:gd name="connsiteY1384" fmla="*/ 10117 h 51323"/>
                <a:gd name="connsiteX1385" fmla="*/ 30609 w 51323"/>
                <a:gd name="connsiteY1385" fmla="*/ 10117 h 51323"/>
                <a:gd name="connsiteX1386" fmla="*/ 30609 w 51323"/>
                <a:gd name="connsiteY1386" fmla="*/ 10117 h 51323"/>
                <a:gd name="connsiteX1387" fmla="*/ 30798 w 51323"/>
                <a:gd name="connsiteY1387" fmla="*/ 10117 h 51323"/>
                <a:gd name="connsiteX1388" fmla="*/ 30798 w 51323"/>
                <a:gd name="connsiteY1388" fmla="*/ 9739 h 51323"/>
                <a:gd name="connsiteX1389" fmla="*/ 31124 w 51323"/>
                <a:gd name="connsiteY1389" fmla="*/ 9894 h 51323"/>
                <a:gd name="connsiteX1390" fmla="*/ 31124 w 51323"/>
                <a:gd name="connsiteY1390" fmla="*/ 9619 h 51323"/>
                <a:gd name="connsiteX1391" fmla="*/ 31124 w 51323"/>
                <a:gd name="connsiteY1391" fmla="*/ 9619 h 51323"/>
                <a:gd name="connsiteX1392" fmla="*/ 31124 w 51323"/>
                <a:gd name="connsiteY1392" fmla="*/ 9619 h 51323"/>
                <a:gd name="connsiteX1393" fmla="*/ 31261 w 51323"/>
                <a:gd name="connsiteY1393" fmla="*/ 9619 h 51323"/>
                <a:gd name="connsiteX1394" fmla="*/ 31450 w 51323"/>
                <a:gd name="connsiteY1394" fmla="*/ 9499 h 51323"/>
                <a:gd name="connsiteX1395" fmla="*/ 31553 w 51323"/>
                <a:gd name="connsiteY1395" fmla="*/ 9842 h 51323"/>
                <a:gd name="connsiteX1396" fmla="*/ 31674 w 51323"/>
                <a:gd name="connsiteY1396" fmla="*/ 9842 h 51323"/>
                <a:gd name="connsiteX1397" fmla="*/ 31845 w 51323"/>
                <a:gd name="connsiteY1397" fmla="*/ 9842 h 51323"/>
                <a:gd name="connsiteX1398" fmla="*/ 31742 w 51323"/>
                <a:gd name="connsiteY1398" fmla="*/ 10031 h 51323"/>
                <a:gd name="connsiteX1399" fmla="*/ 32000 w 51323"/>
                <a:gd name="connsiteY1399" fmla="*/ 10220 h 51323"/>
                <a:gd name="connsiteX1400" fmla="*/ 32275 w 51323"/>
                <a:gd name="connsiteY1400" fmla="*/ 10220 h 51323"/>
                <a:gd name="connsiteX1401" fmla="*/ 32275 w 51323"/>
                <a:gd name="connsiteY1401" fmla="*/ 10048 h 51323"/>
                <a:gd name="connsiteX1402" fmla="*/ 32378 w 51323"/>
                <a:gd name="connsiteY1402" fmla="*/ 10048 h 51323"/>
                <a:gd name="connsiteX1403" fmla="*/ 32584 w 51323"/>
                <a:gd name="connsiteY1403" fmla="*/ 10220 h 51323"/>
                <a:gd name="connsiteX1404" fmla="*/ 33683 w 51323"/>
                <a:gd name="connsiteY1404" fmla="*/ 10529 h 51323"/>
                <a:gd name="connsiteX1405" fmla="*/ 33804 w 51323"/>
                <a:gd name="connsiteY1405" fmla="*/ 10529 h 51323"/>
                <a:gd name="connsiteX1406" fmla="*/ 33597 w 51323"/>
                <a:gd name="connsiteY1406" fmla="*/ 11354 h 51323"/>
                <a:gd name="connsiteX1407" fmla="*/ 33426 w 51323"/>
                <a:gd name="connsiteY1407" fmla="*/ 11354 h 51323"/>
                <a:gd name="connsiteX1408" fmla="*/ 33065 w 51323"/>
                <a:gd name="connsiteY1408" fmla="*/ 11354 h 51323"/>
                <a:gd name="connsiteX1409" fmla="*/ 33357 w 51323"/>
                <a:gd name="connsiteY1409" fmla="*/ 11663 h 51323"/>
                <a:gd name="connsiteX1410" fmla="*/ 34576 w 51323"/>
                <a:gd name="connsiteY1410" fmla="*/ 12333 h 51323"/>
                <a:gd name="connsiteX1411" fmla="*/ 34250 w 51323"/>
                <a:gd name="connsiteY1411" fmla="*/ 12006 h 51323"/>
                <a:gd name="connsiteX1412" fmla="*/ 34972 w 51323"/>
                <a:gd name="connsiteY1412" fmla="*/ 11474 h 51323"/>
                <a:gd name="connsiteX1413" fmla="*/ 35143 w 51323"/>
                <a:gd name="connsiteY1413" fmla="*/ 11474 h 51323"/>
                <a:gd name="connsiteX1414" fmla="*/ 34181 w 51323"/>
                <a:gd name="connsiteY1414" fmla="*/ 10340 h 51323"/>
                <a:gd name="connsiteX1415" fmla="*/ 34800 w 51323"/>
                <a:gd name="connsiteY1415" fmla="*/ 10753 h 51323"/>
                <a:gd name="connsiteX1416" fmla="*/ 35143 w 51323"/>
                <a:gd name="connsiteY1416" fmla="*/ 10529 h 51323"/>
                <a:gd name="connsiteX1417" fmla="*/ 35401 w 51323"/>
                <a:gd name="connsiteY1417" fmla="*/ 10289 h 51323"/>
                <a:gd name="connsiteX1418" fmla="*/ 35401 w 51323"/>
                <a:gd name="connsiteY1418" fmla="*/ 10151 h 51323"/>
                <a:gd name="connsiteX1419" fmla="*/ 35727 w 51323"/>
                <a:gd name="connsiteY1419" fmla="*/ 10306 h 51323"/>
                <a:gd name="connsiteX1420" fmla="*/ 35727 w 51323"/>
                <a:gd name="connsiteY1420" fmla="*/ 10306 h 51323"/>
                <a:gd name="connsiteX1421" fmla="*/ 35830 w 51323"/>
                <a:gd name="connsiteY1421" fmla="*/ 9842 h 51323"/>
                <a:gd name="connsiteX1422" fmla="*/ 36019 w 51323"/>
                <a:gd name="connsiteY1422" fmla="*/ 9945 h 51323"/>
                <a:gd name="connsiteX1423" fmla="*/ 36122 w 51323"/>
                <a:gd name="connsiteY1423" fmla="*/ 9945 h 51323"/>
                <a:gd name="connsiteX1424" fmla="*/ 35848 w 51323"/>
                <a:gd name="connsiteY1424" fmla="*/ 9773 h 51323"/>
                <a:gd name="connsiteX1425" fmla="*/ 35848 w 51323"/>
                <a:gd name="connsiteY1425" fmla="*/ 9773 h 51323"/>
                <a:gd name="connsiteX1426" fmla="*/ 36981 w 51323"/>
                <a:gd name="connsiteY1426" fmla="*/ 9894 h 51323"/>
                <a:gd name="connsiteX1427" fmla="*/ 36260 w 51323"/>
                <a:gd name="connsiteY1427" fmla="*/ 9361 h 51323"/>
                <a:gd name="connsiteX1428" fmla="*/ 36260 w 51323"/>
                <a:gd name="connsiteY1428" fmla="*/ 9361 h 51323"/>
                <a:gd name="connsiteX1429" fmla="*/ 36140 w 51323"/>
                <a:gd name="connsiteY1429" fmla="*/ 9361 h 51323"/>
                <a:gd name="connsiteX1430" fmla="*/ 36140 w 51323"/>
                <a:gd name="connsiteY1430" fmla="*/ 9361 h 51323"/>
                <a:gd name="connsiteX1431" fmla="*/ 35882 w 51323"/>
                <a:gd name="connsiteY1431" fmla="*/ 9155 h 51323"/>
                <a:gd name="connsiteX1432" fmla="*/ 35727 w 51323"/>
                <a:gd name="connsiteY1432" fmla="*/ 8983 h 51323"/>
                <a:gd name="connsiteX1433" fmla="*/ 34594 w 51323"/>
                <a:gd name="connsiteY1433" fmla="*/ 7884 h 51323"/>
                <a:gd name="connsiteX1434" fmla="*/ 37136 w 51323"/>
                <a:gd name="connsiteY1434" fmla="*/ 9602 h 51323"/>
                <a:gd name="connsiteX1435" fmla="*/ 37136 w 51323"/>
                <a:gd name="connsiteY1435" fmla="*/ 9602 h 51323"/>
                <a:gd name="connsiteX1436" fmla="*/ 37806 w 51323"/>
                <a:gd name="connsiteY1436" fmla="*/ 10289 h 51323"/>
                <a:gd name="connsiteX1437" fmla="*/ 37806 w 51323"/>
                <a:gd name="connsiteY1437" fmla="*/ 10289 h 51323"/>
                <a:gd name="connsiteX1438" fmla="*/ 37806 w 51323"/>
                <a:gd name="connsiteY1438" fmla="*/ 10289 h 51323"/>
                <a:gd name="connsiteX1439" fmla="*/ 37703 w 51323"/>
                <a:gd name="connsiteY1439" fmla="*/ 10426 h 51323"/>
                <a:gd name="connsiteX1440" fmla="*/ 37101 w 51323"/>
                <a:gd name="connsiteY1440" fmla="*/ 9275 h 51323"/>
                <a:gd name="connsiteX1441" fmla="*/ 37101 w 51323"/>
                <a:gd name="connsiteY1441" fmla="*/ 9275 h 51323"/>
                <a:gd name="connsiteX1442" fmla="*/ 34851 w 51323"/>
                <a:gd name="connsiteY1442" fmla="*/ 7850 h 51323"/>
                <a:gd name="connsiteX1443" fmla="*/ 35933 w 51323"/>
                <a:gd name="connsiteY1443" fmla="*/ 8451 h 51323"/>
                <a:gd name="connsiteX1444" fmla="*/ 36105 w 51323"/>
                <a:gd name="connsiteY1444" fmla="*/ 8451 h 51323"/>
                <a:gd name="connsiteX1445" fmla="*/ 35367 w 51323"/>
                <a:gd name="connsiteY1445" fmla="*/ 8125 h 51323"/>
                <a:gd name="connsiteX1446" fmla="*/ 35367 w 51323"/>
                <a:gd name="connsiteY1446" fmla="*/ 8039 h 51323"/>
                <a:gd name="connsiteX1447" fmla="*/ 35367 w 51323"/>
                <a:gd name="connsiteY1447" fmla="*/ 8039 h 51323"/>
                <a:gd name="connsiteX1448" fmla="*/ 36363 w 51323"/>
                <a:gd name="connsiteY1448" fmla="*/ 8331 h 51323"/>
                <a:gd name="connsiteX1449" fmla="*/ 37256 w 51323"/>
                <a:gd name="connsiteY1449" fmla="*/ 8812 h 51323"/>
                <a:gd name="connsiteX1450" fmla="*/ 37428 w 51323"/>
                <a:gd name="connsiteY1450" fmla="*/ 8812 h 51323"/>
                <a:gd name="connsiteX1451" fmla="*/ 37101 w 51323"/>
                <a:gd name="connsiteY1451" fmla="*/ 8709 h 51323"/>
                <a:gd name="connsiteX1452" fmla="*/ 35384 w 51323"/>
                <a:gd name="connsiteY1452" fmla="*/ 7798 h 51323"/>
                <a:gd name="connsiteX1453" fmla="*/ 34525 w 51323"/>
                <a:gd name="connsiteY1453" fmla="*/ 7231 h 51323"/>
                <a:gd name="connsiteX1454" fmla="*/ 34851 w 51323"/>
                <a:gd name="connsiteY1454" fmla="*/ 7317 h 51323"/>
                <a:gd name="connsiteX1455" fmla="*/ 34267 w 51323"/>
                <a:gd name="connsiteY1455" fmla="*/ 7008 h 51323"/>
                <a:gd name="connsiteX1456" fmla="*/ 34027 w 51323"/>
                <a:gd name="connsiteY1456" fmla="*/ 6922 h 51323"/>
                <a:gd name="connsiteX1457" fmla="*/ 34027 w 51323"/>
                <a:gd name="connsiteY1457" fmla="*/ 6922 h 51323"/>
                <a:gd name="connsiteX1458" fmla="*/ 33872 w 51323"/>
                <a:gd name="connsiteY1458" fmla="*/ 6922 h 51323"/>
                <a:gd name="connsiteX1459" fmla="*/ 33872 w 51323"/>
                <a:gd name="connsiteY1459" fmla="*/ 6922 h 51323"/>
                <a:gd name="connsiteX1460" fmla="*/ 33615 w 51323"/>
                <a:gd name="connsiteY1460" fmla="*/ 6768 h 51323"/>
                <a:gd name="connsiteX1461" fmla="*/ 33615 w 51323"/>
                <a:gd name="connsiteY1461" fmla="*/ 6768 h 51323"/>
                <a:gd name="connsiteX1462" fmla="*/ 33168 w 51323"/>
                <a:gd name="connsiteY1462" fmla="*/ 6458 h 51323"/>
                <a:gd name="connsiteX1463" fmla="*/ 33168 w 51323"/>
                <a:gd name="connsiteY1463" fmla="*/ 6458 h 51323"/>
                <a:gd name="connsiteX1464" fmla="*/ 32910 w 51323"/>
                <a:gd name="connsiteY1464" fmla="*/ 6287 h 51323"/>
                <a:gd name="connsiteX1465" fmla="*/ 32910 w 51323"/>
                <a:gd name="connsiteY1465" fmla="*/ 6287 h 51323"/>
                <a:gd name="connsiteX1466" fmla="*/ 32910 w 51323"/>
                <a:gd name="connsiteY1466" fmla="*/ 6287 h 51323"/>
                <a:gd name="connsiteX1467" fmla="*/ 32910 w 51323"/>
                <a:gd name="connsiteY1467" fmla="*/ 6287 h 51323"/>
                <a:gd name="connsiteX1468" fmla="*/ 32687 w 51323"/>
                <a:gd name="connsiteY1468" fmla="*/ 6184 h 51323"/>
                <a:gd name="connsiteX1469" fmla="*/ 32687 w 51323"/>
                <a:gd name="connsiteY1469" fmla="*/ 6184 h 51323"/>
                <a:gd name="connsiteX1470" fmla="*/ 32687 w 51323"/>
                <a:gd name="connsiteY1470" fmla="*/ 6184 h 51323"/>
                <a:gd name="connsiteX1471" fmla="*/ 32687 w 51323"/>
                <a:gd name="connsiteY1471" fmla="*/ 6184 h 51323"/>
                <a:gd name="connsiteX1472" fmla="*/ 32687 w 51323"/>
                <a:gd name="connsiteY1472" fmla="*/ 6184 h 51323"/>
                <a:gd name="connsiteX1473" fmla="*/ 32962 w 51323"/>
                <a:gd name="connsiteY1473" fmla="*/ 6287 h 51323"/>
                <a:gd name="connsiteX1474" fmla="*/ 32739 w 51323"/>
                <a:gd name="connsiteY1474" fmla="*/ 6184 h 51323"/>
                <a:gd name="connsiteX1475" fmla="*/ 32893 w 51323"/>
                <a:gd name="connsiteY1475" fmla="*/ 6184 h 51323"/>
                <a:gd name="connsiteX1476" fmla="*/ 32807 w 51323"/>
                <a:gd name="connsiteY1476" fmla="*/ 6184 h 51323"/>
                <a:gd name="connsiteX1477" fmla="*/ 32670 w 51323"/>
                <a:gd name="connsiteY1477" fmla="*/ 6184 h 51323"/>
                <a:gd name="connsiteX1478" fmla="*/ 32670 w 51323"/>
                <a:gd name="connsiteY1478" fmla="*/ 6184 h 51323"/>
                <a:gd name="connsiteX1479" fmla="*/ 32532 w 51323"/>
                <a:gd name="connsiteY1479" fmla="*/ 6184 h 51323"/>
                <a:gd name="connsiteX1480" fmla="*/ 32876 w 51323"/>
                <a:gd name="connsiteY1480" fmla="*/ 6304 h 51323"/>
                <a:gd name="connsiteX1481" fmla="*/ 32481 w 51323"/>
                <a:gd name="connsiteY1481" fmla="*/ 6166 h 51323"/>
                <a:gd name="connsiteX1482" fmla="*/ 32481 w 51323"/>
                <a:gd name="connsiteY1482" fmla="*/ 6166 h 51323"/>
                <a:gd name="connsiteX1483" fmla="*/ 32343 w 51323"/>
                <a:gd name="connsiteY1483" fmla="*/ 6166 h 51323"/>
                <a:gd name="connsiteX1484" fmla="*/ 32343 w 51323"/>
                <a:gd name="connsiteY1484" fmla="*/ 6166 h 51323"/>
                <a:gd name="connsiteX1485" fmla="*/ 32343 w 51323"/>
                <a:gd name="connsiteY1485" fmla="*/ 6166 h 51323"/>
                <a:gd name="connsiteX1486" fmla="*/ 32206 w 51323"/>
                <a:gd name="connsiteY1486" fmla="*/ 6166 h 51323"/>
                <a:gd name="connsiteX1487" fmla="*/ 32206 w 51323"/>
                <a:gd name="connsiteY1487" fmla="*/ 6166 h 51323"/>
                <a:gd name="connsiteX1488" fmla="*/ 31742 w 51323"/>
                <a:gd name="connsiteY1488" fmla="*/ 6029 h 51323"/>
                <a:gd name="connsiteX1489" fmla="*/ 31742 w 51323"/>
                <a:gd name="connsiteY1489" fmla="*/ 6029 h 51323"/>
                <a:gd name="connsiteX1490" fmla="*/ 30952 w 51323"/>
                <a:gd name="connsiteY1490" fmla="*/ 5754 h 51323"/>
                <a:gd name="connsiteX1491" fmla="*/ 30952 w 51323"/>
                <a:gd name="connsiteY1491" fmla="*/ 5754 h 51323"/>
                <a:gd name="connsiteX1492" fmla="*/ 31055 w 51323"/>
                <a:gd name="connsiteY1492" fmla="*/ 5754 h 51323"/>
                <a:gd name="connsiteX1493" fmla="*/ 31055 w 51323"/>
                <a:gd name="connsiteY1493" fmla="*/ 5754 h 51323"/>
                <a:gd name="connsiteX1494" fmla="*/ 31605 w 51323"/>
                <a:gd name="connsiteY1494" fmla="*/ 5909 h 51323"/>
                <a:gd name="connsiteX1495" fmla="*/ 31416 w 51323"/>
                <a:gd name="connsiteY1495" fmla="*/ 5909 h 51323"/>
                <a:gd name="connsiteX1496" fmla="*/ 31588 w 51323"/>
                <a:gd name="connsiteY1496" fmla="*/ 5909 h 51323"/>
                <a:gd name="connsiteX1497" fmla="*/ 31485 w 51323"/>
                <a:gd name="connsiteY1497" fmla="*/ 5909 h 51323"/>
                <a:gd name="connsiteX1498" fmla="*/ 31485 w 51323"/>
                <a:gd name="connsiteY1498" fmla="*/ 5909 h 51323"/>
                <a:gd name="connsiteX1499" fmla="*/ 31485 w 51323"/>
                <a:gd name="connsiteY1499" fmla="*/ 5909 h 51323"/>
                <a:gd name="connsiteX1500" fmla="*/ 31811 w 51323"/>
                <a:gd name="connsiteY1500" fmla="*/ 5909 h 51323"/>
                <a:gd name="connsiteX1501" fmla="*/ 31811 w 51323"/>
                <a:gd name="connsiteY1501" fmla="*/ 5909 h 51323"/>
                <a:gd name="connsiteX1502" fmla="*/ 31708 w 51323"/>
                <a:gd name="connsiteY1502" fmla="*/ 5909 h 51323"/>
                <a:gd name="connsiteX1503" fmla="*/ 31708 w 51323"/>
                <a:gd name="connsiteY1503" fmla="*/ 5909 h 51323"/>
                <a:gd name="connsiteX1504" fmla="*/ 31708 w 51323"/>
                <a:gd name="connsiteY1504" fmla="*/ 5909 h 51323"/>
                <a:gd name="connsiteX1505" fmla="*/ 31708 w 51323"/>
                <a:gd name="connsiteY1505" fmla="*/ 5909 h 51323"/>
                <a:gd name="connsiteX1506" fmla="*/ 31708 w 51323"/>
                <a:gd name="connsiteY1506" fmla="*/ 5909 h 51323"/>
                <a:gd name="connsiteX1507" fmla="*/ 32292 w 51323"/>
                <a:gd name="connsiteY1507" fmla="*/ 6046 h 51323"/>
                <a:gd name="connsiteX1508" fmla="*/ 32051 w 51323"/>
                <a:gd name="connsiteY1508" fmla="*/ 6046 h 51323"/>
                <a:gd name="connsiteX1509" fmla="*/ 32378 w 51323"/>
                <a:gd name="connsiteY1509" fmla="*/ 6046 h 51323"/>
                <a:gd name="connsiteX1510" fmla="*/ 32635 w 51323"/>
                <a:gd name="connsiteY1510" fmla="*/ 6046 h 51323"/>
                <a:gd name="connsiteX1511" fmla="*/ 32635 w 51323"/>
                <a:gd name="connsiteY1511" fmla="*/ 6046 h 51323"/>
                <a:gd name="connsiteX1512" fmla="*/ 32773 w 51323"/>
                <a:gd name="connsiteY1512" fmla="*/ 6046 h 51323"/>
                <a:gd name="connsiteX1513" fmla="*/ 32773 w 51323"/>
                <a:gd name="connsiteY1513" fmla="*/ 6046 h 51323"/>
                <a:gd name="connsiteX1514" fmla="*/ 32773 w 51323"/>
                <a:gd name="connsiteY1514" fmla="*/ 6046 h 51323"/>
                <a:gd name="connsiteX1515" fmla="*/ 34010 w 51323"/>
                <a:gd name="connsiteY1515" fmla="*/ 6493 h 51323"/>
                <a:gd name="connsiteX1516" fmla="*/ 34010 w 51323"/>
                <a:gd name="connsiteY1516" fmla="*/ 6493 h 51323"/>
                <a:gd name="connsiteX1517" fmla="*/ 34645 w 51323"/>
                <a:gd name="connsiteY1517" fmla="*/ 6768 h 51323"/>
                <a:gd name="connsiteX1518" fmla="*/ 34645 w 51323"/>
                <a:gd name="connsiteY1518" fmla="*/ 6768 h 51323"/>
                <a:gd name="connsiteX1519" fmla="*/ 35470 w 51323"/>
                <a:gd name="connsiteY1519" fmla="*/ 7163 h 51323"/>
                <a:gd name="connsiteX1520" fmla="*/ 34662 w 51323"/>
                <a:gd name="connsiteY1520" fmla="*/ 6733 h 51323"/>
                <a:gd name="connsiteX1521" fmla="*/ 34662 w 51323"/>
                <a:gd name="connsiteY1521" fmla="*/ 6733 h 51323"/>
                <a:gd name="connsiteX1522" fmla="*/ 34353 w 51323"/>
                <a:gd name="connsiteY1522" fmla="*/ 6596 h 51323"/>
                <a:gd name="connsiteX1523" fmla="*/ 34491 w 51323"/>
                <a:gd name="connsiteY1523" fmla="*/ 6596 h 51323"/>
                <a:gd name="connsiteX1524" fmla="*/ 34250 w 51323"/>
                <a:gd name="connsiteY1524" fmla="*/ 6493 h 51323"/>
                <a:gd name="connsiteX1525" fmla="*/ 34113 w 51323"/>
                <a:gd name="connsiteY1525" fmla="*/ 6493 h 51323"/>
                <a:gd name="connsiteX1526" fmla="*/ 34422 w 51323"/>
                <a:gd name="connsiteY1526" fmla="*/ 6596 h 51323"/>
                <a:gd name="connsiteX1527" fmla="*/ 34113 w 51323"/>
                <a:gd name="connsiteY1527" fmla="*/ 6476 h 51323"/>
                <a:gd name="connsiteX1528" fmla="*/ 34628 w 51323"/>
                <a:gd name="connsiteY1528" fmla="*/ 6630 h 51323"/>
                <a:gd name="connsiteX1529" fmla="*/ 34473 w 51323"/>
                <a:gd name="connsiteY1529" fmla="*/ 6630 h 51323"/>
                <a:gd name="connsiteX1530" fmla="*/ 34473 w 51323"/>
                <a:gd name="connsiteY1530" fmla="*/ 6630 h 51323"/>
                <a:gd name="connsiteX1531" fmla="*/ 33700 w 51323"/>
                <a:gd name="connsiteY1531" fmla="*/ 4827 h 51323"/>
                <a:gd name="connsiteX1532" fmla="*/ 49314 w 51323"/>
                <a:gd name="connsiteY1532" fmla="*/ 25438 h 51323"/>
                <a:gd name="connsiteX1533" fmla="*/ 49177 w 51323"/>
                <a:gd name="connsiteY1533" fmla="*/ 26452 h 51323"/>
                <a:gd name="connsiteX1534" fmla="*/ 49159 w 51323"/>
                <a:gd name="connsiteY1534" fmla="*/ 26589 h 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Lst>
              <a:rect l="l" t="t" r="r" b="b"/>
              <a:pathLst>
                <a:path w="51323" h="51323">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Freeform: Shape 18">
              <a:extLst>
                <a:ext uri="{FF2B5EF4-FFF2-40B4-BE49-F238E27FC236}">
                  <a16:creationId xmlns:a16="http://schemas.microsoft.com/office/drawing/2014/main" id="{FFC7ED54-A193-4F93-98BD-A9F95F53F901}"/>
                </a:ext>
              </a:extLst>
            </p:cNvPr>
            <p:cNvSpPr/>
            <p:nvPr/>
          </p:nvSpPr>
          <p:spPr>
            <a:xfrm rot="16200000">
              <a:off x="12026199" y="6563439"/>
              <a:ext cx="13277" cy="68070"/>
            </a:xfrm>
            <a:custGeom>
              <a:avLst/>
              <a:gdLst>
                <a:gd name="connsiteX0" fmla="*/ 13277 w 13277"/>
                <a:gd name="connsiteY0" fmla="*/ 12024 h 68070"/>
                <a:gd name="connsiteX1" fmla="*/ 0 w 13277"/>
                <a:gd name="connsiteY1" fmla="*/ 12024 h 68070"/>
                <a:gd name="connsiteX2" fmla="*/ 0 w 13277"/>
                <a:gd name="connsiteY2" fmla="*/ 0 h 68070"/>
                <a:gd name="connsiteX3" fmla="*/ 13277 w 13277"/>
                <a:gd name="connsiteY3" fmla="*/ 0 h 68070"/>
                <a:gd name="connsiteX4" fmla="*/ 0 w 13277"/>
                <a:gd name="connsiteY4" fmla="*/ 17984 h 68070"/>
                <a:gd name="connsiteX5" fmla="*/ 13277 w 13277"/>
                <a:gd name="connsiteY5" fmla="*/ 17984 h 68070"/>
                <a:gd name="connsiteX6" fmla="*/ 13277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Freeform: Shape 19">
              <a:extLst>
                <a:ext uri="{FF2B5EF4-FFF2-40B4-BE49-F238E27FC236}">
                  <a16:creationId xmlns:a16="http://schemas.microsoft.com/office/drawing/2014/main" id="{C1CD3797-433D-4591-AF9B-5A6A6CF23E51}"/>
                </a:ext>
              </a:extLst>
            </p:cNvPr>
            <p:cNvSpPr/>
            <p:nvPr/>
          </p:nvSpPr>
          <p:spPr>
            <a:xfrm rot="16200000">
              <a:off x="12018640" y="6529825"/>
              <a:ext cx="45208" cy="51256"/>
            </a:xfrm>
            <a:custGeom>
              <a:avLst/>
              <a:gdLst>
                <a:gd name="connsiteX0" fmla="*/ 40279 w 45208"/>
                <a:gd name="connsiteY0" fmla="*/ 4038 h 51256"/>
                <a:gd name="connsiteX1" fmla="*/ 45209 w 45208"/>
                <a:gd name="connsiteY1" fmla="*/ 17521 h 51256"/>
                <a:gd name="connsiteX2" fmla="*/ 45209 w 45208"/>
                <a:gd name="connsiteY2" fmla="*/ 51256 h 51256"/>
                <a:gd name="connsiteX3" fmla="*/ 31794 w 45208"/>
                <a:gd name="connsiteY3" fmla="*/ 51256 h 51256"/>
                <a:gd name="connsiteX4" fmla="*/ 31794 w 45208"/>
                <a:gd name="connsiteY4" fmla="*/ 20785 h 51256"/>
                <a:gd name="connsiteX5" fmla="*/ 30746 w 45208"/>
                <a:gd name="connsiteY5" fmla="*/ 14722 h 51256"/>
                <a:gd name="connsiteX6" fmla="*/ 23446 w 45208"/>
                <a:gd name="connsiteY6" fmla="*/ 10874 h 51256"/>
                <a:gd name="connsiteX7" fmla="*/ 14360 w 45208"/>
                <a:gd name="connsiteY7" fmla="*/ 16525 h 51256"/>
                <a:gd name="connsiteX8" fmla="*/ 13089 w 45208"/>
                <a:gd name="connsiteY8" fmla="*/ 24152 h 51256"/>
                <a:gd name="connsiteX9" fmla="*/ 13089 w 45208"/>
                <a:gd name="connsiteY9" fmla="*/ 51256 h 51256"/>
                <a:gd name="connsiteX10" fmla="*/ 0 w 45208"/>
                <a:gd name="connsiteY10" fmla="*/ 51256 h 51256"/>
                <a:gd name="connsiteX11" fmla="*/ 0 w 45208"/>
                <a:gd name="connsiteY11" fmla="*/ 1272 h 51256"/>
                <a:gd name="connsiteX12" fmla="*/ 12676 w 45208"/>
                <a:gd name="connsiteY12" fmla="*/ 1272 h 51256"/>
                <a:gd name="connsiteX13" fmla="*/ 12676 w 45208"/>
                <a:gd name="connsiteY13" fmla="*/ 8607 h 51256"/>
                <a:gd name="connsiteX14" fmla="*/ 17434 w 45208"/>
                <a:gd name="connsiteY14" fmla="*/ 3042 h 51256"/>
                <a:gd name="connsiteX15" fmla="*/ 27637 w 45208"/>
                <a:gd name="connsiteY15" fmla="*/ 19 h 51256"/>
                <a:gd name="connsiteX16" fmla="*/ 40279 w 45208"/>
                <a:gd name="connsiteY16" fmla="*/ 4038 h 5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6">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1" name="Freeform: Shape 20">
              <a:extLst>
                <a:ext uri="{FF2B5EF4-FFF2-40B4-BE49-F238E27FC236}">
                  <a16:creationId xmlns:a16="http://schemas.microsoft.com/office/drawing/2014/main" id="{34C1BB38-5735-40B9-BFAD-56E5CBF32645}"/>
                </a:ext>
              </a:extLst>
            </p:cNvPr>
            <p:cNvSpPr/>
            <p:nvPr/>
          </p:nvSpPr>
          <p:spPr>
            <a:xfrm rot="16200000">
              <a:off x="12018195" y="6477145"/>
              <a:ext cx="28942" cy="68414"/>
            </a:xfrm>
            <a:custGeom>
              <a:avLst/>
              <a:gdLst>
                <a:gd name="connsiteX0" fmla="*/ 25868 w 28942"/>
                <a:gd name="connsiteY0" fmla="*/ 0 h 68414"/>
                <a:gd name="connsiteX1" fmla="*/ 28616 w 28942"/>
                <a:gd name="connsiteY1" fmla="*/ 206 h 68414"/>
                <a:gd name="connsiteX2" fmla="*/ 28616 w 28942"/>
                <a:gd name="connsiteY2" fmla="*/ 10941 h 68414"/>
                <a:gd name="connsiteX3" fmla="*/ 24923 w 28942"/>
                <a:gd name="connsiteY3" fmla="*/ 10735 h 68414"/>
                <a:gd name="connsiteX4" fmla="*/ 21333 w 28942"/>
                <a:gd name="connsiteY4" fmla="*/ 11869 h 68414"/>
                <a:gd name="connsiteX5" fmla="*/ 20354 w 28942"/>
                <a:gd name="connsiteY5" fmla="*/ 14566 h 68414"/>
                <a:gd name="connsiteX6" fmla="*/ 20354 w 28942"/>
                <a:gd name="connsiteY6" fmla="*/ 18791 h 68414"/>
                <a:gd name="connsiteX7" fmla="*/ 28943 w 28942"/>
                <a:gd name="connsiteY7" fmla="*/ 18791 h 68414"/>
                <a:gd name="connsiteX8" fmla="*/ 28943 w 28942"/>
                <a:gd name="connsiteY8" fmla="*/ 28032 h 68414"/>
                <a:gd name="connsiteX9" fmla="*/ 20354 w 28942"/>
                <a:gd name="connsiteY9" fmla="*/ 28032 h 68414"/>
                <a:gd name="connsiteX10" fmla="*/ 20354 w 28942"/>
                <a:gd name="connsiteY10" fmla="*/ 68414 h 68414"/>
                <a:gd name="connsiteX11" fmla="*/ 7352 w 28942"/>
                <a:gd name="connsiteY11" fmla="*/ 68414 h 68414"/>
                <a:gd name="connsiteX12" fmla="*/ 7352 w 28942"/>
                <a:gd name="connsiteY12" fmla="*/ 28032 h 68414"/>
                <a:gd name="connsiteX13" fmla="*/ 0 w 28942"/>
                <a:gd name="connsiteY13" fmla="*/ 28032 h 68414"/>
                <a:gd name="connsiteX14" fmla="*/ 0 w 28942"/>
                <a:gd name="connsiteY14" fmla="*/ 18791 h 68414"/>
                <a:gd name="connsiteX15" fmla="*/ 7163 w 28942"/>
                <a:gd name="connsiteY15" fmla="*/ 18791 h 68414"/>
                <a:gd name="connsiteX16" fmla="*/ 7163 w 28942"/>
                <a:gd name="connsiteY16" fmla="*/ 15579 h 68414"/>
                <a:gd name="connsiteX17" fmla="*/ 9877 w 28942"/>
                <a:gd name="connsiteY17" fmla="*/ 4500 h 68414"/>
                <a:gd name="connsiteX18" fmla="*/ 23618 w 28942"/>
                <a:gd name="connsiteY18" fmla="*/ 0 h 68414"/>
                <a:gd name="connsiteX19" fmla="*/ 25868 w 28942"/>
                <a:gd name="connsiteY19" fmla="*/ 0 h 6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42" h="68414">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2" name="Freeform: Shape 21">
              <a:extLst>
                <a:ext uri="{FF2B5EF4-FFF2-40B4-BE49-F238E27FC236}">
                  <a16:creationId xmlns:a16="http://schemas.microsoft.com/office/drawing/2014/main" id="{F661FAB9-9525-4A2E-ADDE-3D6DE582FDD9}"/>
                </a:ext>
              </a:extLst>
            </p:cNvPr>
            <p:cNvSpPr/>
            <p:nvPr/>
          </p:nvSpPr>
          <p:spPr>
            <a:xfrm rot="16200000">
              <a:off x="12016830" y="6161182"/>
              <a:ext cx="49036" cy="51048"/>
            </a:xfrm>
            <a:custGeom>
              <a:avLst/>
              <a:gdLst>
                <a:gd name="connsiteX0" fmla="*/ 42949 w 49036"/>
                <a:gd name="connsiteY0" fmla="*/ 43542 h 51048"/>
                <a:gd name="connsiteX1" fmla="*/ 24519 w 49036"/>
                <a:gd name="connsiteY1" fmla="*/ 51049 h 51048"/>
                <a:gd name="connsiteX2" fmla="*/ 6071 w 49036"/>
                <a:gd name="connsiteY2" fmla="*/ 43542 h 51048"/>
                <a:gd name="connsiteX3" fmla="*/ 8 w 49036"/>
                <a:gd name="connsiteY3" fmla="*/ 25576 h 51048"/>
                <a:gd name="connsiteX4" fmla="*/ 6071 w 49036"/>
                <a:gd name="connsiteY4" fmla="*/ 7592 h 51048"/>
                <a:gd name="connsiteX5" fmla="*/ 24519 w 49036"/>
                <a:gd name="connsiteY5" fmla="*/ 0 h 51048"/>
                <a:gd name="connsiteX6" fmla="*/ 42949 w 49036"/>
                <a:gd name="connsiteY6" fmla="*/ 7592 h 51048"/>
                <a:gd name="connsiteX7" fmla="*/ 49030 w 49036"/>
                <a:gd name="connsiteY7" fmla="*/ 25576 h 51048"/>
                <a:gd name="connsiteX8" fmla="*/ 42949 w 49036"/>
                <a:gd name="connsiteY8" fmla="*/ 43542 h 51048"/>
                <a:gd name="connsiteX9" fmla="*/ 32918 w 49036"/>
                <a:gd name="connsiteY9" fmla="*/ 36672 h 51048"/>
                <a:gd name="connsiteX10" fmla="*/ 35872 w 49036"/>
                <a:gd name="connsiteY10" fmla="*/ 25576 h 51048"/>
                <a:gd name="connsiteX11" fmla="*/ 32918 w 49036"/>
                <a:gd name="connsiteY11" fmla="*/ 14480 h 51048"/>
                <a:gd name="connsiteX12" fmla="*/ 17172 w 49036"/>
                <a:gd name="connsiteY12" fmla="*/ 13307 h 51048"/>
                <a:gd name="connsiteX13" fmla="*/ 15999 w 49036"/>
                <a:gd name="connsiteY13" fmla="*/ 14480 h 51048"/>
                <a:gd name="connsiteX14" fmla="*/ 13027 w 49036"/>
                <a:gd name="connsiteY14" fmla="*/ 25576 h 51048"/>
                <a:gd name="connsiteX15" fmla="*/ 15999 w 49036"/>
                <a:gd name="connsiteY15" fmla="*/ 36706 h 51048"/>
                <a:gd name="connsiteX16" fmla="*/ 31692 w 49036"/>
                <a:gd name="connsiteY16" fmla="*/ 37932 h 51048"/>
                <a:gd name="connsiteX17" fmla="*/ 32918 w 49036"/>
                <a:gd name="connsiteY17" fmla="*/ 36706 h 5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036" h="51048">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3" name="Freeform: Shape 22">
              <a:extLst>
                <a:ext uri="{FF2B5EF4-FFF2-40B4-BE49-F238E27FC236}">
                  <a16:creationId xmlns:a16="http://schemas.microsoft.com/office/drawing/2014/main" id="{9E2E67E8-04E8-4D20-B8D4-6E67405547E0}"/>
                </a:ext>
              </a:extLst>
            </p:cNvPr>
            <p:cNvSpPr/>
            <p:nvPr/>
          </p:nvSpPr>
          <p:spPr>
            <a:xfrm rot="16200000">
              <a:off x="12005374" y="6370523"/>
              <a:ext cx="71791" cy="51205"/>
            </a:xfrm>
            <a:custGeom>
              <a:avLst/>
              <a:gdLst>
                <a:gd name="connsiteX0" fmla="*/ 62643 w 71791"/>
                <a:gd name="connsiteY0" fmla="*/ 1307 h 51205"/>
                <a:gd name="connsiteX1" fmla="*/ 68466 w 71791"/>
                <a:gd name="connsiteY1" fmla="*/ 5808 h 51205"/>
                <a:gd name="connsiteX2" fmla="*/ 71317 w 71791"/>
                <a:gd name="connsiteY2" fmla="*/ 12249 h 51205"/>
                <a:gd name="connsiteX3" fmla="*/ 71781 w 71791"/>
                <a:gd name="connsiteY3" fmla="*/ 19635 h 51205"/>
                <a:gd name="connsiteX4" fmla="*/ 71781 w 71791"/>
                <a:gd name="connsiteY4" fmla="*/ 51205 h 51205"/>
                <a:gd name="connsiteX5" fmla="*/ 58349 w 71791"/>
                <a:gd name="connsiteY5" fmla="*/ 51205 h 51205"/>
                <a:gd name="connsiteX6" fmla="*/ 58349 w 71791"/>
                <a:gd name="connsiteY6" fmla="*/ 19308 h 51205"/>
                <a:gd name="connsiteX7" fmla="*/ 57438 w 71791"/>
                <a:gd name="connsiteY7" fmla="*/ 14636 h 51205"/>
                <a:gd name="connsiteX8" fmla="*/ 50997 w 71791"/>
                <a:gd name="connsiteY8" fmla="*/ 11201 h 51205"/>
                <a:gd name="connsiteX9" fmla="*/ 43525 w 71791"/>
                <a:gd name="connsiteY9" fmla="*/ 15701 h 51205"/>
                <a:gd name="connsiteX10" fmla="*/ 42460 w 71791"/>
                <a:gd name="connsiteY10" fmla="*/ 21455 h 51205"/>
                <a:gd name="connsiteX11" fmla="*/ 42460 w 71791"/>
                <a:gd name="connsiteY11" fmla="*/ 51205 h 51205"/>
                <a:gd name="connsiteX12" fmla="*/ 29269 w 71791"/>
                <a:gd name="connsiteY12" fmla="*/ 51205 h 51205"/>
                <a:gd name="connsiteX13" fmla="*/ 29269 w 71791"/>
                <a:gd name="connsiteY13" fmla="*/ 21387 h 51205"/>
                <a:gd name="connsiteX14" fmla="*/ 28359 w 71791"/>
                <a:gd name="connsiteY14" fmla="*/ 14911 h 51205"/>
                <a:gd name="connsiteX15" fmla="*/ 21883 w 71791"/>
                <a:gd name="connsiteY15" fmla="*/ 11270 h 51205"/>
                <a:gd name="connsiteX16" fmla="*/ 14342 w 71791"/>
                <a:gd name="connsiteY16" fmla="*/ 14911 h 51205"/>
                <a:gd name="connsiteX17" fmla="*/ 13277 w 71791"/>
                <a:gd name="connsiteY17" fmla="*/ 21060 h 51205"/>
                <a:gd name="connsiteX18" fmla="*/ 13277 w 71791"/>
                <a:gd name="connsiteY18" fmla="*/ 51205 h 51205"/>
                <a:gd name="connsiteX19" fmla="*/ 0 w 71791"/>
                <a:gd name="connsiteY19" fmla="*/ 51205 h 51205"/>
                <a:gd name="connsiteX20" fmla="*/ 0 w 71791"/>
                <a:gd name="connsiteY20" fmla="*/ 1221 h 51205"/>
                <a:gd name="connsiteX21" fmla="*/ 12728 w 71791"/>
                <a:gd name="connsiteY21" fmla="*/ 1221 h 51205"/>
                <a:gd name="connsiteX22" fmla="*/ 12728 w 71791"/>
                <a:gd name="connsiteY22" fmla="*/ 8556 h 51205"/>
                <a:gd name="connsiteX23" fmla="*/ 17331 w 71791"/>
                <a:gd name="connsiteY23" fmla="*/ 2991 h 51205"/>
                <a:gd name="connsiteX24" fmla="*/ 36483 w 71791"/>
                <a:gd name="connsiteY24" fmla="*/ 2578 h 51205"/>
                <a:gd name="connsiteX25" fmla="*/ 40726 w 71791"/>
                <a:gd name="connsiteY25" fmla="*/ 8556 h 51205"/>
                <a:gd name="connsiteX26" fmla="*/ 47098 w 71791"/>
                <a:gd name="connsiteY26" fmla="*/ 2063 h 51205"/>
                <a:gd name="connsiteX27" fmla="*/ 56116 w 71791"/>
                <a:gd name="connsiteY27" fmla="*/ 2 h 51205"/>
                <a:gd name="connsiteX28" fmla="*/ 62643 w 71791"/>
                <a:gd name="connsiteY28" fmla="*/ 1307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791" h="51205">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Freeform: Shape 23">
              <a:extLst>
                <a:ext uri="{FF2B5EF4-FFF2-40B4-BE49-F238E27FC236}">
                  <a16:creationId xmlns:a16="http://schemas.microsoft.com/office/drawing/2014/main" id="{80013948-917C-44E7-8DBE-C5E0FD0A2100}"/>
                </a:ext>
              </a:extLst>
            </p:cNvPr>
            <p:cNvSpPr/>
            <p:nvPr/>
          </p:nvSpPr>
          <p:spPr>
            <a:xfrm rot="16200000">
              <a:off x="12026199" y="6307354"/>
              <a:ext cx="13277" cy="68070"/>
            </a:xfrm>
            <a:custGeom>
              <a:avLst/>
              <a:gdLst>
                <a:gd name="connsiteX0" fmla="*/ 13278 w 13277"/>
                <a:gd name="connsiteY0" fmla="*/ 12024 h 68070"/>
                <a:gd name="connsiteX1" fmla="*/ 0 w 13277"/>
                <a:gd name="connsiteY1" fmla="*/ 12024 h 68070"/>
                <a:gd name="connsiteX2" fmla="*/ 0 w 13277"/>
                <a:gd name="connsiteY2" fmla="*/ 0 h 68070"/>
                <a:gd name="connsiteX3" fmla="*/ 13278 w 13277"/>
                <a:gd name="connsiteY3" fmla="*/ 0 h 68070"/>
                <a:gd name="connsiteX4" fmla="*/ 0 w 13277"/>
                <a:gd name="connsiteY4" fmla="*/ 17984 h 68070"/>
                <a:gd name="connsiteX5" fmla="*/ 13278 w 13277"/>
                <a:gd name="connsiteY5" fmla="*/ 17984 h 68070"/>
                <a:gd name="connsiteX6" fmla="*/ 13278 w 13277"/>
                <a:gd name="connsiteY6" fmla="*/ 68070 h 68070"/>
                <a:gd name="connsiteX7" fmla="*/ 0 w 13277"/>
                <a:gd name="connsiteY7" fmla="*/ 68070 h 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77" h="6807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Freeform: Shape 24">
              <a:extLst>
                <a:ext uri="{FF2B5EF4-FFF2-40B4-BE49-F238E27FC236}">
                  <a16:creationId xmlns:a16="http://schemas.microsoft.com/office/drawing/2014/main" id="{87DCBD3E-5674-40CB-910B-ABFD71044CD1}"/>
                </a:ext>
              </a:extLst>
            </p:cNvPr>
            <p:cNvSpPr/>
            <p:nvPr/>
          </p:nvSpPr>
          <p:spPr>
            <a:xfrm rot="16200000">
              <a:off x="12018641" y="6273739"/>
              <a:ext cx="45208" cy="51255"/>
            </a:xfrm>
            <a:custGeom>
              <a:avLst/>
              <a:gdLst>
                <a:gd name="connsiteX0" fmla="*/ 40296 w 45208"/>
                <a:gd name="connsiteY0" fmla="*/ 4038 h 51255"/>
                <a:gd name="connsiteX1" fmla="*/ 45209 w 45208"/>
                <a:gd name="connsiteY1" fmla="*/ 17521 h 51255"/>
                <a:gd name="connsiteX2" fmla="*/ 45209 w 45208"/>
                <a:gd name="connsiteY2" fmla="*/ 51256 h 51255"/>
                <a:gd name="connsiteX3" fmla="*/ 31794 w 45208"/>
                <a:gd name="connsiteY3" fmla="*/ 51256 h 51255"/>
                <a:gd name="connsiteX4" fmla="*/ 31794 w 45208"/>
                <a:gd name="connsiteY4" fmla="*/ 20785 h 51255"/>
                <a:gd name="connsiteX5" fmla="*/ 30746 w 45208"/>
                <a:gd name="connsiteY5" fmla="*/ 14722 h 51255"/>
                <a:gd name="connsiteX6" fmla="*/ 23446 w 45208"/>
                <a:gd name="connsiteY6" fmla="*/ 10874 h 51255"/>
                <a:gd name="connsiteX7" fmla="*/ 14377 w 45208"/>
                <a:gd name="connsiteY7" fmla="*/ 16525 h 51255"/>
                <a:gd name="connsiteX8" fmla="*/ 13089 w 45208"/>
                <a:gd name="connsiteY8" fmla="*/ 24151 h 51255"/>
                <a:gd name="connsiteX9" fmla="*/ 13089 w 45208"/>
                <a:gd name="connsiteY9" fmla="*/ 51256 h 51255"/>
                <a:gd name="connsiteX10" fmla="*/ 0 w 45208"/>
                <a:gd name="connsiteY10" fmla="*/ 51256 h 51255"/>
                <a:gd name="connsiteX11" fmla="*/ 0 w 45208"/>
                <a:gd name="connsiteY11" fmla="*/ 1272 h 51255"/>
                <a:gd name="connsiteX12" fmla="*/ 12676 w 45208"/>
                <a:gd name="connsiteY12" fmla="*/ 1272 h 51255"/>
                <a:gd name="connsiteX13" fmla="*/ 12676 w 45208"/>
                <a:gd name="connsiteY13" fmla="*/ 8607 h 51255"/>
                <a:gd name="connsiteX14" fmla="*/ 17434 w 45208"/>
                <a:gd name="connsiteY14" fmla="*/ 3042 h 51255"/>
                <a:gd name="connsiteX15" fmla="*/ 27637 w 45208"/>
                <a:gd name="connsiteY15" fmla="*/ 18 h 51255"/>
                <a:gd name="connsiteX16" fmla="*/ 40296 w 45208"/>
                <a:gd name="connsiteY16" fmla="*/ 4038 h 5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208" h="51255">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Freeform: Shape 25">
              <a:extLst>
                <a:ext uri="{FF2B5EF4-FFF2-40B4-BE49-F238E27FC236}">
                  <a16:creationId xmlns:a16="http://schemas.microsoft.com/office/drawing/2014/main" id="{76AD7FAC-FE8F-4E5C-AC0E-214C9EA7FF92}"/>
                </a:ext>
              </a:extLst>
            </p:cNvPr>
            <p:cNvSpPr/>
            <p:nvPr/>
          </p:nvSpPr>
          <p:spPr>
            <a:xfrm rot="16200000">
              <a:off x="12017163" y="6218687"/>
              <a:ext cx="48082" cy="51510"/>
            </a:xfrm>
            <a:custGeom>
              <a:avLst/>
              <a:gdLst>
                <a:gd name="connsiteX0" fmla="*/ 35384 w 48082"/>
                <a:gd name="connsiteY0" fmla="*/ 2281 h 51510"/>
                <a:gd name="connsiteX1" fmla="*/ 43766 w 48082"/>
                <a:gd name="connsiteY1" fmla="*/ 9444 h 51510"/>
                <a:gd name="connsiteX2" fmla="*/ 47631 w 48082"/>
                <a:gd name="connsiteY2" fmla="*/ 19475 h 51510"/>
                <a:gd name="connsiteX3" fmla="*/ 48043 w 48082"/>
                <a:gd name="connsiteY3" fmla="*/ 29094 h 51510"/>
                <a:gd name="connsiteX4" fmla="*/ 12711 w 48082"/>
                <a:gd name="connsiteY4" fmla="*/ 29094 h 51510"/>
                <a:gd name="connsiteX5" fmla="*/ 17778 w 48082"/>
                <a:gd name="connsiteY5" fmla="*/ 39400 h 51510"/>
                <a:gd name="connsiteX6" fmla="*/ 24769 w 48082"/>
                <a:gd name="connsiteY6" fmla="*/ 41237 h 51510"/>
                <a:gd name="connsiteX7" fmla="*/ 31811 w 48082"/>
                <a:gd name="connsiteY7" fmla="*/ 39004 h 51510"/>
                <a:gd name="connsiteX8" fmla="*/ 34405 w 48082"/>
                <a:gd name="connsiteY8" fmla="*/ 35672 h 51510"/>
                <a:gd name="connsiteX9" fmla="*/ 47407 w 48082"/>
                <a:gd name="connsiteY9" fmla="*/ 35672 h 51510"/>
                <a:gd name="connsiteX10" fmla="*/ 42701 w 48082"/>
                <a:gd name="connsiteY10" fmla="*/ 44432 h 51510"/>
                <a:gd name="connsiteX11" fmla="*/ 24459 w 48082"/>
                <a:gd name="connsiteY11" fmla="*/ 51509 h 51510"/>
                <a:gd name="connsiteX12" fmla="*/ 7386 w 48082"/>
                <a:gd name="connsiteY12" fmla="*/ 45549 h 51510"/>
                <a:gd name="connsiteX13" fmla="*/ 0 w 48082"/>
                <a:gd name="connsiteY13" fmla="*/ 26139 h 51510"/>
                <a:gd name="connsiteX14" fmla="*/ 6682 w 48082"/>
                <a:gd name="connsiteY14" fmla="*/ 6816 h 51510"/>
                <a:gd name="connsiteX15" fmla="*/ 23961 w 48082"/>
                <a:gd name="connsiteY15" fmla="*/ 14 h 51510"/>
                <a:gd name="connsiteX16" fmla="*/ 35384 w 48082"/>
                <a:gd name="connsiteY16" fmla="*/ 2281 h 51510"/>
                <a:gd name="connsiteX17" fmla="*/ 16490 w 48082"/>
                <a:gd name="connsiteY17" fmla="*/ 13223 h 51510"/>
                <a:gd name="connsiteX18" fmla="*/ 13054 w 48082"/>
                <a:gd name="connsiteY18" fmla="*/ 20797 h 51510"/>
                <a:gd name="connsiteX19" fmla="*/ 34886 w 48082"/>
                <a:gd name="connsiteY19" fmla="*/ 20797 h 51510"/>
                <a:gd name="connsiteX20" fmla="*/ 31450 w 48082"/>
                <a:gd name="connsiteY20" fmla="*/ 13137 h 51510"/>
                <a:gd name="connsiteX21" fmla="*/ 23961 w 48082"/>
                <a:gd name="connsiteY21" fmla="*/ 10491 h 51510"/>
                <a:gd name="connsiteX22" fmla="*/ 16490 w 48082"/>
                <a:gd name="connsiteY22" fmla="*/ 13223 h 5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082" h="5151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bg1"/>
            </a:solidFill>
            <a:ln w="1705" cap="flat">
              <a:noFill/>
              <a:prstDash val="solid"/>
              <a:miter/>
            </a:ln>
          </p:spPr>
          <p:txBody>
            <a:bodyPr rtlCol="0" anchor="ctr"/>
            <a:lstStyle/>
            <a:p>
              <a:endParaRPr lang="en-IN">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endParaRPr>
            </a:p>
          </p:txBody>
        </p:sp>
      </p:grpSp>
      <p:pic>
        <p:nvPicPr>
          <p:cNvPr id="12" name="Graphic 11">
            <a:extLst>
              <a:ext uri="{FF2B5EF4-FFF2-40B4-BE49-F238E27FC236}">
                <a16:creationId xmlns:a16="http://schemas.microsoft.com/office/drawing/2014/main" id="{9EDD5925-EA7C-4C82-A33E-C3CE8EA3BC2F}"/>
              </a:ext>
            </a:extLst>
          </p:cNvPr>
          <p:cNvPicPr>
            <a:picLocks noChangeAspect="1"/>
          </p:cNvPicPr>
          <p:nvPr userDrawn="1"/>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rot="16200000">
            <a:off x="11811887" y="6349041"/>
            <a:ext cx="441438" cy="68706"/>
          </a:xfrm>
          <a:prstGeom prst="rect">
            <a:avLst/>
          </a:prstGeom>
        </p:spPr>
      </p:pic>
      <p:sp>
        <p:nvSpPr>
          <p:cNvPr id="2" name="Title Placeholder 1">
            <a:extLst>
              <a:ext uri="{FF2B5EF4-FFF2-40B4-BE49-F238E27FC236}">
                <a16:creationId xmlns:a16="http://schemas.microsoft.com/office/drawing/2014/main" id="{0660F969-E23C-496D-A989-9312D6EAF381}"/>
              </a:ext>
            </a:extLst>
          </p:cNvPr>
          <p:cNvSpPr>
            <a:spLocks noGrp="1"/>
          </p:cNvSpPr>
          <p:nvPr>
            <p:ph type="title"/>
          </p:nvPr>
        </p:nvSpPr>
        <p:spPr>
          <a:xfrm>
            <a:off x="550863" y="560588"/>
            <a:ext cx="11089972" cy="422295"/>
          </a:xfrm>
          <a:prstGeom prst="rect">
            <a:avLst/>
          </a:prstGeom>
        </p:spPr>
        <p:txBody>
          <a:bodyPr vert="horz" wrap="square" lIns="0" tIns="0" rIns="0" bIns="0" rtlCol="0" anchor="t">
            <a:spAutoFit/>
          </a:bodyPr>
          <a:lstStyle/>
          <a:p>
            <a:pPr lvl="0">
              <a:lnSpc>
                <a:spcPct val="85000"/>
              </a:lnSpc>
            </a:pPr>
            <a:r>
              <a:rPr lang="en-US" dirty="0"/>
              <a:t>Click to edit Master title style</a:t>
            </a:r>
            <a:endParaRPr lang="en-IN" dirty="0"/>
          </a:p>
        </p:txBody>
      </p:sp>
      <p:sp>
        <p:nvSpPr>
          <p:cNvPr id="3" name="Text Placeholder 2">
            <a:extLst>
              <a:ext uri="{FF2B5EF4-FFF2-40B4-BE49-F238E27FC236}">
                <a16:creationId xmlns:a16="http://schemas.microsoft.com/office/drawing/2014/main" id="{8FA9E90D-E2CC-4615-8D50-28FACCCB351D}"/>
              </a:ext>
            </a:extLst>
          </p:cNvPr>
          <p:cNvSpPr>
            <a:spLocks noGrp="1"/>
          </p:cNvSpPr>
          <p:nvPr>
            <p:ph type="body" idx="1"/>
          </p:nvPr>
        </p:nvSpPr>
        <p:spPr>
          <a:xfrm>
            <a:off x="550862" y="1859913"/>
            <a:ext cx="11089973" cy="1349087"/>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5" name="Footer Placeholder 4">
            <a:extLst>
              <a:ext uri="{FF2B5EF4-FFF2-40B4-BE49-F238E27FC236}">
                <a16:creationId xmlns:a16="http://schemas.microsoft.com/office/drawing/2014/main" id="{BFD71C6E-2232-442E-8448-AF1BD6203E06}"/>
              </a:ext>
            </a:extLst>
          </p:cNvPr>
          <p:cNvSpPr>
            <a:spLocks noGrp="1"/>
          </p:cNvSpPr>
          <p:nvPr>
            <p:ph type="ftr" sz="quarter" idx="3"/>
          </p:nvPr>
        </p:nvSpPr>
        <p:spPr>
          <a:xfrm>
            <a:off x="550862" y="6465614"/>
            <a:ext cx="955390"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endParaRPr lang="en-IN"/>
          </a:p>
        </p:txBody>
      </p:sp>
      <p:sp>
        <p:nvSpPr>
          <p:cNvPr id="6" name="Slide Number Placeholder 5">
            <a:extLst>
              <a:ext uri="{FF2B5EF4-FFF2-40B4-BE49-F238E27FC236}">
                <a16:creationId xmlns:a16="http://schemas.microsoft.com/office/drawing/2014/main" id="{9C0662E3-7504-4CA7-A6CD-7C5C765B73F5}"/>
              </a:ext>
            </a:extLst>
          </p:cNvPr>
          <p:cNvSpPr>
            <a:spLocks noGrp="1"/>
          </p:cNvSpPr>
          <p:nvPr>
            <p:ph type="sldNum" sz="quarter" idx="4"/>
          </p:nvPr>
        </p:nvSpPr>
        <p:spPr>
          <a:xfrm>
            <a:off x="11490153" y="6465614"/>
            <a:ext cx="150682" cy="138499"/>
          </a:xfrm>
          <a:prstGeom prst="rect">
            <a:avLst/>
          </a:prstGeom>
          <a:noFill/>
        </p:spPr>
        <p:txBody>
          <a:bodyPr wrap="none" lIns="0" tIns="0" rIns="0" bIns="0" rtlCol="0" anchor="b">
            <a:spAutoFit/>
          </a:bodyPr>
          <a:lstStyle>
            <a:lvl1pPr algn="r">
              <a:defRPr kumimoji="0" lang="en-IN" sz="1000" b="0" i="0" u="none" strike="noStrike" cap="none" spc="0" normalizeH="0" baseline="0" smtClean="0">
                <a:ln>
                  <a:noFill/>
                </a:ln>
                <a:solidFill>
                  <a:schemeClr val="bg1">
                    <a:lumMod val="50000"/>
                  </a:schemeClr>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fld id="{2547BBBC-05CB-49BC-A9CC-2D869F0C1D2C}" type="slidenum">
              <a:rPr lang="en-IN" smtClean="0"/>
              <a:pPr>
                <a:lnSpc>
                  <a:spcPct val="90000"/>
                </a:lnSpc>
              </a:pPr>
              <a:t>‹#›</a:t>
            </a:fld>
            <a:endParaRPr lang="en-IN" dirty="0"/>
          </a:p>
        </p:txBody>
      </p:sp>
      <p:sp>
        <p:nvSpPr>
          <p:cNvPr id="84" name="Copyright">
            <a:extLst>
              <a:ext uri="{FF2B5EF4-FFF2-40B4-BE49-F238E27FC236}">
                <a16:creationId xmlns:a16="http://schemas.microsoft.com/office/drawing/2014/main" id="{99040E17-1592-44EC-BAF2-3AB7B9CEFCC4}"/>
              </a:ext>
            </a:extLst>
          </p:cNvPr>
          <p:cNvSpPr txBox="1"/>
          <p:nvPr userDrawn="1"/>
        </p:nvSpPr>
        <p:spPr>
          <a:xfrm rot="16200000">
            <a:off x="11250971" y="5290633"/>
            <a:ext cx="1567737" cy="110800"/>
          </a:xfrm>
          <a:prstGeom prst="rect">
            <a:avLst/>
          </a:prstGeom>
          <a:noFill/>
        </p:spPr>
        <p:txBody>
          <a:bodyPr wrap="none" lIns="0" tIns="0" rIns="0" bIns="0" rtlCol="0" anchor="b">
            <a:spAutoFit/>
          </a:bodyPr>
          <a:lstStyle>
            <a:defPPr>
              <a:defRPr lang="en-US"/>
            </a:defPPr>
            <a:lvl1pPr>
              <a:lnSpc>
                <a:spcPct val="90000"/>
              </a:lnSpc>
              <a:defRPr kumimoji="0" sz="1000" b="0" i="0" u="none" strike="noStrike" cap="none" spc="0" normalizeH="0" baseline="0">
                <a:ln>
                  <a:noFill/>
                </a:ln>
                <a:solidFill>
                  <a:schemeClr val="bg1">
                    <a:lumMod val="50000"/>
                  </a:schemeClr>
                </a:solidFill>
                <a:effectLst/>
                <a:uLnTx/>
                <a:uFillTx/>
                <a:latin typeface="+mj-lt"/>
              </a:defRPr>
            </a:lvl1pPr>
          </a:lstStyle>
          <a:p>
            <a:pPr lvl="0" algn="l"/>
            <a:r>
              <a:rPr lang="en-US" sz="800" dirty="0">
                <a:solidFill>
                  <a:schemeClr val="tx1">
                    <a:lumMod val="40000"/>
                    <a:lumOff val="60000"/>
                  </a:schemeClr>
                </a:solidFill>
                <a:latin typeface="Calibri" panose="020F0502020204030204" pitchFamily="34" charset="0"/>
                <a:cs typeface="Calibri" panose="020F0502020204030204" pitchFamily="34" charset="0"/>
                <a:sym typeface="Calibri" panose="020F0502020204030204" pitchFamily="34" charset="0"/>
              </a:rPr>
              <a:t>Copyright © 2023. All rights reserved.</a:t>
            </a:r>
          </a:p>
        </p:txBody>
      </p:sp>
      <p:cxnSp>
        <p:nvCxnSpPr>
          <p:cNvPr id="561" name="Straight Connector 560">
            <a:extLst>
              <a:ext uri="{FF2B5EF4-FFF2-40B4-BE49-F238E27FC236}">
                <a16:creationId xmlns:a16="http://schemas.microsoft.com/office/drawing/2014/main" id="{123CE0EA-9B99-45A6-9191-1D727AB177A1}"/>
              </a:ext>
            </a:extLst>
          </p:cNvPr>
          <p:cNvCxnSpPr>
            <a:cxnSpLocks/>
          </p:cNvCxnSpPr>
          <p:nvPr userDrawn="1"/>
        </p:nvCxnSpPr>
        <p:spPr>
          <a:xfrm>
            <a:off x="539400" y="484910"/>
            <a:ext cx="540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Slide Number Placeholder 5">
            <a:extLst>
              <a:ext uri="{FF2B5EF4-FFF2-40B4-BE49-F238E27FC236}">
                <a16:creationId xmlns:a16="http://schemas.microsoft.com/office/drawing/2014/main" id="{FB488F1C-E163-4C22-86CF-A1A896433596}"/>
              </a:ext>
            </a:extLst>
          </p:cNvPr>
          <p:cNvSpPr txBox="1">
            <a:spLocks/>
          </p:cNvSpPr>
          <p:nvPr userDrawn="1"/>
        </p:nvSpPr>
        <p:spPr>
          <a:xfrm>
            <a:off x="11490153" y="6465614"/>
            <a:ext cx="150682" cy="138499"/>
          </a:xfrm>
          <a:prstGeom prst="rect">
            <a:avLst/>
          </a:prstGeom>
          <a:noFill/>
        </p:spPr>
        <p:txBody>
          <a:bodyPr wrap="none" lIns="0" tIns="0" rIns="0" bIns="0" rtlCol="0" anchor="b">
            <a:spAutoFit/>
          </a:bodyPr>
          <a:lstStyle>
            <a:defPPr>
              <a:defRPr lang="en-US"/>
            </a:defPPr>
            <a:lvl1pPr marL="0" algn="r" defTabSz="914400" rtl="0" eaLnBrk="1" latinLnBrk="0" hangingPunct="1">
              <a:defRPr kumimoji="0" lang="en-IN" sz="1000" b="0" i="0" u="none" strike="noStrike" kern="1200" cap="none" spc="0" normalizeH="0" baseline="0" smtClean="0">
                <a:ln>
                  <a:noFill/>
                </a:ln>
                <a:solidFill>
                  <a:schemeClr val="bg1">
                    <a:lumMod val="50000"/>
                  </a:schemeClr>
                </a:solidFill>
                <a:effectLst/>
                <a:uLnTx/>
                <a:uFillTx/>
                <a:latin typeface="Calibri" panose="020F0502020204030204" pitchFamily="34" charset="0"/>
                <a:ea typeface="+mn-ea"/>
                <a:cs typeface="Calibri" panose="020F0502020204030204" pitchFamily="34" charset="0"/>
                <a:sym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fld id="{2547BBBC-05CB-49BC-A9CC-2D869F0C1D2C}" type="slidenum">
              <a:rPr lang="en-IN" smtClean="0"/>
              <a:pPr>
                <a:lnSpc>
                  <a:spcPct val="90000"/>
                </a:lnSpc>
              </a:pPr>
              <a:t>‹#›</a:t>
            </a:fld>
            <a:endParaRPr lang="en-IN" dirty="0"/>
          </a:p>
        </p:txBody>
      </p:sp>
    </p:spTree>
    <p:extLst>
      <p:ext uri="{BB962C8B-B14F-4D97-AF65-F5344CB8AC3E}">
        <p14:creationId xmlns:p14="http://schemas.microsoft.com/office/powerpoint/2010/main" val="3384019627"/>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 id="2147483838" r:id="rId36"/>
  </p:sldLayoutIdLst>
  <p:hf sldNum="0" hdr="0" ftr="0"/>
  <p:txStyles>
    <p:titleStyle>
      <a:lvl1pPr algn="l" defTabSz="914400" rtl="0" eaLnBrk="1" latinLnBrk="0" hangingPunct="1">
        <a:lnSpc>
          <a:spcPct val="90000"/>
        </a:lnSpc>
        <a:spcBef>
          <a:spcPct val="0"/>
        </a:spcBef>
        <a:buNone/>
        <a:defRPr lang="en-IN" sz="3200" b="0" kern="1200" dirty="0">
          <a:solidFill>
            <a:schemeClr val="tx2"/>
          </a:solidFill>
          <a:latin typeface="Franklin Gothic Demi" panose="020B0703020102020204" pitchFamily="34" charset="0"/>
          <a:ea typeface="+mj-ea"/>
          <a:cs typeface="Calibri" panose="020F0502020204030204" pitchFamily="34" charset="0"/>
          <a:sym typeface="Calibri" panose="020F0502020204030204" pitchFamily="34" charset="0"/>
        </a:defRPr>
      </a:lvl1pPr>
    </p:titleStyle>
    <p:bodyStyle>
      <a:lvl1pPr marL="0" indent="0" algn="l" defTabSz="914400" rtl="0" eaLnBrk="1" latinLnBrk="0" hangingPunct="1">
        <a:lnSpc>
          <a:spcPct val="95000"/>
        </a:lnSpc>
        <a:spcBef>
          <a:spcPts val="1000"/>
        </a:spcBef>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76213" indent="-176213" algn="l" defTabSz="914400" rtl="0" eaLnBrk="1" latinLnBrk="0" hangingPunct="1">
        <a:lnSpc>
          <a:spcPct val="95000"/>
        </a:lnSpc>
        <a:spcBef>
          <a:spcPts val="500"/>
        </a:spcBef>
        <a:buClr>
          <a:schemeClr val="tx2"/>
        </a:buClr>
        <a:buSzPct val="90000"/>
        <a:buFont typeface="Wingdings" panose="05000000000000000000" pitchFamily="2" charset="2"/>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358775" indent="-179388" algn="l" defTabSz="914400" rtl="0" eaLnBrk="1" latinLnBrk="0" hangingPunct="1">
        <a:lnSpc>
          <a:spcPct val="95000"/>
        </a:lnSpc>
        <a:spcBef>
          <a:spcPts val="300"/>
        </a:spcBef>
        <a:buClr>
          <a:schemeClr val="tx2"/>
        </a:buClr>
        <a:buFont typeface="Calibri Light" panose="020F0302020204030204" pitchFamily="34" charset="0"/>
        <a:buChar char="−"/>
        <a:tabLst/>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536575" indent="-177800" algn="l" defTabSz="914400" rtl="0" eaLnBrk="1" latinLnBrk="0" hangingPunct="1">
        <a:lnSpc>
          <a:spcPct val="95000"/>
        </a:lnSpc>
        <a:spcBef>
          <a:spcPts val="100"/>
        </a:spcBef>
        <a:buClr>
          <a:schemeClr val="tx2"/>
        </a:buClr>
        <a:buSzPct val="90000"/>
        <a:buFont typeface="Wingdings" panose="05000000000000000000" pitchFamily="2" charset="2"/>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715963" indent="-179388" algn="l" defTabSz="914400" rtl="0" eaLnBrk="1" latinLnBrk="0" hangingPunct="1">
        <a:lnSpc>
          <a:spcPct val="95000"/>
        </a:lnSpc>
        <a:spcBef>
          <a:spcPts val="100"/>
        </a:spcBef>
        <a:buClr>
          <a:schemeClr val="tx2"/>
        </a:buClr>
        <a:buFont typeface="Calibri Light" panose="020F0302020204030204" pitchFamily="34"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ABC757-ED20-4346-903C-7ACB6BDFF219}"/>
              </a:ext>
            </a:extLst>
          </p:cNvPr>
          <p:cNvGraphicFramePr>
            <a:graphicFrameLocks noChangeAspect="1"/>
          </p:cNvGraphicFramePr>
          <p:nvPr userDrawn="1">
            <p:custDataLst>
              <p:tags r:id="rId25"/>
            </p:custDataLst>
            <p:extLst>
              <p:ext uri="{D42A27DB-BD31-4B8C-83A1-F6EECF244321}">
                <p14:modId xmlns:p14="http://schemas.microsoft.com/office/powerpoint/2010/main" val="2469961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73" imgH="476" progId="TCLayout.ActiveDocument.1">
                  <p:embed/>
                </p:oleObj>
              </mc:Choice>
              <mc:Fallback>
                <p:oleObj name="think-cell Slide" r:id="rId26" imgW="473" imgH="476" progId="TCLayout.ActiveDocument.1">
                  <p:embed/>
                  <p:pic>
                    <p:nvPicPr>
                      <p:cNvPr id="2" name="Object 1" hidden="1">
                        <a:extLst>
                          <a:ext uri="{FF2B5EF4-FFF2-40B4-BE49-F238E27FC236}">
                            <a16:creationId xmlns:a16="http://schemas.microsoft.com/office/drawing/2014/main" id="{11ABC757-ED20-4346-903C-7ACB6BDFF21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grpSp>
        <p:nvGrpSpPr>
          <p:cNvPr id="10" name="Google Shape;10;p45"/>
          <p:cNvGrpSpPr/>
          <p:nvPr/>
        </p:nvGrpSpPr>
        <p:grpSpPr>
          <a:xfrm>
            <a:off x="11998459" y="6162188"/>
            <a:ext cx="68500" cy="441925"/>
            <a:chOff x="11998459" y="6162188"/>
            <a:chExt cx="68500" cy="441925"/>
          </a:xfrm>
        </p:grpSpPr>
        <p:sp>
          <p:nvSpPr>
            <p:cNvPr id="11" name="Google Shape;11;p4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2" name="Google Shape;12;p4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 name="Google Shape;13;p4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 name="Google Shape;14;p4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 name="Google Shape;15;p4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6" name="Google Shape;16;p4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7" name="Google Shape;17;p4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8" name="Google Shape;18;p4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9" name="Google Shape;19;p4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0" name="Google Shape;20;p4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1" name="Google Shape;21;p4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2" name="Google Shape;22;p4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3" name="Google Shape;23;p4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24" name="Google Shape;24;p45"/>
          <p:cNvPicPr preferRelativeResize="0"/>
          <p:nvPr/>
        </p:nvPicPr>
        <p:blipFill rotWithShape="1">
          <a:blip r:embed="rId28">
            <a:alphaModFix/>
          </a:blip>
          <a:srcRect/>
          <a:stretch/>
        </p:blipFill>
        <p:spPr>
          <a:xfrm rot="-5400000">
            <a:off x="11811887" y="6349041"/>
            <a:ext cx="441438" cy="68706"/>
          </a:xfrm>
          <a:prstGeom prst="rect">
            <a:avLst/>
          </a:prstGeom>
          <a:noFill/>
          <a:ln>
            <a:noFill/>
          </a:ln>
        </p:spPr>
      </p:pic>
      <p:sp>
        <p:nvSpPr>
          <p:cNvPr id="25" name="Google Shape;25;p45"/>
          <p:cNvSpPr txBox="1">
            <a:spLocks noGrp="1"/>
          </p:cNvSpPr>
          <p:nvPr>
            <p:ph type="title"/>
          </p:nvPr>
        </p:nvSpPr>
        <p:spPr>
          <a:xfrm>
            <a:off x="539400" y="560588"/>
            <a:ext cx="11089972" cy="422295"/>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 name="Google Shape;26;p45"/>
          <p:cNvSpPr txBox="1">
            <a:spLocks noGrp="1"/>
          </p:cNvSpPr>
          <p:nvPr>
            <p:ph type="body" idx="1"/>
          </p:nvPr>
        </p:nvSpPr>
        <p:spPr>
          <a:xfrm>
            <a:off x="550862" y="1859913"/>
            <a:ext cx="11089973" cy="1349087"/>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 name="Google Shape;27;p45"/>
          <p:cNvSpPr txBox="1">
            <a:spLocks noGrp="1"/>
          </p:cNvSpPr>
          <p:nvPr>
            <p:ph type="ftr" idx="11"/>
          </p:nvPr>
        </p:nvSpPr>
        <p:spPr>
          <a:xfrm>
            <a:off x="550863" y="6465614"/>
            <a:ext cx="5545138" cy="138499"/>
          </a:xfrm>
          <a:prstGeom prst="rect">
            <a:avLst/>
          </a:prstGeom>
          <a:noFill/>
          <a:ln>
            <a:noFill/>
          </a:ln>
        </p:spPr>
        <p:txBody>
          <a:bodyPr spcFirstLastPara="1" wrap="square" lIns="0" tIns="0" rIns="0" bIns="0" anchor="b" anchorCtr="0">
            <a:spAutoFit/>
          </a:bodyPr>
          <a:lstStyle>
            <a:lvl1pPr marR="0" lvl="0" algn="l" rtl="0">
              <a:lnSpc>
                <a:spcPct val="100000"/>
              </a:lnSpc>
              <a:spcBef>
                <a:spcPts val="0"/>
              </a:spcBef>
              <a:spcAft>
                <a:spcPts val="0"/>
              </a:spcAft>
              <a:buClr>
                <a:srgbClr val="000000"/>
              </a:buClr>
              <a:buSzPts val="1400"/>
              <a:buFont typeface="Arial"/>
              <a:buNone/>
              <a:defRPr sz="1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4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9" name="Google Shape;29;p4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rgbClr val="B4B4B4"/>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cxnSp>
        <p:nvCxnSpPr>
          <p:cNvPr id="30" name="Google Shape;30;p45"/>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45"/>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extLst>
      <p:ext uri="{BB962C8B-B14F-4D97-AF65-F5344CB8AC3E}">
        <p14:creationId xmlns:p14="http://schemas.microsoft.com/office/powerpoint/2010/main" val="1257312155"/>
      </p:ext>
    </p:extLst>
  </p:cSld>
  <p:clrMap bg1="lt1" tx1="dk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6" r:id="rId2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263.xml"/><Relationship Id="rId6" Type="http://schemas.openxmlformats.org/officeDocument/2006/relationships/image" Target="../media/image69.png"/><Relationship Id="rId5" Type="http://schemas.openxmlformats.org/officeDocument/2006/relationships/image" Target="../media/image1.emf"/><Relationship Id="rId4" Type="http://schemas.openxmlformats.org/officeDocument/2006/relationships/oleObject" Target="../embeddings/oleObject146.bin"/></Relationships>
</file>

<file path=ppt/slides/_rels/slide11.xml.rels><?xml version="1.0" encoding="UTF-8" standalone="yes"?>
<Relationships xmlns="http://schemas.openxmlformats.org/package/2006/relationships"><Relationship Id="rId26" Type="http://schemas.openxmlformats.org/officeDocument/2006/relationships/image" Target="../media/image90.png"/><Relationship Id="rId21" Type="http://schemas.openxmlformats.org/officeDocument/2006/relationships/image" Target="../media/image85.png"/><Relationship Id="rId42" Type="http://schemas.openxmlformats.org/officeDocument/2006/relationships/image" Target="../media/image106.png"/><Relationship Id="rId47" Type="http://schemas.openxmlformats.org/officeDocument/2006/relationships/image" Target="../media/image111.png"/><Relationship Id="rId63" Type="http://schemas.openxmlformats.org/officeDocument/2006/relationships/image" Target="../media/image127.png"/><Relationship Id="rId68" Type="http://schemas.openxmlformats.org/officeDocument/2006/relationships/image" Target="../media/image132.png"/><Relationship Id="rId2" Type="http://schemas.openxmlformats.org/officeDocument/2006/relationships/slideLayout" Target="../slideLayouts/slideLayout2.xml"/><Relationship Id="rId16" Type="http://schemas.openxmlformats.org/officeDocument/2006/relationships/image" Target="../media/image80.png"/><Relationship Id="rId29" Type="http://schemas.openxmlformats.org/officeDocument/2006/relationships/image" Target="../media/image93.png"/><Relationship Id="rId11" Type="http://schemas.openxmlformats.org/officeDocument/2006/relationships/image" Target="../media/image75.png"/><Relationship Id="rId24" Type="http://schemas.openxmlformats.org/officeDocument/2006/relationships/image" Target="../media/image88.png"/><Relationship Id="rId32" Type="http://schemas.openxmlformats.org/officeDocument/2006/relationships/image" Target="../media/image96.png"/><Relationship Id="rId37" Type="http://schemas.openxmlformats.org/officeDocument/2006/relationships/image" Target="../media/image101.png"/><Relationship Id="rId40" Type="http://schemas.openxmlformats.org/officeDocument/2006/relationships/image" Target="../media/image104.png"/><Relationship Id="rId45" Type="http://schemas.openxmlformats.org/officeDocument/2006/relationships/image" Target="../media/image109.png"/><Relationship Id="rId53" Type="http://schemas.openxmlformats.org/officeDocument/2006/relationships/image" Target="../media/image117.png"/><Relationship Id="rId58" Type="http://schemas.openxmlformats.org/officeDocument/2006/relationships/image" Target="../media/image122.png"/><Relationship Id="rId66" Type="http://schemas.openxmlformats.org/officeDocument/2006/relationships/image" Target="../media/image130.png"/><Relationship Id="rId74" Type="http://schemas.openxmlformats.org/officeDocument/2006/relationships/image" Target="../media/image138.png"/><Relationship Id="rId5" Type="http://schemas.openxmlformats.org/officeDocument/2006/relationships/image" Target="../media/image1.emf"/><Relationship Id="rId61" Type="http://schemas.openxmlformats.org/officeDocument/2006/relationships/image" Target="../media/image125.png"/><Relationship Id="rId19" Type="http://schemas.openxmlformats.org/officeDocument/2006/relationships/image" Target="../media/image83.png"/><Relationship Id="rId14" Type="http://schemas.openxmlformats.org/officeDocument/2006/relationships/image" Target="../media/image78.png"/><Relationship Id="rId22" Type="http://schemas.openxmlformats.org/officeDocument/2006/relationships/image" Target="../media/image86.png"/><Relationship Id="rId27" Type="http://schemas.openxmlformats.org/officeDocument/2006/relationships/image" Target="../media/image91.png"/><Relationship Id="rId30" Type="http://schemas.openxmlformats.org/officeDocument/2006/relationships/image" Target="../media/image94.png"/><Relationship Id="rId35" Type="http://schemas.openxmlformats.org/officeDocument/2006/relationships/image" Target="../media/image99.png"/><Relationship Id="rId43" Type="http://schemas.openxmlformats.org/officeDocument/2006/relationships/image" Target="../media/image107.png"/><Relationship Id="rId48" Type="http://schemas.openxmlformats.org/officeDocument/2006/relationships/image" Target="../media/image112.png"/><Relationship Id="rId56" Type="http://schemas.openxmlformats.org/officeDocument/2006/relationships/image" Target="../media/image120.png"/><Relationship Id="rId64" Type="http://schemas.openxmlformats.org/officeDocument/2006/relationships/image" Target="../media/image128.png"/><Relationship Id="rId69" Type="http://schemas.openxmlformats.org/officeDocument/2006/relationships/image" Target="../media/image133.png"/><Relationship Id="rId8" Type="http://schemas.openxmlformats.org/officeDocument/2006/relationships/image" Target="../media/image72.png"/><Relationship Id="rId51" Type="http://schemas.openxmlformats.org/officeDocument/2006/relationships/image" Target="../media/image115.png"/><Relationship Id="rId72" Type="http://schemas.openxmlformats.org/officeDocument/2006/relationships/image" Target="../media/image136.png"/><Relationship Id="rId3" Type="http://schemas.openxmlformats.org/officeDocument/2006/relationships/notesSlide" Target="../notesSlides/notesSlide11.xml"/><Relationship Id="rId12" Type="http://schemas.openxmlformats.org/officeDocument/2006/relationships/image" Target="../media/image76.png"/><Relationship Id="rId17" Type="http://schemas.openxmlformats.org/officeDocument/2006/relationships/image" Target="../media/image81.png"/><Relationship Id="rId25" Type="http://schemas.openxmlformats.org/officeDocument/2006/relationships/image" Target="../media/image89.png"/><Relationship Id="rId33" Type="http://schemas.openxmlformats.org/officeDocument/2006/relationships/image" Target="../media/image97.png"/><Relationship Id="rId38" Type="http://schemas.openxmlformats.org/officeDocument/2006/relationships/image" Target="../media/image102.png"/><Relationship Id="rId46" Type="http://schemas.openxmlformats.org/officeDocument/2006/relationships/image" Target="../media/image110.png"/><Relationship Id="rId59" Type="http://schemas.openxmlformats.org/officeDocument/2006/relationships/image" Target="../media/image123.png"/><Relationship Id="rId67" Type="http://schemas.openxmlformats.org/officeDocument/2006/relationships/image" Target="../media/image131.png"/><Relationship Id="rId20" Type="http://schemas.openxmlformats.org/officeDocument/2006/relationships/image" Target="../media/image84.png"/><Relationship Id="rId41" Type="http://schemas.openxmlformats.org/officeDocument/2006/relationships/image" Target="../media/image105.png"/><Relationship Id="rId54" Type="http://schemas.openxmlformats.org/officeDocument/2006/relationships/image" Target="../media/image118.png"/><Relationship Id="rId62" Type="http://schemas.openxmlformats.org/officeDocument/2006/relationships/image" Target="../media/image126.png"/><Relationship Id="rId70" Type="http://schemas.openxmlformats.org/officeDocument/2006/relationships/image" Target="../media/image134.png"/><Relationship Id="rId75" Type="http://schemas.openxmlformats.org/officeDocument/2006/relationships/image" Target="../media/image139.png"/><Relationship Id="rId1" Type="http://schemas.openxmlformats.org/officeDocument/2006/relationships/tags" Target="../tags/tag264.xml"/><Relationship Id="rId6" Type="http://schemas.openxmlformats.org/officeDocument/2006/relationships/image" Target="../media/image70.png"/><Relationship Id="rId15" Type="http://schemas.openxmlformats.org/officeDocument/2006/relationships/image" Target="../media/image79.png"/><Relationship Id="rId23" Type="http://schemas.openxmlformats.org/officeDocument/2006/relationships/image" Target="../media/image87.png"/><Relationship Id="rId28" Type="http://schemas.openxmlformats.org/officeDocument/2006/relationships/image" Target="../media/image92.png"/><Relationship Id="rId36" Type="http://schemas.openxmlformats.org/officeDocument/2006/relationships/image" Target="../media/image100.png"/><Relationship Id="rId49" Type="http://schemas.openxmlformats.org/officeDocument/2006/relationships/image" Target="../media/image113.png"/><Relationship Id="rId57" Type="http://schemas.openxmlformats.org/officeDocument/2006/relationships/image" Target="../media/image121.png"/><Relationship Id="rId10" Type="http://schemas.openxmlformats.org/officeDocument/2006/relationships/image" Target="../media/image74.png"/><Relationship Id="rId31" Type="http://schemas.openxmlformats.org/officeDocument/2006/relationships/image" Target="../media/image95.png"/><Relationship Id="rId44" Type="http://schemas.openxmlformats.org/officeDocument/2006/relationships/image" Target="../media/image108.png"/><Relationship Id="rId52" Type="http://schemas.openxmlformats.org/officeDocument/2006/relationships/image" Target="../media/image116.png"/><Relationship Id="rId60" Type="http://schemas.openxmlformats.org/officeDocument/2006/relationships/image" Target="../media/image124.png"/><Relationship Id="rId65" Type="http://schemas.openxmlformats.org/officeDocument/2006/relationships/image" Target="../media/image129.png"/><Relationship Id="rId73" Type="http://schemas.openxmlformats.org/officeDocument/2006/relationships/image" Target="../media/image137.png"/><Relationship Id="rId4" Type="http://schemas.openxmlformats.org/officeDocument/2006/relationships/oleObject" Target="../embeddings/oleObject147.bin"/><Relationship Id="rId9" Type="http://schemas.openxmlformats.org/officeDocument/2006/relationships/image" Target="../media/image73.png"/><Relationship Id="rId13" Type="http://schemas.openxmlformats.org/officeDocument/2006/relationships/image" Target="../media/image77.png"/><Relationship Id="rId18" Type="http://schemas.openxmlformats.org/officeDocument/2006/relationships/image" Target="../media/image82.png"/><Relationship Id="rId39" Type="http://schemas.openxmlformats.org/officeDocument/2006/relationships/image" Target="../media/image103.png"/><Relationship Id="rId34" Type="http://schemas.openxmlformats.org/officeDocument/2006/relationships/image" Target="../media/image98.png"/><Relationship Id="rId50" Type="http://schemas.openxmlformats.org/officeDocument/2006/relationships/image" Target="../media/image114.png"/><Relationship Id="rId55" Type="http://schemas.openxmlformats.org/officeDocument/2006/relationships/image" Target="../media/image119.png"/><Relationship Id="rId76" Type="http://schemas.openxmlformats.org/officeDocument/2006/relationships/image" Target="../media/image140.png"/><Relationship Id="rId7" Type="http://schemas.openxmlformats.org/officeDocument/2006/relationships/image" Target="../media/image71.png"/><Relationship Id="rId71" Type="http://schemas.openxmlformats.org/officeDocument/2006/relationships/image" Target="../media/image13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265.xml"/><Relationship Id="rId5" Type="http://schemas.openxmlformats.org/officeDocument/2006/relationships/image" Target="../media/image1.emf"/><Relationship Id="rId4" Type="http://schemas.openxmlformats.org/officeDocument/2006/relationships/oleObject" Target="../embeddings/oleObject14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8.xml"/><Relationship Id="rId1" Type="http://schemas.openxmlformats.org/officeDocument/2006/relationships/tags" Target="../tags/tag266.xml"/><Relationship Id="rId6" Type="http://schemas.openxmlformats.org/officeDocument/2006/relationships/image" Target="../media/image141.jpeg"/><Relationship Id="rId5" Type="http://schemas.openxmlformats.org/officeDocument/2006/relationships/image" Target="../media/image18.emf"/><Relationship Id="rId4" Type="http://schemas.openxmlformats.org/officeDocument/2006/relationships/oleObject" Target="../embeddings/oleObject149.bin"/></Relationships>
</file>

<file path=ppt/slides/_rels/slide14.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svg"/><Relationship Id="rId18" Type="http://schemas.openxmlformats.org/officeDocument/2006/relationships/image" Target="../media/image154.png"/><Relationship Id="rId3" Type="http://schemas.openxmlformats.org/officeDocument/2006/relationships/notesSlide" Target="../notesSlides/notesSlide14.xml"/><Relationship Id="rId21" Type="http://schemas.microsoft.com/office/2007/relationships/hdphoto" Target="../media/hdphoto8.wdp"/><Relationship Id="rId7" Type="http://schemas.openxmlformats.org/officeDocument/2006/relationships/image" Target="../media/image143.png"/><Relationship Id="rId12" Type="http://schemas.openxmlformats.org/officeDocument/2006/relationships/image" Target="../media/image148.png"/><Relationship Id="rId17" Type="http://schemas.openxmlformats.org/officeDocument/2006/relationships/image" Target="../media/image153.svg"/><Relationship Id="rId2" Type="http://schemas.openxmlformats.org/officeDocument/2006/relationships/slideLayout" Target="../slideLayouts/slideLayout110.xml"/><Relationship Id="rId16" Type="http://schemas.openxmlformats.org/officeDocument/2006/relationships/image" Target="../media/image152.png"/><Relationship Id="rId20" Type="http://schemas.openxmlformats.org/officeDocument/2006/relationships/image" Target="../media/image156.png"/><Relationship Id="rId1" Type="http://schemas.openxmlformats.org/officeDocument/2006/relationships/tags" Target="../tags/tag267.xml"/><Relationship Id="rId6" Type="http://schemas.openxmlformats.org/officeDocument/2006/relationships/image" Target="../media/image142.png"/><Relationship Id="rId11" Type="http://schemas.openxmlformats.org/officeDocument/2006/relationships/image" Target="../media/image147.svg"/><Relationship Id="rId5" Type="http://schemas.openxmlformats.org/officeDocument/2006/relationships/image" Target="../media/image18.emf"/><Relationship Id="rId15" Type="http://schemas.openxmlformats.org/officeDocument/2006/relationships/image" Target="../media/image151.svg"/><Relationship Id="rId10" Type="http://schemas.openxmlformats.org/officeDocument/2006/relationships/image" Target="../media/image146.png"/><Relationship Id="rId19" Type="http://schemas.openxmlformats.org/officeDocument/2006/relationships/image" Target="../media/image155.svg"/><Relationship Id="rId4" Type="http://schemas.openxmlformats.org/officeDocument/2006/relationships/oleObject" Target="../embeddings/oleObject150.bin"/><Relationship Id="rId9" Type="http://schemas.openxmlformats.org/officeDocument/2006/relationships/image" Target="../media/image145.svg"/><Relationship Id="rId14" Type="http://schemas.openxmlformats.org/officeDocument/2006/relationships/image" Target="../media/image150.png"/></Relationships>
</file>

<file path=ppt/slides/_rels/slide15.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oleObject" Target="../embeddings/oleObject151.bin"/><Relationship Id="rId7" Type="http://schemas.openxmlformats.org/officeDocument/2006/relationships/image" Target="../media/image159.png"/><Relationship Id="rId12" Type="http://schemas.openxmlformats.org/officeDocument/2006/relationships/image" Target="../media/image162.svg"/><Relationship Id="rId2" Type="http://schemas.openxmlformats.org/officeDocument/2006/relationships/slideLayout" Target="../slideLayouts/slideLayout111.xml"/><Relationship Id="rId1" Type="http://schemas.openxmlformats.org/officeDocument/2006/relationships/tags" Target="../tags/tag268.xml"/><Relationship Id="rId6" Type="http://schemas.openxmlformats.org/officeDocument/2006/relationships/image" Target="../media/image158.svg"/><Relationship Id="rId11" Type="http://schemas.openxmlformats.org/officeDocument/2006/relationships/image" Target="../media/image161.png"/><Relationship Id="rId5" Type="http://schemas.openxmlformats.org/officeDocument/2006/relationships/image" Target="../media/image157.png"/><Relationship Id="rId10" Type="http://schemas.openxmlformats.org/officeDocument/2006/relationships/image" Target="../media/image147.svg"/><Relationship Id="rId4" Type="http://schemas.openxmlformats.org/officeDocument/2006/relationships/image" Target="../media/image18.emf"/><Relationship Id="rId9" Type="http://schemas.openxmlformats.org/officeDocument/2006/relationships/image" Target="../media/image146.png"/></Relationships>
</file>

<file path=ppt/slides/_rels/slide16.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oleObject" Target="../embeddings/oleObject152.bin"/><Relationship Id="rId7" Type="http://schemas.openxmlformats.org/officeDocument/2006/relationships/image" Target="../media/image142.png"/><Relationship Id="rId2" Type="http://schemas.openxmlformats.org/officeDocument/2006/relationships/slideLayout" Target="../slideLayouts/slideLayout112.xml"/><Relationship Id="rId1" Type="http://schemas.openxmlformats.org/officeDocument/2006/relationships/tags" Target="../tags/tag269.xml"/><Relationship Id="rId6" Type="http://schemas.microsoft.com/office/2007/relationships/hdphoto" Target="../media/hdphoto8.wdp"/><Relationship Id="rId5" Type="http://schemas.openxmlformats.org/officeDocument/2006/relationships/image" Target="../media/image156.png"/><Relationship Id="rId10" Type="http://schemas.openxmlformats.org/officeDocument/2006/relationships/image" Target="../media/image164.svg"/><Relationship Id="rId4" Type="http://schemas.openxmlformats.org/officeDocument/2006/relationships/image" Target="../media/image18.emf"/><Relationship Id="rId9" Type="http://schemas.openxmlformats.org/officeDocument/2006/relationships/image" Target="../media/image163.png"/></Relationships>
</file>

<file path=ppt/slides/_rels/slide17.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image" Target="../media/image149.svg"/><Relationship Id="rId3" Type="http://schemas.openxmlformats.org/officeDocument/2006/relationships/oleObject" Target="../embeddings/oleObject153.bin"/><Relationship Id="rId7" Type="http://schemas.microsoft.com/office/2007/relationships/hdphoto" Target="../media/hdphoto9.wdp"/><Relationship Id="rId12" Type="http://schemas.openxmlformats.org/officeDocument/2006/relationships/image" Target="../media/image148.png"/><Relationship Id="rId2" Type="http://schemas.openxmlformats.org/officeDocument/2006/relationships/slideLayout" Target="../slideLayouts/slideLayout113.xml"/><Relationship Id="rId1" Type="http://schemas.openxmlformats.org/officeDocument/2006/relationships/tags" Target="../tags/tag270.xml"/><Relationship Id="rId6" Type="http://schemas.openxmlformats.org/officeDocument/2006/relationships/image" Target="../media/image166.png"/><Relationship Id="rId11" Type="http://schemas.microsoft.com/office/2007/relationships/hdphoto" Target="../media/hdphoto10.wdp"/><Relationship Id="rId5" Type="http://schemas.openxmlformats.org/officeDocument/2006/relationships/image" Target="../media/image165.emf"/><Relationship Id="rId10" Type="http://schemas.openxmlformats.org/officeDocument/2006/relationships/image" Target="../media/image169.png"/><Relationship Id="rId4" Type="http://schemas.openxmlformats.org/officeDocument/2006/relationships/image" Target="../media/image18.emf"/><Relationship Id="rId9" Type="http://schemas.openxmlformats.org/officeDocument/2006/relationships/image" Target="../media/image168.svg"/></Relationships>
</file>

<file path=ppt/slides/_rels/slide18.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73.svg"/><Relationship Id="rId3" Type="http://schemas.openxmlformats.org/officeDocument/2006/relationships/notesSlide" Target="../notesSlides/notesSlide15.xml"/><Relationship Id="rId7" Type="http://schemas.microsoft.com/office/2007/relationships/hdphoto" Target="../media/hdphoto8.wdp"/><Relationship Id="rId12" Type="http://schemas.openxmlformats.org/officeDocument/2006/relationships/image" Target="../media/image172.png"/><Relationship Id="rId2" Type="http://schemas.openxmlformats.org/officeDocument/2006/relationships/slideLayout" Target="../slideLayouts/slideLayout69.xml"/><Relationship Id="rId1" Type="http://schemas.openxmlformats.org/officeDocument/2006/relationships/tags" Target="../tags/tag271.xml"/><Relationship Id="rId6" Type="http://schemas.openxmlformats.org/officeDocument/2006/relationships/image" Target="../media/image156.png"/><Relationship Id="rId11" Type="http://schemas.openxmlformats.org/officeDocument/2006/relationships/image" Target="../media/image171.svg"/><Relationship Id="rId5" Type="http://schemas.openxmlformats.org/officeDocument/2006/relationships/image" Target="../media/image18.emf"/><Relationship Id="rId10" Type="http://schemas.openxmlformats.org/officeDocument/2006/relationships/image" Target="../media/image170.png"/><Relationship Id="rId4" Type="http://schemas.openxmlformats.org/officeDocument/2006/relationships/oleObject" Target="../embeddings/oleObject154.bin"/><Relationship Id="rId9" Type="http://schemas.openxmlformats.org/officeDocument/2006/relationships/image" Target="../media/image143.png"/></Relationships>
</file>

<file path=ppt/slides/_rels/slide19.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oleObject" Target="../embeddings/oleObject155.bin"/><Relationship Id="rId7" Type="http://schemas.openxmlformats.org/officeDocument/2006/relationships/image" Target="../media/image176.png"/><Relationship Id="rId2" Type="http://schemas.openxmlformats.org/officeDocument/2006/relationships/slideLayout" Target="../slideLayouts/slideLayout18.xml"/><Relationship Id="rId1" Type="http://schemas.openxmlformats.org/officeDocument/2006/relationships/tags" Target="../tags/tag272.xml"/><Relationship Id="rId6" Type="http://schemas.openxmlformats.org/officeDocument/2006/relationships/image" Target="../media/image175.svg"/><Relationship Id="rId11" Type="http://schemas.openxmlformats.org/officeDocument/2006/relationships/image" Target="../media/image179.svg"/><Relationship Id="rId5" Type="http://schemas.openxmlformats.org/officeDocument/2006/relationships/image" Target="../media/image174.png"/><Relationship Id="rId10" Type="http://schemas.openxmlformats.org/officeDocument/2006/relationships/image" Target="../media/image161.png"/><Relationship Id="rId4" Type="http://schemas.openxmlformats.org/officeDocument/2006/relationships/image" Target="../media/image18.emf"/><Relationship Id="rId9" Type="http://schemas.openxmlformats.org/officeDocument/2006/relationships/image" Target="../media/image178.png"/></Relationships>
</file>

<file path=ppt/slides/_rels/slide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67.png"/><Relationship Id="rId18" Type="http://schemas.openxmlformats.org/officeDocument/2006/relationships/image" Target="../media/image183.svg"/><Relationship Id="rId3" Type="http://schemas.openxmlformats.org/officeDocument/2006/relationships/oleObject" Target="../embeddings/oleObject156.bin"/><Relationship Id="rId7" Type="http://schemas.openxmlformats.org/officeDocument/2006/relationships/image" Target="../media/image142.png"/><Relationship Id="rId12" Type="http://schemas.openxmlformats.org/officeDocument/2006/relationships/image" Target="../media/image147.svg"/><Relationship Id="rId17" Type="http://schemas.openxmlformats.org/officeDocument/2006/relationships/image" Target="../media/image182.png"/><Relationship Id="rId2" Type="http://schemas.openxmlformats.org/officeDocument/2006/relationships/slideLayout" Target="../slideLayouts/slideLayout122.xml"/><Relationship Id="rId16" Type="http://schemas.openxmlformats.org/officeDocument/2006/relationships/image" Target="../media/image181.svg"/><Relationship Id="rId1" Type="http://schemas.openxmlformats.org/officeDocument/2006/relationships/tags" Target="../tags/tag273.xml"/><Relationship Id="rId6" Type="http://schemas.microsoft.com/office/2007/relationships/hdphoto" Target="../media/hdphoto8.wdp"/><Relationship Id="rId11" Type="http://schemas.openxmlformats.org/officeDocument/2006/relationships/image" Target="../media/image146.png"/><Relationship Id="rId5" Type="http://schemas.openxmlformats.org/officeDocument/2006/relationships/image" Target="../media/image156.png"/><Relationship Id="rId15" Type="http://schemas.openxmlformats.org/officeDocument/2006/relationships/image" Target="../media/image180.png"/><Relationship Id="rId10" Type="http://schemas.openxmlformats.org/officeDocument/2006/relationships/image" Target="../media/image149.svg"/><Relationship Id="rId4" Type="http://schemas.openxmlformats.org/officeDocument/2006/relationships/image" Target="../media/image18.emf"/><Relationship Id="rId9" Type="http://schemas.openxmlformats.org/officeDocument/2006/relationships/image" Target="../media/image148.png"/><Relationship Id="rId14" Type="http://schemas.openxmlformats.org/officeDocument/2006/relationships/image" Target="../media/image168.sv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57.bin"/><Relationship Id="rId7" Type="http://schemas.openxmlformats.org/officeDocument/2006/relationships/image" Target="../media/image181.svg"/><Relationship Id="rId2" Type="http://schemas.openxmlformats.org/officeDocument/2006/relationships/slideLayout" Target="../slideLayouts/slideLayout18.xml"/><Relationship Id="rId1" Type="http://schemas.openxmlformats.org/officeDocument/2006/relationships/tags" Target="../tags/tag274.xml"/><Relationship Id="rId6" Type="http://schemas.openxmlformats.org/officeDocument/2006/relationships/image" Target="../media/image180.png"/><Relationship Id="rId5" Type="http://schemas.openxmlformats.org/officeDocument/2006/relationships/image" Target="../media/image184.png"/><Relationship Id="rId4" Type="http://schemas.openxmlformats.org/officeDocument/2006/relationships/image" Target="../media/image1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58.bin"/><Relationship Id="rId7" Type="http://schemas.openxmlformats.org/officeDocument/2006/relationships/image" Target="../media/image183.svg"/><Relationship Id="rId2" Type="http://schemas.openxmlformats.org/officeDocument/2006/relationships/slideLayout" Target="../slideLayouts/slideLayout18.xml"/><Relationship Id="rId1" Type="http://schemas.openxmlformats.org/officeDocument/2006/relationships/tags" Target="../tags/tag275.xml"/><Relationship Id="rId6" Type="http://schemas.openxmlformats.org/officeDocument/2006/relationships/image" Target="../media/image182.png"/><Relationship Id="rId5" Type="http://schemas.openxmlformats.org/officeDocument/2006/relationships/image" Target="../media/image185.png"/><Relationship Id="rId4" Type="http://schemas.openxmlformats.org/officeDocument/2006/relationships/image" Target="../media/image18.emf"/></Relationships>
</file>

<file path=ppt/slides/_rels/slide23.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oleObject" Target="../embeddings/oleObject159.bin"/><Relationship Id="rId7" Type="http://schemas.openxmlformats.org/officeDocument/2006/relationships/image" Target="../media/image142.png"/><Relationship Id="rId2" Type="http://schemas.openxmlformats.org/officeDocument/2006/relationships/slideLayout" Target="../slideLayouts/slideLayout60.xml"/><Relationship Id="rId1" Type="http://schemas.openxmlformats.org/officeDocument/2006/relationships/tags" Target="../tags/tag276.xml"/><Relationship Id="rId6" Type="http://schemas.microsoft.com/office/2007/relationships/hdphoto" Target="../media/hdphoto8.wdp"/><Relationship Id="rId5" Type="http://schemas.openxmlformats.org/officeDocument/2006/relationships/image" Target="../media/image156.png"/><Relationship Id="rId4" Type="http://schemas.openxmlformats.org/officeDocument/2006/relationships/image" Target="../media/image1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0.bin"/><Relationship Id="rId7" Type="http://schemas.openxmlformats.org/officeDocument/2006/relationships/image" Target="../media/image188.svg"/><Relationship Id="rId2" Type="http://schemas.openxmlformats.org/officeDocument/2006/relationships/slideLayout" Target="../slideLayouts/slideLayout61.xml"/><Relationship Id="rId1" Type="http://schemas.openxmlformats.org/officeDocument/2006/relationships/tags" Target="../tags/tag277.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slideLayout" Target="../slideLayouts/slideLayout194.xml"/><Relationship Id="rId7" Type="http://schemas.openxmlformats.org/officeDocument/2006/relationships/image" Target="../media/image190.pn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189.png"/><Relationship Id="rId5" Type="http://schemas.openxmlformats.org/officeDocument/2006/relationships/image" Target="../media/image11.emf"/><Relationship Id="rId4" Type="http://schemas.openxmlformats.org/officeDocument/2006/relationships/oleObject" Target="../embeddings/oleObject161.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57.x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140.bin"/></Relationships>
</file>

<file path=ppt/slides/_rels/slide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4.xml"/><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slideLayout" Target="../slideLayouts/slideLayout175.xml"/><Relationship Id="rId1" Type="http://schemas.openxmlformats.org/officeDocument/2006/relationships/tags" Target="../tags/tag258.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emf"/><Relationship Id="rId10" Type="http://schemas.openxmlformats.org/officeDocument/2006/relationships/image" Target="../media/image55.png"/><Relationship Id="rId4" Type="http://schemas.openxmlformats.org/officeDocument/2006/relationships/oleObject" Target="../embeddings/oleObject141.bin"/><Relationship Id="rId9" Type="http://schemas.openxmlformats.org/officeDocument/2006/relationships/image" Target="../media/image54.png"/></Relationships>
</file>

<file path=ppt/slides/_rels/slide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5.xml"/><Relationship Id="rId7" Type="http://schemas.openxmlformats.org/officeDocument/2006/relationships/image" Target="../media/image60.png"/><Relationship Id="rId2" Type="http://schemas.openxmlformats.org/officeDocument/2006/relationships/slideLayout" Target="../slideLayouts/slideLayout176.xml"/><Relationship Id="rId1" Type="http://schemas.openxmlformats.org/officeDocument/2006/relationships/tags" Target="../tags/tag259.xml"/><Relationship Id="rId6" Type="http://schemas.openxmlformats.org/officeDocument/2006/relationships/image" Target="../media/image59.png"/><Relationship Id="rId11" Type="http://schemas.openxmlformats.org/officeDocument/2006/relationships/image" Target="../media/image64.svg"/><Relationship Id="rId5" Type="http://schemas.openxmlformats.org/officeDocument/2006/relationships/image" Target="../media/image58.emf"/><Relationship Id="rId10" Type="http://schemas.openxmlformats.org/officeDocument/2006/relationships/image" Target="../media/image63.png"/><Relationship Id="rId4" Type="http://schemas.openxmlformats.org/officeDocument/2006/relationships/oleObject" Target="../embeddings/oleObject142.bin"/><Relationship Id="rId9" Type="http://schemas.openxmlformats.org/officeDocument/2006/relationships/image" Target="../media/image62.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260.x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143.bin"/></Relationships>
</file>

<file path=ppt/slides/_rels/slide8.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8.xml"/><Relationship Id="rId7" Type="http://schemas.openxmlformats.org/officeDocument/2006/relationships/image" Target="../media/image67.png"/><Relationship Id="rId2" Type="http://schemas.openxmlformats.org/officeDocument/2006/relationships/slideLayout" Target="../slideLayouts/slideLayout176.xml"/><Relationship Id="rId1" Type="http://schemas.openxmlformats.org/officeDocument/2006/relationships/tags" Target="../tags/tag261.xml"/><Relationship Id="rId6" Type="http://schemas.openxmlformats.org/officeDocument/2006/relationships/image" Target="../media/image66.png"/><Relationship Id="rId5" Type="http://schemas.openxmlformats.org/officeDocument/2006/relationships/image" Target="../media/image18.emf"/><Relationship Id="rId4" Type="http://schemas.openxmlformats.org/officeDocument/2006/relationships/oleObject" Target="../embeddings/oleObject144.bin"/><Relationship Id="rId9" Type="http://schemas.openxmlformats.org/officeDocument/2006/relationships/image" Target="../media/image69.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62.xml"/><Relationship Id="rId6" Type="http://schemas.openxmlformats.org/officeDocument/2006/relationships/image" Target="../media/image69.png"/><Relationship Id="rId5" Type="http://schemas.openxmlformats.org/officeDocument/2006/relationships/image" Target="../media/image1.emf"/><Relationship Id="rId4" Type="http://schemas.openxmlformats.org/officeDocument/2006/relationships/oleObject" Target="../embeddings/oleObject14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14"/>
        <p:cNvGrpSpPr/>
        <p:nvPr/>
      </p:nvGrpSpPr>
      <p:grpSpPr>
        <a:xfrm>
          <a:off x="0" y="0"/>
          <a:ext cx="0" cy="0"/>
          <a:chOff x="0" y="0"/>
          <a:chExt cx="0" cy="0"/>
        </a:xfrm>
      </p:grpSpPr>
      <p:sp>
        <p:nvSpPr>
          <p:cNvPr id="215" name="Google Shape;215;p1"/>
          <p:cNvSpPr txBox="1">
            <a:spLocks noGrp="1"/>
          </p:cNvSpPr>
          <p:nvPr>
            <p:ph type="ctrTitle"/>
          </p:nvPr>
        </p:nvSpPr>
        <p:spPr>
          <a:xfrm>
            <a:off x="902896" y="2912797"/>
            <a:ext cx="5337943" cy="1384995"/>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SzPts val="5000"/>
              <a:buNone/>
            </a:pPr>
            <a:r>
              <a:rPr lang="en-US" dirty="0">
                <a:latin typeface="Calibri"/>
                <a:ea typeface="Calibri"/>
                <a:cs typeface="Calibri"/>
                <a:sym typeface="Calibri"/>
              </a:rPr>
              <a:t>Infomineo  presentation</a:t>
            </a:r>
            <a:endParaRPr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24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E6C024-F36B-9E82-84C1-FB55E7F99D12}"/>
              </a:ext>
            </a:extLst>
          </p:cNvPr>
          <p:cNvGraphicFramePr>
            <a:graphicFrameLocks noChangeAspect="1"/>
          </p:cNvGraphicFramePr>
          <p:nvPr>
            <p:custDataLst>
              <p:tags r:id="rId1"/>
            </p:custDataLst>
            <p:extLst>
              <p:ext uri="{D42A27DB-BD31-4B8C-83A1-F6EECF244321}">
                <p14:modId xmlns:p14="http://schemas.microsoft.com/office/powerpoint/2010/main" val="1760633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46" name="Google Shape;1246;p148"/>
          <p:cNvSpPr txBox="1">
            <a:spLocks noGrp="1"/>
          </p:cNvSpPr>
          <p:nvPr>
            <p:ph type="title"/>
          </p:nvPr>
        </p:nvSpPr>
        <p:spPr>
          <a:xfrm>
            <a:off x="539400" y="560588"/>
            <a:ext cx="11089972" cy="461665"/>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None/>
            </a:pPr>
            <a:r>
              <a:rPr lang="en-US" sz="3000" dirty="0">
                <a:latin typeface="Franklin Gothic" panose="020B0604020202020204" charset="0"/>
              </a:rPr>
              <a:t>Our Data Analytics service can handle all steps of a Use Case</a:t>
            </a:r>
            <a:endParaRPr sz="3000" dirty="0">
              <a:latin typeface="Franklin Gothic" panose="020B0604020202020204" charset="0"/>
            </a:endParaRPr>
          </a:p>
        </p:txBody>
      </p:sp>
      <p:sp>
        <p:nvSpPr>
          <p:cNvPr id="1247" name="Google Shape;1247;p14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10</a:t>
            </a:fld>
            <a:endParaRPr/>
          </a:p>
        </p:txBody>
      </p:sp>
      <p:sp>
        <p:nvSpPr>
          <p:cNvPr id="1248" name="Google Shape;1248;p148"/>
          <p:cNvSpPr/>
          <p:nvPr/>
        </p:nvSpPr>
        <p:spPr>
          <a:xfrm>
            <a:off x="7446595" y="2430146"/>
            <a:ext cx="2552965" cy="417012"/>
          </a:xfrm>
          <a:prstGeom prst="rect">
            <a:avLst/>
          </a:prstGeom>
          <a:solidFill>
            <a:srgbClr val="F2F2F2"/>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400" b="1" i="0" u="none" strike="noStrike" cap="none">
                <a:solidFill>
                  <a:srgbClr val="4365A9"/>
                </a:solidFill>
                <a:latin typeface="Calibri"/>
                <a:ea typeface="Calibri"/>
                <a:cs typeface="Calibri"/>
                <a:sym typeface="Calibri"/>
              </a:rPr>
              <a:t>Modeling</a:t>
            </a:r>
            <a:endParaRPr sz="1400" b="1" i="0" u="none" strike="noStrike" cap="none">
              <a:solidFill>
                <a:srgbClr val="4365A9"/>
              </a:solidFill>
              <a:latin typeface="Calibri"/>
              <a:ea typeface="Calibri"/>
              <a:cs typeface="Calibri"/>
              <a:sym typeface="Calibri"/>
            </a:endParaRPr>
          </a:p>
        </p:txBody>
      </p:sp>
      <p:sp>
        <p:nvSpPr>
          <p:cNvPr id="1249" name="Google Shape;1249;p148"/>
          <p:cNvSpPr/>
          <p:nvPr/>
        </p:nvSpPr>
        <p:spPr>
          <a:xfrm>
            <a:off x="10166332" y="2430146"/>
            <a:ext cx="1463040" cy="417012"/>
          </a:xfrm>
          <a:prstGeom prst="rect">
            <a:avLst/>
          </a:prstGeom>
          <a:solidFill>
            <a:srgbClr val="F2F2F2"/>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400" b="1" i="0" u="none" strike="noStrike" cap="none">
                <a:solidFill>
                  <a:schemeClr val="dk2"/>
                </a:solidFill>
                <a:latin typeface="Calibri"/>
                <a:ea typeface="Calibri"/>
                <a:cs typeface="Calibri"/>
                <a:sym typeface="Calibri"/>
              </a:rPr>
              <a:t>Delivery</a:t>
            </a:r>
            <a:endParaRPr sz="1400" b="1" i="0" u="none" strike="noStrike" cap="none">
              <a:solidFill>
                <a:schemeClr val="dk2"/>
              </a:solidFill>
              <a:latin typeface="Calibri"/>
              <a:ea typeface="Calibri"/>
              <a:cs typeface="Calibri"/>
              <a:sym typeface="Calibri"/>
            </a:endParaRPr>
          </a:p>
        </p:txBody>
      </p:sp>
      <p:sp>
        <p:nvSpPr>
          <p:cNvPr id="1250" name="Google Shape;1250;p148"/>
          <p:cNvSpPr/>
          <p:nvPr/>
        </p:nvSpPr>
        <p:spPr>
          <a:xfrm>
            <a:off x="1938601" y="2430146"/>
            <a:ext cx="1193098" cy="417012"/>
          </a:xfrm>
          <a:prstGeom prst="rect">
            <a:avLst/>
          </a:prstGeom>
          <a:solidFill>
            <a:srgbClr val="F2F2F2"/>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400" b="1" i="0" u="none" strike="noStrike" cap="none">
                <a:solidFill>
                  <a:schemeClr val="accent1"/>
                </a:solidFill>
                <a:latin typeface="Calibri"/>
                <a:ea typeface="Calibri"/>
                <a:cs typeface="Calibri"/>
                <a:sym typeface="Calibri"/>
              </a:rPr>
              <a:t>Integration</a:t>
            </a:r>
            <a:endParaRPr sz="1400" b="1" i="0" u="none" strike="noStrike" cap="none">
              <a:solidFill>
                <a:schemeClr val="accent1"/>
              </a:solidFill>
              <a:latin typeface="Calibri"/>
              <a:ea typeface="Calibri"/>
              <a:cs typeface="Calibri"/>
              <a:sym typeface="Calibri"/>
            </a:endParaRPr>
          </a:p>
        </p:txBody>
      </p:sp>
      <p:sp>
        <p:nvSpPr>
          <p:cNvPr id="1251" name="Google Shape;1251;p148"/>
          <p:cNvSpPr/>
          <p:nvPr/>
        </p:nvSpPr>
        <p:spPr>
          <a:xfrm>
            <a:off x="1938601" y="3011849"/>
            <a:ext cx="1193098" cy="5943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Batch Data Integration</a:t>
            </a:r>
            <a:endParaRPr sz="1200" b="0" i="0" u="none" strike="noStrike" cap="none">
              <a:solidFill>
                <a:schemeClr val="dk1"/>
              </a:solidFill>
              <a:latin typeface="Calibri"/>
              <a:ea typeface="Calibri"/>
              <a:cs typeface="Calibri"/>
              <a:sym typeface="Calibri"/>
            </a:endParaRPr>
          </a:p>
        </p:txBody>
      </p:sp>
      <p:sp>
        <p:nvSpPr>
          <p:cNvPr id="1252" name="Google Shape;1252;p148"/>
          <p:cNvSpPr/>
          <p:nvPr/>
        </p:nvSpPr>
        <p:spPr>
          <a:xfrm>
            <a:off x="1938601" y="3688559"/>
            <a:ext cx="1193098" cy="5943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tream Ingestion Real time</a:t>
            </a:r>
            <a:endParaRPr sz="1200" b="0" i="0" u="none" strike="noStrike" cap="none">
              <a:solidFill>
                <a:schemeClr val="dk1"/>
              </a:solidFill>
              <a:latin typeface="Calibri"/>
              <a:ea typeface="Calibri"/>
              <a:cs typeface="Calibri"/>
              <a:sym typeface="Calibri"/>
            </a:endParaRPr>
          </a:p>
        </p:txBody>
      </p:sp>
      <p:sp>
        <p:nvSpPr>
          <p:cNvPr id="1253" name="Google Shape;1253;p148"/>
          <p:cNvSpPr/>
          <p:nvPr/>
        </p:nvSpPr>
        <p:spPr>
          <a:xfrm>
            <a:off x="1938601" y="4365269"/>
            <a:ext cx="1193098" cy="5943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Message Broker</a:t>
            </a:r>
            <a:endParaRPr sz="1200" b="0" i="0" u="none" strike="noStrike" cap="none">
              <a:solidFill>
                <a:schemeClr val="dk1"/>
              </a:solidFill>
              <a:latin typeface="Calibri"/>
              <a:ea typeface="Calibri"/>
              <a:cs typeface="Calibri"/>
              <a:sym typeface="Calibri"/>
            </a:endParaRPr>
          </a:p>
        </p:txBody>
      </p:sp>
      <p:sp>
        <p:nvSpPr>
          <p:cNvPr id="1254" name="Google Shape;1254;p148"/>
          <p:cNvSpPr/>
          <p:nvPr/>
        </p:nvSpPr>
        <p:spPr>
          <a:xfrm>
            <a:off x="578734" y="2430146"/>
            <a:ext cx="1193098" cy="417012"/>
          </a:xfrm>
          <a:prstGeom prst="rect">
            <a:avLst/>
          </a:prstGeom>
          <a:solidFill>
            <a:srgbClr val="F2F2F2"/>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400" b="1" i="0" u="none" strike="noStrike" cap="none">
                <a:solidFill>
                  <a:schemeClr val="accent1"/>
                </a:solidFill>
                <a:latin typeface="Calibri"/>
                <a:ea typeface="Calibri"/>
                <a:cs typeface="Calibri"/>
                <a:sym typeface="Calibri"/>
              </a:rPr>
              <a:t>Data Sources</a:t>
            </a:r>
            <a:endParaRPr sz="1400" b="1" i="0" u="none" strike="noStrike" cap="none">
              <a:solidFill>
                <a:schemeClr val="accent1"/>
              </a:solidFill>
              <a:latin typeface="Calibri"/>
              <a:ea typeface="Calibri"/>
              <a:cs typeface="Calibri"/>
              <a:sym typeface="Calibri"/>
            </a:endParaRPr>
          </a:p>
        </p:txBody>
      </p:sp>
      <p:sp>
        <p:nvSpPr>
          <p:cNvPr id="1255" name="Google Shape;1255;p148"/>
          <p:cNvSpPr/>
          <p:nvPr/>
        </p:nvSpPr>
        <p:spPr>
          <a:xfrm>
            <a:off x="578734" y="3011849"/>
            <a:ext cx="1193098" cy="590036"/>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ERP</a:t>
            </a:r>
            <a:endParaRPr sz="1200" b="0" i="0" u="none" strike="noStrike" cap="none">
              <a:solidFill>
                <a:schemeClr val="dk1"/>
              </a:solidFill>
              <a:latin typeface="Calibri"/>
              <a:ea typeface="Calibri"/>
              <a:cs typeface="Calibri"/>
              <a:sym typeface="Calibri"/>
            </a:endParaRPr>
          </a:p>
        </p:txBody>
      </p:sp>
      <p:sp>
        <p:nvSpPr>
          <p:cNvPr id="1256" name="Google Shape;1256;p148"/>
          <p:cNvSpPr/>
          <p:nvPr/>
        </p:nvSpPr>
        <p:spPr>
          <a:xfrm>
            <a:off x="578734" y="4365269"/>
            <a:ext cx="1193098" cy="590036"/>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atabases</a:t>
            </a:r>
            <a:endParaRPr sz="1200" b="0" i="0" u="none" strike="noStrike" cap="none">
              <a:solidFill>
                <a:schemeClr val="dk1"/>
              </a:solidFill>
              <a:latin typeface="Calibri"/>
              <a:ea typeface="Calibri"/>
              <a:cs typeface="Calibri"/>
              <a:sym typeface="Calibri"/>
            </a:endParaRPr>
          </a:p>
        </p:txBody>
      </p:sp>
      <p:sp>
        <p:nvSpPr>
          <p:cNvPr id="1257" name="Google Shape;1257;p148"/>
          <p:cNvSpPr/>
          <p:nvPr/>
        </p:nvSpPr>
        <p:spPr>
          <a:xfrm>
            <a:off x="578734" y="5041979"/>
            <a:ext cx="1193098" cy="590036"/>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External Sources</a:t>
            </a:r>
            <a:endParaRPr sz="1200" b="0" i="0" u="none" strike="noStrike" cap="none">
              <a:solidFill>
                <a:schemeClr val="dk1"/>
              </a:solidFill>
              <a:latin typeface="Calibri"/>
              <a:ea typeface="Calibri"/>
              <a:cs typeface="Calibri"/>
              <a:sym typeface="Calibri"/>
            </a:endParaRPr>
          </a:p>
        </p:txBody>
      </p:sp>
      <p:sp>
        <p:nvSpPr>
          <p:cNvPr id="1258" name="Google Shape;1258;p148"/>
          <p:cNvSpPr/>
          <p:nvPr/>
        </p:nvSpPr>
        <p:spPr>
          <a:xfrm>
            <a:off x="578734" y="3688559"/>
            <a:ext cx="1193098" cy="590036"/>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CRM</a:t>
            </a:r>
            <a:endParaRPr sz="1200" b="0" i="0" u="none" strike="noStrike" cap="none">
              <a:solidFill>
                <a:schemeClr val="dk1"/>
              </a:solidFill>
              <a:latin typeface="Calibri"/>
              <a:ea typeface="Calibri"/>
              <a:cs typeface="Calibri"/>
              <a:sym typeface="Calibri"/>
            </a:endParaRPr>
          </a:p>
        </p:txBody>
      </p:sp>
      <p:sp>
        <p:nvSpPr>
          <p:cNvPr id="1259" name="Google Shape;1259;p148"/>
          <p:cNvSpPr/>
          <p:nvPr/>
        </p:nvSpPr>
        <p:spPr>
          <a:xfrm>
            <a:off x="578734" y="5718689"/>
            <a:ext cx="1193098" cy="590036"/>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Files</a:t>
            </a:r>
            <a:endParaRPr sz="1200" b="0" i="0" u="none" strike="noStrike" cap="none">
              <a:solidFill>
                <a:schemeClr val="dk1"/>
              </a:solidFill>
              <a:latin typeface="Calibri"/>
              <a:ea typeface="Calibri"/>
              <a:cs typeface="Calibri"/>
              <a:sym typeface="Calibri"/>
            </a:endParaRPr>
          </a:p>
        </p:txBody>
      </p:sp>
      <p:sp>
        <p:nvSpPr>
          <p:cNvPr id="1260" name="Google Shape;1260;p148"/>
          <p:cNvSpPr/>
          <p:nvPr/>
        </p:nvSpPr>
        <p:spPr>
          <a:xfrm>
            <a:off x="7446595" y="4511336"/>
            <a:ext cx="1193098" cy="426959"/>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Machine Learning</a:t>
            </a:r>
            <a:endParaRPr sz="1200" b="0" i="0" u="none" strike="noStrike" cap="none">
              <a:solidFill>
                <a:schemeClr val="dk1"/>
              </a:solidFill>
              <a:latin typeface="Calibri"/>
              <a:ea typeface="Calibri"/>
              <a:cs typeface="Calibri"/>
              <a:sym typeface="Calibri"/>
            </a:endParaRPr>
          </a:p>
        </p:txBody>
      </p:sp>
      <p:sp>
        <p:nvSpPr>
          <p:cNvPr id="1261" name="Google Shape;1261;p148"/>
          <p:cNvSpPr/>
          <p:nvPr/>
        </p:nvSpPr>
        <p:spPr>
          <a:xfrm>
            <a:off x="7446595" y="5013031"/>
            <a:ext cx="1193098" cy="305204"/>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eep Learning</a:t>
            </a:r>
            <a:endParaRPr sz="1200" b="0" i="0" u="none" strike="noStrike" cap="none">
              <a:solidFill>
                <a:schemeClr val="dk1"/>
              </a:solidFill>
              <a:latin typeface="Calibri"/>
              <a:ea typeface="Calibri"/>
              <a:cs typeface="Calibri"/>
              <a:sym typeface="Calibri"/>
            </a:endParaRPr>
          </a:p>
        </p:txBody>
      </p:sp>
      <p:sp>
        <p:nvSpPr>
          <p:cNvPr id="1262" name="Google Shape;1262;p148"/>
          <p:cNvSpPr/>
          <p:nvPr/>
        </p:nvSpPr>
        <p:spPr>
          <a:xfrm>
            <a:off x="7446595" y="4009641"/>
            <a:ext cx="1193098" cy="426959"/>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imulation and Optimization</a:t>
            </a:r>
            <a:endParaRPr sz="1200" b="0" i="0" u="none" strike="noStrike" cap="none">
              <a:solidFill>
                <a:schemeClr val="dk1"/>
              </a:solidFill>
              <a:latin typeface="Calibri"/>
              <a:ea typeface="Calibri"/>
              <a:cs typeface="Calibri"/>
              <a:sym typeface="Calibri"/>
            </a:endParaRPr>
          </a:p>
        </p:txBody>
      </p:sp>
      <p:sp>
        <p:nvSpPr>
          <p:cNvPr id="1263" name="Google Shape;1263;p148"/>
          <p:cNvSpPr/>
          <p:nvPr/>
        </p:nvSpPr>
        <p:spPr>
          <a:xfrm>
            <a:off x="7436326" y="5772912"/>
            <a:ext cx="1193098" cy="535813"/>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Geospatial and</a:t>
            </a:r>
            <a:endParaRPr sz="12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Location Analytics</a:t>
            </a:r>
            <a:endParaRPr sz="1200" b="0" i="0" u="none" strike="noStrike" cap="none">
              <a:solidFill>
                <a:schemeClr val="dk1"/>
              </a:solidFill>
              <a:latin typeface="Calibri"/>
              <a:ea typeface="Calibri"/>
              <a:cs typeface="Calibri"/>
              <a:sym typeface="Calibri"/>
            </a:endParaRPr>
          </a:p>
        </p:txBody>
      </p:sp>
      <p:sp>
        <p:nvSpPr>
          <p:cNvPr id="1264" name="Google Shape;1264;p148"/>
          <p:cNvSpPr/>
          <p:nvPr/>
        </p:nvSpPr>
        <p:spPr>
          <a:xfrm>
            <a:off x="7446595" y="3507946"/>
            <a:ext cx="1193098" cy="426959"/>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Predictive Analytics</a:t>
            </a:r>
            <a:endParaRPr sz="1200" b="0" i="0" u="none" strike="noStrike" cap="none">
              <a:solidFill>
                <a:schemeClr val="dk1"/>
              </a:solidFill>
              <a:latin typeface="Calibri"/>
              <a:ea typeface="Calibri"/>
              <a:cs typeface="Calibri"/>
              <a:sym typeface="Calibri"/>
            </a:endParaRPr>
          </a:p>
        </p:txBody>
      </p:sp>
      <p:sp>
        <p:nvSpPr>
          <p:cNvPr id="1265" name="Google Shape;1265;p148"/>
          <p:cNvSpPr/>
          <p:nvPr/>
        </p:nvSpPr>
        <p:spPr>
          <a:xfrm>
            <a:off x="7446595" y="5392971"/>
            <a:ext cx="1193098" cy="305204"/>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Graph Analytics</a:t>
            </a:r>
            <a:endParaRPr sz="1200" b="0" i="0" u="none" strike="noStrike" cap="none">
              <a:solidFill>
                <a:schemeClr val="dk1"/>
              </a:solidFill>
              <a:latin typeface="Calibri"/>
              <a:ea typeface="Calibri"/>
              <a:cs typeface="Calibri"/>
              <a:sym typeface="Calibri"/>
            </a:endParaRPr>
          </a:p>
        </p:txBody>
      </p:sp>
      <p:sp>
        <p:nvSpPr>
          <p:cNvPr id="1266" name="Google Shape;1266;p148"/>
          <p:cNvSpPr/>
          <p:nvPr/>
        </p:nvSpPr>
        <p:spPr>
          <a:xfrm>
            <a:off x="7446595" y="3006251"/>
            <a:ext cx="1193098" cy="426959"/>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Prescriptive Analytics</a:t>
            </a:r>
            <a:endParaRPr sz="1200" b="0" i="0" u="none" strike="noStrike" cap="none">
              <a:solidFill>
                <a:schemeClr val="dk1"/>
              </a:solidFill>
              <a:latin typeface="Calibri"/>
              <a:ea typeface="Calibri"/>
              <a:cs typeface="Calibri"/>
              <a:sym typeface="Calibri"/>
            </a:endParaRPr>
          </a:p>
        </p:txBody>
      </p:sp>
      <p:sp>
        <p:nvSpPr>
          <p:cNvPr id="1267" name="Google Shape;1267;p148"/>
          <p:cNvSpPr/>
          <p:nvPr/>
        </p:nvSpPr>
        <p:spPr>
          <a:xfrm>
            <a:off x="8806462" y="4812550"/>
            <a:ext cx="1193098" cy="462471"/>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Video/Image Analytics</a:t>
            </a:r>
            <a:endParaRPr sz="1200" b="0" i="0" u="none" strike="noStrike" cap="none">
              <a:solidFill>
                <a:schemeClr val="dk1"/>
              </a:solidFill>
              <a:latin typeface="Calibri"/>
              <a:ea typeface="Calibri"/>
              <a:cs typeface="Calibri"/>
              <a:sym typeface="Calibri"/>
            </a:endParaRPr>
          </a:p>
        </p:txBody>
      </p:sp>
      <p:sp>
        <p:nvSpPr>
          <p:cNvPr id="1268" name="Google Shape;1268;p148"/>
          <p:cNvSpPr/>
          <p:nvPr/>
        </p:nvSpPr>
        <p:spPr>
          <a:xfrm>
            <a:off x="8806462" y="4279217"/>
            <a:ext cx="1193098" cy="462471"/>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peech Analytics</a:t>
            </a:r>
            <a:endParaRPr sz="1200" b="0" i="0" u="none" strike="noStrike" cap="none">
              <a:solidFill>
                <a:schemeClr val="dk1"/>
              </a:solidFill>
              <a:latin typeface="Calibri"/>
              <a:ea typeface="Calibri"/>
              <a:cs typeface="Calibri"/>
              <a:sym typeface="Calibri"/>
            </a:endParaRPr>
          </a:p>
        </p:txBody>
      </p:sp>
      <p:sp>
        <p:nvSpPr>
          <p:cNvPr id="1269" name="Google Shape;1269;p148"/>
          <p:cNvSpPr/>
          <p:nvPr/>
        </p:nvSpPr>
        <p:spPr>
          <a:xfrm>
            <a:off x="8806462" y="5345882"/>
            <a:ext cx="1193098" cy="295484"/>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Text Analytics</a:t>
            </a:r>
            <a:endParaRPr sz="1200" b="0" i="0" u="none" strike="noStrike" cap="none">
              <a:solidFill>
                <a:schemeClr val="dk1"/>
              </a:solidFill>
              <a:latin typeface="Calibri"/>
              <a:ea typeface="Calibri"/>
              <a:cs typeface="Calibri"/>
              <a:sym typeface="Calibri"/>
            </a:endParaRPr>
          </a:p>
        </p:txBody>
      </p:sp>
      <p:sp>
        <p:nvSpPr>
          <p:cNvPr id="1270" name="Google Shape;1270;p148"/>
          <p:cNvSpPr/>
          <p:nvPr/>
        </p:nvSpPr>
        <p:spPr>
          <a:xfrm>
            <a:off x="8806462" y="3013195"/>
            <a:ext cx="1193098" cy="462471"/>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Recommendation Systems</a:t>
            </a:r>
            <a:endParaRPr sz="1200" b="0" i="0" u="none" strike="noStrike" cap="none">
              <a:solidFill>
                <a:schemeClr val="dk1"/>
              </a:solidFill>
              <a:latin typeface="Calibri"/>
              <a:ea typeface="Calibri"/>
              <a:cs typeface="Calibri"/>
              <a:sym typeface="Calibri"/>
            </a:endParaRPr>
          </a:p>
        </p:txBody>
      </p:sp>
      <p:sp>
        <p:nvSpPr>
          <p:cNvPr id="1271" name="Google Shape;1271;p148"/>
          <p:cNvSpPr/>
          <p:nvPr/>
        </p:nvSpPr>
        <p:spPr>
          <a:xfrm>
            <a:off x="8806462" y="3546527"/>
            <a:ext cx="1193098" cy="295484"/>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Time series</a:t>
            </a:r>
            <a:endParaRPr sz="1200" b="0" i="0" u="none" strike="noStrike" cap="none">
              <a:solidFill>
                <a:schemeClr val="dk1"/>
              </a:solidFill>
              <a:latin typeface="Calibri"/>
              <a:ea typeface="Calibri"/>
              <a:cs typeface="Calibri"/>
              <a:sym typeface="Calibri"/>
            </a:endParaRPr>
          </a:p>
        </p:txBody>
      </p:sp>
      <p:sp>
        <p:nvSpPr>
          <p:cNvPr id="1272" name="Google Shape;1272;p148"/>
          <p:cNvSpPr/>
          <p:nvPr/>
        </p:nvSpPr>
        <p:spPr>
          <a:xfrm>
            <a:off x="8806462" y="3912872"/>
            <a:ext cx="1193098" cy="295484"/>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egmentation</a:t>
            </a:r>
            <a:endParaRPr sz="1200" b="0" i="0" u="none" strike="noStrike" cap="none">
              <a:solidFill>
                <a:schemeClr val="dk1"/>
              </a:solidFill>
              <a:latin typeface="Calibri"/>
              <a:ea typeface="Calibri"/>
              <a:cs typeface="Calibri"/>
              <a:sym typeface="Calibri"/>
            </a:endParaRPr>
          </a:p>
        </p:txBody>
      </p:sp>
      <p:sp>
        <p:nvSpPr>
          <p:cNvPr id="1273" name="Google Shape;1273;p148"/>
          <p:cNvSpPr/>
          <p:nvPr/>
        </p:nvSpPr>
        <p:spPr>
          <a:xfrm>
            <a:off x="8806462" y="5712224"/>
            <a:ext cx="1193098" cy="596500"/>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entiment/ Behavior Analytics</a:t>
            </a:r>
            <a:endParaRPr sz="1200" b="0" i="0" u="none" strike="noStrike" cap="none">
              <a:solidFill>
                <a:schemeClr val="dk1"/>
              </a:solidFill>
              <a:latin typeface="Calibri"/>
              <a:ea typeface="Calibri"/>
              <a:cs typeface="Calibri"/>
              <a:sym typeface="Calibri"/>
            </a:endParaRPr>
          </a:p>
        </p:txBody>
      </p:sp>
      <p:sp>
        <p:nvSpPr>
          <p:cNvPr id="1274" name="Google Shape;1274;p148"/>
          <p:cNvSpPr/>
          <p:nvPr/>
        </p:nvSpPr>
        <p:spPr>
          <a:xfrm>
            <a:off x="3298468" y="2430146"/>
            <a:ext cx="1193098" cy="417012"/>
          </a:xfrm>
          <a:prstGeom prst="rect">
            <a:avLst/>
          </a:prstGeom>
          <a:solidFill>
            <a:srgbClr val="F2F2F2"/>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400" b="1" i="0" u="none" strike="noStrike" cap="none">
                <a:solidFill>
                  <a:schemeClr val="accent1"/>
                </a:solidFill>
                <a:latin typeface="Calibri"/>
                <a:ea typeface="Calibri"/>
                <a:cs typeface="Calibri"/>
                <a:sym typeface="Calibri"/>
              </a:rPr>
              <a:t>Storage</a:t>
            </a:r>
            <a:endParaRPr sz="1400" b="1" i="0" u="none" strike="noStrike" cap="none">
              <a:solidFill>
                <a:schemeClr val="accent1"/>
              </a:solidFill>
              <a:latin typeface="Calibri"/>
              <a:ea typeface="Calibri"/>
              <a:cs typeface="Calibri"/>
              <a:sym typeface="Calibri"/>
            </a:endParaRPr>
          </a:p>
        </p:txBody>
      </p:sp>
      <p:sp>
        <p:nvSpPr>
          <p:cNvPr id="1275" name="Google Shape;1275;p148"/>
          <p:cNvSpPr/>
          <p:nvPr/>
        </p:nvSpPr>
        <p:spPr>
          <a:xfrm>
            <a:off x="3298468" y="4365269"/>
            <a:ext cx="1193098" cy="5943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Big Data/Distributed Environment</a:t>
            </a:r>
            <a:endParaRPr sz="1200" b="0" i="0" u="none" strike="noStrike" cap="none">
              <a:solidFill>
                <a:schemeClr val="dk1"/>
              </a:solidFill>
              <a:latin typeface="Calibri"/>
              <a:ea typeface="Calibri"/>
              <a:cs typeface="Calibri"/>
              <a:sym typeface="Calibri"/>
            </a:endParaRPr>
          </a:p>
        </p:txBody>
      </p:sp>
      <p:sp>
        <p:nvSpPr>
          <p:cNvPr id="1276" name="Google Shape;1276;p148"/>
          <p:cNvSpPr/>
          <p:nvPr/>
        </p:nvSpPr>
        <p:spPr>
          <a:xfrm>
            <a:off x="3298468" y="3688559"/>
            <a:ext cx="1193098" cy="5943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NOSQL Environment</a:t>
            </a:r>
            <a:endParaRPr sz="1200" b="0" i="0" u="none" strike="noStrike" cap="none">
              <a:solidFill>
                <a:schemeClr val="dk1"/>
              </a:solidFill>
              <a:latin typeface="Calibri"/>
              <a:ea typeface="Calibri"/>
              <a:cs typeface="Calibri"/>
              <a:sym typeface="Calibri"/>
            </a:endParaRPr>
          </a:p>
        </p:txBody>
      </p:sp>
      <p:sp>
        <p:nvSpPr>
          <p:cNvPr id="1277" name="Google Shape;1277;p148"/>
          <p:cNvSpPr/>
          <p:nvPr/>
        </p:nvSpPr>
        <p:spPr>
          <a:xfrm>
            <a:off x="3298468" y="3011849"/>
            <a:ext cx="1193098" cy="5943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Warehousing</a:t>
            </a:r>
            <a:endParaRPr sz="12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Environment</a:t>
            </a:r>
            <a:endParaRPr sz="1200" b="0" i="0" u="none" strike="noStrike" cap="none">
              <a:solidFill>
                <a:schemeClr val="dk1"/>
              </a:solidFill>
              <a:latin typeface="Calibri"/>
              <a:ea typeface="Calibri"/>
              <a:cs typeface="Calibri"/>
              <a:sym typeface="Calibri"/>
            </a:endParaRPr>
          </a:p>
        </p:txBody>
      </p:sp>
      <p:sp>
        <p:nvSpPr>
          <p:cNvPr id="1278" name="Google Shape;1278;p148"/>
          <p:cNvSpPr/>
          <p:nvPr/>
        </p:nvSpPr>
        <p:spPr>
          <a:xfrm>
            <a:off x="3298468" y="5041979"/>
            <a:ext cx="1193098" cy="5943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Cloud </a:t>
            </a:r>
            <a:endParaRPr sz="12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Environment</a:t>
            </a:r>
            <a:endParaRPr sz="1200" b="0" i="0" u="none" strike="noStrike" cap="none">
              <a:solidFill>
                <a:schemeClr val="dk1"/>
              </a:solidFill>
              <a:latin typeface="Calibri"/>
              <a:ea typeface="Calibri"/>
              <a:cs typeface="Calibri"/>
              <a:sym typeface="Calibri"/>
            </a:endParaRPr>
          </a:p>
        </p:txBody>
      </p:sp>
      <p:sp>
        <p:nvSpPr>
          <p:cNvPr id="1279" name="Google Shape;1279;p148"/>
          <p:cNvSpPr/>
          <p:nvPr/>
        </p:nvSpPr>
        <p:spPr>
          <a:xfrm>
            <a:off x="6018202" y="2430146"/>
            <a:ext cx="1251355" cy="417012"/>
          </a:xfrm>
          <a:prstGeom prst="rect">
            <a:avLst/>
          </a:prstGeom>
          <a:solidFill>
            <a:srgbClr val="F2F2F2"/>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400" b="1" i="0" u="none" strike="noStrike" cap="none">
                <a:solidFill>
                  <a:srgbClr val="4365A9"/>
                </a:solidFill>
                <a:latin typeface="Calibri"/>
                <a:ea typeface="Calibri"/>
                <a:cs typeface="Calibri"/>
                <a:sym typeface="Calibri"/>
              </a:rPr>
              <a:t>Exploration </a:t>
            </a:r>
            <a:endParaRPr sz="1400" b="1" i="0" u="none" strike="noStrike" cap="none">
              <a:solidFill>
                <a:srgbClr val="4365A9"/>
              </a:solidFill>
              <a:latin typeface="Calibri"/>
              <a:ea typeface="Calibri"/>
              <a:cs typeface="Calibri"/>
              <a:sym typeface="Calibri"/>
            </a:endParaRPr>
          </a:p>
          <a:p>
            <a:pPr marL="0" marR="0" lvl="0" indent="0" algn="ctr" rtl="0">
              <a:lnSpc>
                <a:spcPct val="100000"/>
              </a:lnSpc>
              <a:spcBef>
                <a:spcPts val="0"/>
              </a:spcBef>
              <a:spcAft>
                <a:spcPts val="0"/>
              </a:spcAft>
              <a:buClr>
                <a:schemeClr val="dk2"/>
              </a:buClr>
              <a:buSzPts val="1600"/>
              <a:buFont typeface="Arial"/>
              <a:buNone/>
            </a:pPr>
            <a:r>
              <a:rPr lang="en-US" sz="1400" b="1" i="0" u="none" strike="noStrike" cap="none">
                <a:solidFill>
                  <a:srgbClr val="4365A9"/>
                </a:solidFill>
                <a:latin typeface="Calibri"/>
                <a:ea typeface="Calibri"/>
                <a:cs typeface="Calibri"/>
                <a:sym typeface="Calibri"/>
              </a:rPr>
              <a:t>Visualization</a:t>
            </a:r>
            <a:endParaRPr sz="1400" b="1" i="0" u="none" strike="noStrike" cap="none">
              <a:solidFill>
                <a:srgbClr val="4365A9"/>
              </a:solidFill>
              <a:latin typeface="Calibri"/>
              <a:ea typeface="Calibri"/>
              <a:cs typeface="Calibri"/>
              <a:sym typeface="Calibri"/>
            </a:endParaRPr>
          </a:p>
        </p:txBody>
      </p:sp>
      <p:sp>
        <p:nvSpPr>
          <p:cNvPr id="1280" name="Google Shape;1280;p148"/>
          <p:cNvSpPr/>
          <p:nvPr/>
        </p:nvSpPr>
        <p:spPr>
          <a:xfrm>
            <a:off x="6018202" y="3006251"/>
            <a:ext cx="1249816" cy="599380"/>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Statistics</a:t>
            </a:r>
            <a:endParaRPr sz="1200" b="0" i="0" u="none" strike="noStrike" cap="none">
              <a:solidFill>
                <a:schemeClr val="dk1"/>
              </a:solidFill>
              <a:latin typeface="Calibri"/>
              <a:ea typeface="Calibri"/>
              <a:cs typeface="Calibri"/>
              <a:sym typeface="Calibri"/>
            </a:endParaRPr>
          </a:p>
        </p:txBody>
      </p:sp>
      <p:sp>
        <p:nvSpPr>
          <p:cNvPr id="1281" name="Google Shape;1281;p148"/>
          <p:cNvSpPr/>
          <p:nvPr/>
        </p:nvSpPr>
        <p:spPr>
          <a:xfrm>
            <a:off x="6018202" y="5033571"/>
            <a:ext cx="1249816" cy="599380"/>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ashboard</a:t>
            </a:r>
            <a:endParaRPr sz="1200" b="0" i="0" u="none" strike="noStrike" cap="none">
              <a:solidFill>
                <a:schemeClr val="dk1"/>
              </a:solidFill>
              <a:latin typeface="Calibri"/>
              <a:ea typeface="Calibri"/>
              <a:cs typeface="Calibri"/>
              <a:sym typeface="Calibri"/>
            </a:endParaRPr>
          </a:p>
        </p:txBody>
      </p:sp>
      <p:sp>
        <p:nvSpPr>
          <p:cNvPr id="1282" name="Google Shape;1282;p148"/>
          <p:cNvSpPr/>
          <p:nvPr/>
        </p:nvSpPr>
        <p:spPr>
          <a:xfrm>
            <a:off x="6018202" y="5709345"/>
            <a:ext cx="1249816" cy="599380"/>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Real time Reporting</a:t>
            </a:r>
            <a:endParaRPr sz="1200" b="0" i="0" u="none" strike="noStrike" cap="none">
              <a:solidFill>
                <a:schemeClr val="dk1"/>
              </a:solidFill>
              <a:latin typeface="Calibri"/>
              <a:ea typeface="Calibri"/>
              <a:cs typeface="Calibri"/>
              <a:sym typeface="Calibri"/>
            </a:endParaRPr>
          </a:p>
        </p:txBody>
      </p:sp>
      <p:sp>
        <p:nvSpPr>
          <p:cNvPr id="1283" name="Google Shape;1283;p148"/>
          <p:cNvSpPr/>
          <p:nvPr/>
        </p:nvSpPr>
        <p:spPr>
          <a:xfrm>
            <a:off x="6018202" y="4357798"/>
            <a:ext cx="1249816" cy="599380"/>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Reports</a:t>
            </a:r>
            <a:endParaRPr sz="1200" b="0" i="0" u="none" strike="noStrike" cap="none">
              <a:solidFill>
                <a:schemeClr val="dk1"/>
              </a:solidFill>
              <a:latin typeface="Calibri"/>
              <a:ea typeface="Calibri"/>
              <a:cs typeface="Calibri"/>
              <a:sym typeface="Calibri"/>
            </a:endParaRPr>
          </a:p>
        </p:txBody>
      </p:sp>
      <p:sp>
        <p:nvSpPr>
          <p:cNvPr id="1284" name="Google Shape;1284;p148"/>
          <p:cNvSpPr/>
          <p:nvPr/>
        </p:nvSpPr>
        <p:spPr>
          <a:xfrm>
            <a:off x="6018202" y="3682024"/>
            <a:ext cx="1249816" cy="599380"/>
          </a:xfrm>
          <a:prstGeom prst="rect">
            <a:avLst/>
          </a:prstGeom>
          <a:solidFill>
            <a:schemeClr val="lt1"/>
          </a:solidFill>
          <a:ln w="9525" cap="flat" cmpd="sng">
            <a:solidFill>
              <a:srgbClr val="91A7D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Feature Engineering</a:t>
            </a:r>
            <a:endParaRPr sz="1200" b="0" i="0" u="none" strike="noStrike" cap="none">
              <a:solidFill>
                <a:schemeClr val="dk1"/>
              </a:solidFill>
              <a:latin typeface="Calibri"/>
              <a:ea typeface="Calibri"/>
              <a:cs typeface="Calibri"/>
              <a:sym typeface="Calibri"/>
            </a:endParaRPr>
          </a:p>
        </p:txBody>
      </p:sp>
      <p:sp>
        <p:nvSpPr>
          <p:cNvPr id="1285" name="Google Shape;1285;p148"/>
          <p:cNvSpPr/>
          <p:nvPr/>
        </p:nvSpPr>
        <p:spPr>
          <a:xfrm>
            <a:off x="10166332" y="5427443"/>
            <a:ext cx="1463040" cy="397895"/>
          </a:xfrm>
          <a:prstGeom prst="rect">
            <a:avLst/>
          </a:prstGeom>
          <a:solidFill>
            <a:schemeClr val="lt1"/>
          </a:solid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Containerization</a:t>
            </a:r>
            <a:endParaRPr sz="2400" b="0" i="0" u="none" strike="noStrike" cap="none">
              <a:solidFill>
                <a:schemeClr val="dk1"/>
              </a:solidFill>
              <a:latin typeface="Calibri"/>
              <a:ea typeface="Calibri"/>
              <a:cs typeface="Calibri"/>
              <a:sym typeface="Calibri"/>
            </a:endParaRPr>
          </a:p>
        </p:txBody>
      </p:sp>
      <p:sp>
        <p:nvSpPr>
          <p:cNvPr id="1286" name="Google Shape;1286;p148"/>
          <p:cNvSpPr/>
          <p:nvPr/>
        </p:nvSpPr>
        <p:spPr>
          <a:xfrm>
            <a:off x="10166332" y="4944594"/>
            <a:ext cx="1463040" cy="397895"/>
          </a:xfrm>
          <a:prstGeom prst="rect">
            <a:avLst/>
          </a:prstGeom>
          <a:solidFill>
            <a:schemeClr val="lt1"/>
          </a:solid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Security</a:t>
            </a:r>
            <a:endParaRPr sz="2400" b="0" i="0" u="none" strike="noStrike" cap="none">
              <a:solidFill>
                <a:schemeClr val="dk1"/>
              </a:solidFill>
              <a:latin typeface="Calibri"/>
              <a:ea typeface="Calibri"/>
              <a:cs typeface="Calibri"/>
              <a:sym typeface="Calibri"/>
            </a:endParaRPr>
          </a:p>
        </p:txBody>
      </p:sp>
      <p:sp>
        <p:nvSpPr>
          <p:cNvPr id="1287" name="Google Shape;1287;p148"/>
          <p:cNvSpPr/>
          <p:nvPr/>
        </p:nvSpPr>
        <p:spPr>
          <a:xfrm>
            <a:off x="10166332" y="4461744"/>
            <a:ext cx="1463040" cy="397895"/>
          </a:xfrm>
          <a:prstGeom prst="rect">
            <a:avLst/>
          </a:prstGeom>
          <a:solidFill>
            <a:schemeClr val="lt1"/>
          </a:solid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Orchestration</a:t>
            </a:r>
            <a:endParaRPr sz="2400" b="0" i="0" u="none" strike="noStrike" cap="none">
              <a:solidFill>
                <a:schemeClr val="dk1"/>
              </a:solidFill>
              <a:latin typeface="Calibri"/>
              <a:ea typeface="Calibri"/>
              <a:cs typeface="Calibri"/>
              <a:sym typeface="Calibri"/>
            </a:endParaRPr>
          </a:p>
        </p:txBody>
      </p:sp>
      <p:sp>
        <p:nvSpPr>
          <p:cNvPr id="1288" name="Google Shape;1288;p148"/>
          <p:cNvSpPr/>
          <p:nvPr/>
        </p:nvSpPr>
        <p:spPr>
          <a:xfrm>
            <a:off x="10166332" y="3496045"/>
            <a:ext cx="1463040" cy="397895"/>
          </a:xfrm>
          <a:prstGeom prst="rect">
            <a:avLst/>
          </a:prstGeom>
          <a:solidFill>
            <a:schemeClr val="lt1"/>
          </a:solid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DS/ML Platforms</a:t>
            </a:r>
            <a:endParaRPr sz="2400" b="0" i="0" u="none" strike="noStrike" cap="none">
              <a:solidFill>
                <a:schemeClr val="dk1"/>
              </a:solidFill>
              <a:latin typeface="Calibri"/>
              <a:ea typeface="Calibri"/>
              <a:cs typeface="Calibri"/>
              <a:sym typeface="Calibri"/>
            </a:endParaRPr>
          </a:p>
        </p:txBody>
      </p:sp>
      <p:sp>
        <p:nvSpPr>
          <p:cNvPr id="1289" name="Google Shape;1289;p148"/>
          <p:cNvSpPr/>
          <p:nvPr/>
        </p:nvSpPr>
        <p:spPr>
          <a:xfrm>
            <a:off x="10166332" y="3978894"/>
            <a:ext cx="1463040" cy="397895"/>
          </a:xfrm>
          <a:prstGeom prst="rect">
            <a:avLst/>
          </a:prstGeom>
          <a:solidFill>
            <a:schemeClr val="lt1"/>
          </a:solid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Version Control</a:t>
            </a:r>
            <a:endParaRPr sz="2400" b="0" i="0" u="none" strike="noStrike" cap="none">
              <a:solidFill>
                <a:schemeClr val="dk1"/>
              </a:solidFill>
              <a:latin typeface="Calibri"/>
              <a:ea typeface="Calibri"/>
              <a:cs typeface="Calibri"/>
              <a:sym typeface="Calibri"/>
            </a:endParaRPr>
          </a:p>
        </p:txBody>
      </p:sp>
      <p:sp>
        <p:nvSpPr>
          <p:cNvPr id="1290" name="Google Shape;1290;p148"/>
          <p:cNvSpPr/>
          <p:nvPr/>
        </p:nvSpPr>
        <p:spPr>
          <a:xfrm>
            <a:off x="10166332" y="3013195"/>
            <a:ext cx="1463040" cy="397895"/>
          </a:xfrm>
          <a:prstGeom prst="rect">
            <a:avLst/>
          </a:prstGeom>
          <a:solidFill>
            <a:schemeClr val="lt1"/>
          </a:solid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Model Monitoring</a:t>
            </a:r>
            <a:endParaRPr sz="2400" b="0" i="0" u="none" strike="noStrike" cap="none">
              <a:solidFill>
                <a:schemeClr val="dk1"/>
              </a:solidFill>
              <a:latin typeface="Calibri"/>
              <a:ea typeface="Calibri"/>
              <a:cs typeface="Calibri"/>
              <a:sym typeface="Calibri"/>
            </a:endParaRPr>
          </a:p>
        </p:txBody>
      </p:sp>
      <p:sp>
        <p:nvSpPr>
          <p:cNvPr id="1291" name="Google Shape;1291;p148"/>
          <p:cNvSpPr/>
          <p:nvPr/>
        </p:nvSpPr>
        <p:spPr>
          <a:xfrm>
            <a:off x="10166332" y="5910292"/>
            <a:ext cx="1463040" cy="397895"/>
          </a:xfrm>
          <a:prstGeom prst="rect">
            <a:avLst/>
          </a:prstGeom>
          <a:solidFill>
            <a:schemeClr val="lt1"/>
          </a:solid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50"/>
              <a:buFont typeface="Arial"/>
              <a:buNone/>
            </a:pPr>
            <a:r>
              <a:rPr lang="en-US" sz="1200" b="0" i="0" u="none" strike="noStrike" cap="none">
                <a:solidFill>
                  <a:schemeClr val="dk1"/>
                </a:solidFill>
                <a:latin typeface="Calibri"/>
                <a:ea typeface="Calibri"/>
                <a:cs typeface="Calibri"/>
                <a:sym typeface="Calibri"/>
              </a:rPr>
              <a:t>Interfacing</a:t>
            </a:r>
            <a:endParaRPr sz="2400" b="0" i="0" u="none" strike="noStrike" cap="none">
              <a:solidFill>
                <a:schemeClr val="dk1"/>
              </a:solidFill>
              <a:latin typeface="Calibri"/>
              <a:ea typeface="Calibri"/>
              <a:cs typeface="Calibri"/>
              <a:sym typeface="Calibri"/>
            </a:endParaRPr>
          </a:p>
        </p:txBody>
      </p:sp>
      <p:sp>
        <p:nvSpPr>
          <p:cNvPr id="1292" name="Google Shape;1292;p148"/>
          <p:cNvSpPr/>
          <p:nvPr/>
        </p:nvSpPr>
        <p:spPr>
          <a:xfrm>
            <a:off x="4658335" y="2430146"/>
            <a:ext cx="1193098" cy="417012"/>
          </a:xfrm>
          <a:prstGeom prst="rect">
            <a:avLst/>
          </a:prstGeom>
          <a:solidFill>
            <a:srgbClr val="F2F2F2"/>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dk2"/>
              </a:buClr>
              <a:buSzPts val="1600"/>
              <a:buFont typeface="Arial"/>
              <a:buNone/>
            </a:pPr>
            <a:r>
              <a:rPr lang="en-US" sz="1400" b="1" i="0" u="none" strike="noStrike" cap="none">
                <a:solidFill>
                  <a:schemeClr val="accent1"/>
                </a:solidFill>
                <a:latin typeface="Calibri"/>
                <a:ea typeface="Calibri"/>
                <a:cs typeface="Calibri"/>
                <a:sym typeface="Calibri"/>
              </a:rPr>
              <a:t>Preparation</a:t>
            </a:r>
            <a:endParaRPr sz="1400" b="1" i="0" u="none" strike="noStrike" cap="none">
              <a:solidFill>
                <a:schemeClr val="accent1"/>
              </a:solidFill>
              <a:latin typeface="Calibri"/>
              <a:ea typeface="Calibri"/>
              <a:cs typeface="Calibri"/>
              <a:sym typeface="Calibri"/>
            </a:endParaRPr>
          </a:p>
        </p:txBody>
      </p:sp>
      <p:sp>
        <p:nvSpPr>
          <p:cNvPr id="1293" name="Google Shape;1293;p148"/>
          <p:cNvSpPr/>
          <p:nvPr/>
        </p:nvSpPr>
        <p:spPr>
          <a:xfrm>
            <a:off x="4658335" y="3011849"/>
            <a:ext cx="1193098" cy="5943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ata Quality</a:t>
            </a:r>
            <a:endParaRPr sz="1200" b="0" i="0" u="none" strike="noStrike" cap="none">
              <a:solidFill>
                <a:schemeClr val="dk1"/>
              </a:solidFill>
              <a:latin typeface="Calibri"/>
              <a:ea typeface="Calibri"/>
              <a:cs typeface="Calibri"/>
              <a:sym typeface="Calibri"/>
            </a:endParaRPr>
          </a:p>
        </p:txBody>
      </p:sp>
      <p:sp>
        <p:nvSpPr>
          <p:cNvPr id="1294" name="Google Shape;1294;p148"/>
          <p:cNvSpPr/>
          <p:nvPr/>
        </p:nvSpPr>
        <p:spPr>
          <a:xfrm>
            <a:off x="4658335" y="3688559"/>
            <a:ext cx="1193098" cy="5943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ata Cleaning</a:t>
            </a:r>
            <a:endParaRPr sz="1200" b="0" i="0" u="none" strike="noStrike" cap="none">
              <a:solidFill>
                <a:schemeClr val="dk1"/>
              </a:solidFill>
              <a:latin typeface="Calibri"/>
              <a:ea typeface="Calibri"/>
              <a:cs typeface="Calibri"/>
              <a:sym typeface="Calibri"/>
            </a:endParaRPr>
          </a:p>
        </p:txBody>
      </p:sp>
      <p:sp>
        <p:nvSpPr>
          <p:cNvPr id="1295" name="Google Shape;1295;p148"/>
          <p:cNvSpPr/>
          <p:nvPr/>
        </p:nvSpPr>
        <p:spPr>
          <a:xfrm>
            <a:off x="4658335" y="4365269"/>
            <a:ext cx="1193098" cy="5943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0" i="0" u="none" strike="noStrike" cap="none">
                <a:solidFill>
                  <a:schemeClr val="dk1"/>
                </a:solidFill>
                <a:latin typeface="Calibri"/>
                <a:ea typeface="Calibri"/>
                <a:cs typeface="Calibri"/>
                <a:sym typeface="Calibri"/>
              </a:rPr>
              <a:t>Data Transformation</a:t>
            </a:r>
            <a:endParaRPr sz="1200" b="0" i="0" u="none" strike="noStrike" cap="none">
              <a:solidFill>
                <a:schemeClr val="dk1"/>
              </a:solidFill>
              <a:latin typeface="Calibri"/>
              <a:ea typeface="Calibri"/>
              <a:cs typeface="Calibri"/>
              <a:sym typeface="Calibri"/>
            </a:endParaRPr>
          </a:p>
        </p:txBody>
      </p:sp>
      <p:sp>
        <p:nvSpPr>
          <p:cNvPr id="1296" name="Google Shape;1296;p148"/>
          <p:cNvSpPr txBox="1"/>
          <p:nvPr/>
        </p:nvSpPr>
        <p:spPr>
          <a:xfrm>
            <a:off x="1161204" y="1962179"/>
            <a:ext cx="4217288" cy="369291"/>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1800" b="1" i="0" u="none" strike="noStrike" cap="none">
                <a:solidFill>
                  <a:schemeClr val="accent1"/>
                </a:solidFill>
                <a:latin typeface="Calibri"/>
                <a:ea typeface="Calibri"/>
                <a:cs typeface="Calibri"/>
                <a:sym typeface="Calibri"/>
              </a:rPr>
              <a:t>ACQUIRE and PREPARE</a:t>
            </a:r>
            <a:endParaRPr sz="1800" b="1" i="0" u="none" strike="noStrike" cap="none">
              <a:solidFill>
                <a:schemeClr val="accent1"/>
              </a:solidFill>
              <a:latin typeface="Calibri"/>
              <a:ea typeface="Calibri"/>
              <a:cs typeface="Calibri"/>
              <a:sym typeface="Calibri"/>
            </a:endParaRPr>
          </a:p>
        </p:txBody>
      </p:sp>
      <p:sp>
        <p:nvSpPr>
          <p:cNvPr id="1297" name="Google Shape;1297;p148"/>
          <p:cNvSpPr txBox="1"/>
          <p:nvPr/>
        </p:nvSpPr>
        <p:spPr>
          <a:xfrm>
            <a:off x="7152870" y="1959318"/>
            <a:ext cx="1864093" cy="372152"/>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1800" b="1" i="0" u="none" strike="noStrike" cap="none">
                <a:solidFill>
                  <a:srgbClr val="4365A9"/>
                </a:solidFill>
                <a:latin typeface="Calibri"/>
                <a:ea typeface="Calibri"/>
                <a:cs typeface="Calibri"/>
                <a:sym typeface="Calibri"/>
              </a:rPr>
              <a:t>ANALYZE</a:t>
            </a:r>
            <a:endParaRPr sz="1800" b="1" i="0" u="none" strike="noStrike" cap="none">
              <a:solidFill>
                <a:srgbClr val="4365A9"/>
              </a:solidFill>
              <a:latin typeface="Calibri"/>
              <a:ea typeface="Calibri"/>
              <a:cs typeface="Calibri"/>
              <a:sym typeface="Calibri"/>
            </a:endParaRPr>
          </a:p>
        </p:txBody>
      </p:sp>
      <p:sp>
        <p:nvSpPr>
          <p:cNvPr id="1298" name="Google Shape;1298;p148"/>
          <p:cNvSpPr txBox="1"/>
          <p:nvPr/>
        </p:nvSpPr>
        <p:spPr>
          <a:xfrm>
            <a:off x="10166332" y="1962179"/>
            <a:ext cx="1463040" cy="369291"/>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chemeClr val="dk2"/>
              </a:buClr>
              <a:buSzPts val="2400"/>
              <a:buFont typeface="Arial"/>
              <a:buNone/>
            </a:pPr>
            <a:r>
              <a:rPr lang="en-US" sz="1800" b="1" i="0" u="none" strike="noStrike" cap="none">
                <a:solidFill>
                  <a:schemeClr val="dk2"/>
                </a:solidFill>
                <a:latin typeface="Calibri"/>
                <a:ea typeface="Calibri"/>
                <a:cs typeface="Calibri"/>
                <a:sym typeface="Calibri"/>
              </a:rPr>
              <a:t>DEPLOY</a:t>
            </a:r>
            <a:endParaRPr sz="1800" b="1" i="0" u="none" strike="noStrike" cap="none">
              <a:solidFill>
                <a:schemeClr val="dk2"/>
              </a:solidFill>
              <a:latin typeface="Calibri"/>
              <a:ea typeface="Calibri"/>
              <a:cs typeface="Calibri"/>
              <a:sym typeface="Calibri"/>
            </a:endParaRPr>
          </a:p>
        </p:txBody>
      </p:sp>
      <p:cxnSp>
        <p:nvCxnSpPr>
          <p:cNvPr id="1299" name="Google Shape;1299;p148"/>
          <p:cNvCxnSpPr/>
          <p:nvPr/>
        </p:nvCxnSpPr>
        <p:spPr>
          <a:xfrm>
            <a:off x="578734" y="2318909"/>
            <a:ext cx="5272699" cy="0"/>
          </a:xfrm>
          <a:prstGeom prst="straightConnector1">
            <a:avLst/>
          </a:prstGeom>
          <a:noFill/>
          <a:ln w="28575" cap="flat" cmpd="sng">
            <a:solidFill>
              <a:schemeClr val="accent1"/>
            </a:solidFill>
            <a:prstDash val="solid"/>
            <a:round/>
            <a:headEnd type="none" w="sm" len="sm"/>
            <a:tailEnd type="none" w="sm" len="sm"/>
          </a:ln>
        </p:spPr>
      </p:cxnSp>
      <p:cxnSp>
        <p:nvCxnSpPr>
          <p:cNvPr id="1300" name="Google Shape;1300;p148"/>
          <p:cNvCxnSpPr/>
          <p:nvPr/>
        </p:nvCxnSpPr>
        <p:spPr>
          <a:xfrm>
            <a:off x="6018202" y="2318909"/>
            <a:ext cx="3981358" cy="0"/>
          </a:xfrm>
          <a:prstGeom prst="straightConnector1">
            <a:avLst/>
          </a:prstGeom>
          <a:noFill/>
          <a:ln w="28575" cap="flat" cmpd="sng">
            <a:solidFill>
              <a:srgbClr val="4365A9"/>
            </a:solidFill>
            <a:prstDash val="solid"/>
            <a:round/>
            <a:headEnd type="none" w="sm" len="sm"/>
            <a:tailEnd type="none" w="sm" len="sm"/>
          </a:ln>
        </p:spPr>
      </p:cxnSp>
      <p:cxnSp>
        <p:nvCxnSpPr>
          <p:cNvPr id="1301" name="Google Shape;1301;p148"/>
          <p:cNvCxnSpPr/>
          <p:nvPr/>
        </p:nvCxnSpPr>
        <p:spPr>
          <a:xfrm>
            <a:off x="10166332" y="2318909"/>
            <a:ext cx="1463040" cy="0"/>
          </a:xfrm>
          <a:prstGeom prst="straightConnector1">
            <a:avLst/>
          </a:prstGeom>
          <a:noFill/>
          <a:ln w="28575" cap="flat" cmpd="sng">
            <a:solidFill>
              <a:schemeClr val="dk2"/>
            </a:solidFill>
            <a:prstDash val="solid"/>
            <a:round/>
            <a:headEnd type="none" w="sm" len="sm"/>
            <a:tailEnd type="none" w="sm" len="sm"/>
          </a:ln>
        </p:spPr>
      </p:cxnSp>
      <p:sp>
        <p:nvSpPr>
          <p:cNvPr id="1302" name="Google Shape;1302;p148"/>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rgbClr val="0F47F2"/>
                </a:solidFill>
                <a:latin typeface="Calibri"/>
                <a:ea typeface="Calibri"/>
                <a:cs typeface="Calibri"/>
                <a:sym typeface="Calibri"/>
              </a:rPr>
              <a:t>Analytics</a:t>
            </a:r>
            <a:endParaRPr sz="1400" b="0" i="0" u="none" strike="noStrike" cap="none">
              <a:solidFill>
                <a:srgbClr val="0F47F2"/>
              </a:solidFill>
              <a:latin typeface="Calibri"/>
              <a:ea typeface="Calibri"/>
              <a:cs typeface="Calibri"/>
              <a:sym typeface="Calibri"/>
            </a:endParaRPr>
          </a:p>
        </p:txBody>
      </p:sp>
      <p:sp>
        <p:nvSpPr>
          <p:cNvPr id="1303" name="Google Shape;1303;p148"/>
          <p:cNvSpPr/>
          <p:nvPr/>
        </p:nvSpPr>
        <p:spPr>
          <a:xfrm>
            <a:off x="11557889"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rgbClr val="FFFFFF"/>
              </a:solidFill>
              <a:latin typeface="Calibri"/>
              <a:ea typeface="Calibri"/>
              <a:cs typeface="Calibri"/>
              <a:sym typeface="Calibri"/>
            </a:endParaRPr>
          </a:p>
        </p:txBody>
      </p:sp>
      <p:pic>
        <p:nvPicPr>
          <p:cNvPr id="1304" name="Google Shape;1304;p148"/>
          <p:cNvPicPr preferRelativeResize="0"/>
          <p:nvPr/>
        </p:nvPicPr>
        <p:blipFill rotWithShape="1">
          <a:blip r:embed="rId6">
            <a:alphaModFix/>
          </a:blip>
          <a:srcRect/>
          <a:stretch/>
        </p:blipFill>
        <p:spPr>
          <a:xfrm>
            <a:off x="11627442" y="209253"/>
            <a:ext cx="322766" cy="322766"/>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30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9367209-F248-AE16-2D05-D1DBBE732234}"/>
              </a:ext>
            </a:extLst>
          </p:cNvPr>
          <p:cNvGraphicFramePr>
            <a:graphicFrameLocks noChangeAspect="1"/>
          </p:cNvGraphicFramePr>
          <p:nvPr>
            <p:custDataLst>
              <p:tags r:id="rId1"/>
            </p:custDataLst>
            <p:extLst>
              <p:ext uri="{D42A27DB-BD31-4B8C-83A1-F6EECF244321}">
                <p14:modId xmlns:p14="http://schemas.microsoft.com/office/powerpoint/2010/main" val="1204762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09" name="Google Shape;1309;p149"/>
          <p:cNvSpPr txBox="1">
            <a:spLocks noGrp="1"/>
          </p:cNvSpPr>
          <p:nvPr>
            <p:ph type="title"/>
          </p:nvPr>
        </p:nvSpPr>
        <p:spPr>
          <a:xfrm>
            <a:off x="539400" y="560588"/>
            <a:ext cx="11089972" cy="923330"/>
          </a:xfrm>
          <a:prstGeom prst="rect">
            <a:avLst/>
          </a:prstGeom>
          <a:noFill/>
          <a:ln>
            <a:noFill/>
          </a:ln>
        </p:spPr>
        <p:txBody>
          <a:bodyPr spcFirstLastPara="1" wrap="square" lIns="0" tIns="0" rIns="0" bIns="0" anchor="t" anchorCtr="0">
            <a:spAutoFit/>
          </a:bodyPr>
          <a:lstStyle/>
          <a:p>
            <a:r>
              <a:rPr lang="en-US" sz="3000" kern="1200" dirty="0">
                <a:latin typeface="Franklin Gothic" panose="020B0604020202020204" charset="0"/>
                <a:ea typeface="+mj-ea"/>
                <a:cs typeface="Calibri" panose="020F0502020204030204" pitchFamily="34" charset="0"/>
              </a:rPr>
              <a:t>Our teams are familiar with a wide range of cutting-edge technologies</a:t>
            </a:r>
            <a:endParaRPr sz="3000" kern="1200" dirty="0">
              <a:latin typeface="Franklin Gothic" panose="020B0604020202020204" charset="0"/>
              <a:ea typeface="+mj-ea"/>
              <a:cs typeface="Calibri" panose="020F0502020204030204" pitchFamily="34" charset="0"/>
            </a:endParaRPr>
          </a:p>
        </p:txBody>
      </p:sp>
      <p:sp>
        <p:nvSpPr>
          <p:cNvPr id="1310" name="Google Shape;1310;p14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11</a:t>
            </a:fld>
            <a:endParaRPr/>
          </a:p>
        </p:txBody>
      </p:sp>
      <p:grpSp>
        <p:nvGrpSpPr>
          <p:cNvPr id="1311" name="Google Shape;1311;p149"/>
          <p:cNvGrpSpPr/>
          <p:nvPr/>
        </p:nvGrpSpPr>
        <p:grpSpPr>
          <a:xfrm>
            <a:off x="640939" y="1446985"/>
            <a:ext cx="11014051" cy="5270124"/>
            <a:chOff x="811606" y="1051363"/>
            <a:chExt cx="11014051" cy="5270124"/>
          </a:xfrm>
        </p:grpSpPr>
        <p:grpSp>
          <p:nvGrpSpPr>
            <p:cNvPr id="1312" name="Google Shape;1312;p149"/>
            <p:cNvGrpSpPr/>
            <p:nvPr/>
          </p:nvGrpSpPr>
          <p:grpSpPr>
            <a:xfrm>
              <a:off x="2252940" y="1466664"/>
              <a:ext cx="6947242" cy="4412821"/>
              <a:chOff x="2137628" y="1258799"/>
              <a:chExt cx="7933835" cy="5039496"/>
            </a:xfrm>
          </p:grpSpPr>
          <p:sp>
            <p:nvSpPr>
              <p:cNvPr id="1313" name="Google Shape;1313;p149"/>
              <p:cNvSpPr/>
              <p:nvPr/>
            </p:nvSpPr>
            <p:spPr>
              <a:xfrm>
                <a:off x="2923154" y="1264004"/>
                <a:ext cx="2328315" cy="2415203"/>
              </a:xfrm>
              <a:custGeom>
                <a:avLst/>
                <a:gdLst/>
                <a:ahLst/>
                <a:cxnLst/>
                <a:rect l="l" t="t" r="r" b="b"/>
                <a:pathLst>
                  <a:path w="2317501" h="2415202" extrusionOk="0">
                    <a:moveTo>
                      <a:pt x="2041627" y="0"/>
                    </a:moveTo>
                    <a:lnTo>
                      <a:pt x="2041627" y="1041"/>
                    </a:lnTo>
                    <a:lnTo>
                      <a:pt x="1588776" y="1041"/>
                    </a:lnTo>
                    <a:cubicBezTo>
                      <a:pt x="1575399" y="1041"/>
                      <a:pt x="1562126" y="1614"/>
                      <a:pt x="1549009" y="2655"/>
                    </a:cubicBezTo>
                    <a:lnTo>
                      <a:pt x="1239405" y="2655"/>
                    </a:lnTo>
                    <a:cubicBezTo>
                      <a:pt x="1239873" y="2134"/>
                      <a:pt x="1024431" y="2655"/>
                      <a:pt x="1024431" y="2655"/>
                    </a:cubicBezTo>
                    <a:lnTo>
                      <a:pt x="1007879" y="2655"/>
                    </a:lnTo>
                    <a:cubicBezTo>
                      <a:pt x="451445" y="2655"/>
                      <a:pt x="0" y="489911"/>
                      <a:pt x="0" y="1095117"/>
                    </a:cubicBezTo>
                    <a:cubicBezTo>
                      <a:pt x="0" y="1564416"/>
                      <a:pt x="269784" y="1936274"/>
                      <a:pt x="650335" y="2079729"/>
                    </a:cubicBezTo>
                    <a:cubicBezTo>
                      <a:pt x="703792" y="2103100"/>
                      <a:pt x="761049" y="2119288"/>
                      <a:pt x="820961" y="2127044"/>
                    </a:cubicBezTo>
                    <a:cubicBezTo>
                      <a:pt x="865257" y="2135164"/>
                      <a:pt x="910542" y="2140369"/>
                      <a:pt x="956712" y="2142555"/>
                    </a:cubicBezTo>
                    <a:cubicBezTo>
                      <a:pt x="1000956" y="2162387"/>
                      <a:pt x="1030729" y="2207620"/>
                      <a:pt x="1030729" y="2260244"/>
                    </a:cubicBezTo>
                    <a:cubicBezTo>
                      <a:pt x="1030729" y="2331191"/>
                      <a:pt x="973368" y="2388656"/>
                      <a:pt x="902682" y="2388656"/>
                    </a:cubicBezTo>
                    <a:lnTo>
                      <a:pt x="884151" y="2388656"/>
                    </a:lnTo>
                    <a:cubicBezTo>
                      <a:pt x="889877" y="2388864"/>
                      <a:pt x="895655" y="2389073"/>
                      <a:pt x="901381" y="2389177"/>
                    </a:cubicBezTo>
                    <a:lnTo>
                      <a:pt x="886077" y="2389177"/>
                    </a:lnTo>
                    <a:lnTo>
                      <a:pt x="886077" y="2415203"/>
                    </a:lnTo>
                    <a:lnTo>
                      <a:pt x="2255039" y="2415203"/>
                    </a:lnTo>
                    <a:cubicBezTo>
                      <a:pt x="2289393" y="2415203"/>
                      <a:pt x="2317501" y="2387095"/>
                      <a:pt x="2317501" y="2352740"/>
                    </a:cubicBezTo>
                    <a:lnTo>
                      <a:pt x="2317501" y="0"/>
                    </a:lnTo>
                    <a:lnTo>
                      <a:pt x="2041627" y="0"/>
                    </a:lnTo>
                    <a:close/>
                  </a:path>
                </a:pathLst>
              </a:custGeom>
              <a:solidFill>
                <a:srgbClr val="9EB5FA"/>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14" name="Google Shape;1314;p149"/>
              <p:cNvSpPr/>
              <p:nvPr/>
            </p:nvSpPr>
            <p:spPr>
              <a:xfrm>
                <a:off x="4751772" y="1265336"/>
                <a:ext cx="2300687" cy="1414474"/>
              </a:xfrm>
              <a:custGeom>
                <a:avLst/>
                <a:gdLst/>
                <a:ahLst/>
                <a:cxnLst/>
                <a:rect l="l" t="t" r="r" b="b"/>
                <a:pathLst>
                  <a:path w="2300688" h="1421013" extrusionOk="0">
                    <a:moveTo>
                      <a:pt x="0" y="0"/>
                    </a:moveTo>
                    <a:lnTo>
                      <a:pt x="2300688" y="0"/>
                    </a:lnTo>
                    <a:lnTo>
                      <a:pt x="2300688" y="1421014"/>
                    </a:lnTo>
                    <a:lnTo>
                      <a:pt x="0" y="1421014"/>
                    </a:lnTo>
                    <a:close/>
                  </a:path>
                </a:pathLst>
              </a:custGeom>
              <a:solidFill>
                <a:srgbClr val="6D90F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15" name="Google Shape;1315;p149"/>
              <p:cNvSpPr/>
              <p:nvPr/>
            </p:nvSpPr>
            <p:spPr>
              <a:xfrm>
                <a:off x="8175438" y="2725513"/>
                <a:ext cx="1438021" cy="1733844"/>
              </a:xfrm>
              <a:custGeom>
                <a:avLst/>
                <a:gdLst/>
                <a:ahLst/>
                <a:cxnLst/>
                <a:rect l="l" t="t" r="r" b="b"/>
                <a:pathLst>
                  <a:path w="1438021" h="1733844" extrusionOk="0">
                    <a:moveTo>
                      <a:pt x="1364109" y="421203"/>
                    </a:moveTo>
                    <a:cubicBezTo>
                      <a:pt x="1364109" y="981488"/>
                      <a:pt x="916099" y="1435692"/>
                      <a:pt x="363465" y="1435692"/>
                    </a:cubicBezTo>
                    <a:lnTo>
                      <a:pt x="355605" y="1438347"/>
                    </a:lnTo>
                    <a:cubicBezTo>
                      <a:pt x="224227" y="1447352"/>
                      <a:pt x="53445" y="1474263"/>
                      <a:pt x="6598" y="1593982"/>
                    </a:cubicBezTo>
                    <a:cubicBezTo>
                      <a:pt x="-13338" y="1644888"/>
                      <a:pt x="13885" y="1708600"/>
                      <a:pt x="61617" y="1733845"/>
                    </a:cubicBezTo>
                    <a:cubicBezTo>
                      <a:pt x="61200" y="1593461"/>
                      <a:pt x="236927" y="1571599"/>
                      <a:pt x="372886" y="1562751"/>
                    </a:cubicBezTo>
                    <a:lnTo>
                      <a:pt x="389283" y="1562751"/>
                    </a:lnTo>
                    <a:cubicBezTo>
                      <a:pt x="969088" y="1562751"/>
                      <a:pt x="1438022" y="1106413"/>
                      <a:pt x="1438022" y="546179"/>
                    </a:cubicBezTo>
                    <a:cubicBezTo>
                      <a:pt x="1438022" y="345103"/>
                      <a:pt x="1377486" y="157665"/>
                      <a:pt x="1273018" y="0"/>
                    </a:cubicBezTo>
                    <a:cubicBezTo>
                      <a:pt x="1331472" y="127319"/>
                      <a:pt x="1364109" y="269784"/>
                      <a:pt x="1364109" y="421255"/>
                    </a:cubicBezTo>
                    <a:close/>
                  </a:path>
                </a:pathLst>
              </a:custGeom>
              <a:solidFill>
                <a:srgbClr val="0F47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16" name="Google Shape;1316;p149"/>
              <p:cNvSpPr/>
              <p:nvPr/>
            </p:nvSpPr>
            <p:spPr>
              <a:xfrm>
                <a:off x="2137628" y="3927597"/>
                <a:ext cx="1604361" cy="966185"/>
              </a:xfrm>
              <a:custGeom>
                <a:avLst/>
                <a:gdLst/>
                <a:ahLst/>
                <a:cxnLst/>
                <a:rect l="l" t="t" r="r" b="b"/>
                <a:pathLst>
                  <a:path w="1604361" h="966185" extrusionOk="0">
                    <a:moveTo>
                      <a:pt x="1592732" y="966185"/>
                    </a:moveTo>
                    <a:cubicBezTo>
                      <a:pt x="1592732" y="966185"/>
                      <a:pt x="1636352" y="888056"/>
                      <a:pt x="1554630" y="650439"/>
                    </a:cubicBezTo>
                    <a:cubicBezTo>
                      <a:pt x="1472909" y="412823"/>
                      <a:pt x="1177359" y="300287"/>
                      <a:pt x="1177359" y="300287"/>
                    </a:cubicBezTo>
                    <a:cubicBezTo>
                      <a:pt x="1177359" y="300287"/>
                      <a:pt x="1001268" y="262758"/>
                      <a:pt x="900652" y="262758"/>
                    </a:cubicBezTo>
                    <a:lnTo>
                      <a:pt x="334693" y="269004"/>
                    </a:lnTo>
                    <a:cubicBezTo>
                      <a:pt x="334693" y="269004"/>
                      <a:pt x="39143" y="306533"/>
                      <a:pt x="0" y="0"/>
                    </a:cubicBezTo>
                    <a:lnTo>
                      <a:pt x="0" y="110871"/>
                    </a:lnTo>
                    <a:cubicBezTo>
                      <a:pt x="0" y="265516"/>
                      <a:pt x="126121" y="390909"/>
                      <a:pt x="281652" y="390909"/>
                    </a:cubicBezTo>
                    <a:lnTo>
                      <a:pt x="938337" y="390909"/>
                    </a:lnTo>
                    <a:cubicBezTo>
                      <a:pt x="938337" y="390909"/>
                      <a:pt x="957180" y="390909"/>
                      <a:pt x="957180" y="390909"/>
                    </a:cubicBezTo>
                    <a:cubicBezTo>
                      <a:pt x="1289531" y="390909"/>
                      <a:pt x="1562542" y="643516"/>
                      <a:pt x="1592680" y="966133"/>
                    </a:cubicBezTo>
                  </a:path>
                </a:pathLst>
              </a:custGeom>
              <a:solidFill>
                <a:srgbClr val="0F47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17" name="Google Shape;1317;p149"/>
              <p:cNvSpPr/>
              <p:nvPr/>
            </p:nvSpPr>
            <p:spPr>
              <a:xfrm>
                <a:off x="3554612" y="5235554"/>
                <a:ext cx="6516851" cy="1062741"/>
              </a:xfrm>
              <a:custGeom>
                <a:avLst/>
                <a:gdLst/>
                <a:ahLst/>
                <a:cxnLst/>
                <a:rect l="l" t="t" r="r" b="b"/>
                <a:pathLst>
                  <a:path w="6516851" h="1062741" extrusionOk="0">
                    <a:moveTo>
                      <a:pt x="6511699" y="0"/>
                    </a:moveTo>
                    <a:cubicBezTo>
                      <a:pt x="6511074" y="0"/>
                      <a:pt x="6510397" y="0"/>
                      <a:pt x="6509773" y="0"/>
                    </a:cubicBezTo>
                    <a:cubicBezTo>
                      <a:pt x="6511022" y="17594"/>
                      <a:pt x="6511699" y="35343"/>
                      <a:pt x="6511699" y="53353"/>
                    </a:cubicBezTo>
                    <a:cubicBezTo>
                      <a:pt x="6511699" y="519789"/>
                      <a:pt x="6089507" y="895291"/>
                      <a:pt x="5569198" y="895291"/>
                    </a:cubicBezTo>
                    <a:lnTo>
                      <a:pt x="5553738" y="895291"/>
                    </a:lnTo>
                    <a:cubicBezTo>
                      <a:pt x="5553738" y="895291"/>
                      <a:pt x="5352298" y="895707"/>
                      <a:pt x="5352714" y="895291"/>
                    </a:cubicBezTo>
                    <a:lnTo>
                      <a:pt x="4054439" y="895291"/>
                    </a:lnTo>
                    <a:cubicBezTo>
                      <a:pt x="4043352" y="895863"/>
                      <a:pt x="4032160" y="896175"/>
                      <a:pt x="4020917" y="896175"/>
                    </a:cubicBezTo>
                    <a:lnTo>
                      <a:pt x="643746" y="896175"/>
                    </a:lnTo>
                    <a:cubicBezTo>
                      <a:pt x="295103" y="896175"/>
                      <a:pt x="12462" y="612025"/>
                      <a:pt x="12462" y="261560"/>
                    </a:cubicBezTo>
                    <a:cubicBezTo>
                      <a:pt x="12462" y="220179"/>
                      <a:pt x="16470" y="179735"/>
                      <a:pt x="24017" y="140540"/>
                    </a:cubicBezTo>
                    <a:cubicBezTo>
                      <a:pt x="-4663" y="227050"/>
                      <a:pt x="334" y="332350"/>
                      <a:pt x="334" y="428126"/>
                    </a:cubicBezTo>
                    <a:cubicBezTo>
                      <a:pt x="334" y="778643"/>
                      <a:pt x="283287" y="1062741"/>
                      <a:pt x="632294" y="1062741"/>
                    </a:cubicBezTo>
                    <a:lnTo>
                      <a:pt x="4013058" y="1062741"/>
                    </a:lnTo>
                    <a:cubicBezTo>
                      <a:pt x="4024300" y="1062741"/>
                      <a:pt x="4035492" y="1062429"/>
                      <a:pt x="4046579" y="1061856"/>
                    </a:cubicBezTo>
                    <a:lnTo>
                      <a:pt x="5346259" y="1061856"/>
                    </a:lnTo>
                    <a:cubicBezTo>
                      <a:pt x="5345843" y="1062273"/>
                      <a:pt x="5547492" y="1061856"/>
                      <a:pt x="5547492" y="1061856"/>
                    </a:cubicBezTo>
                    <a:lnTo>
                      <a:pt x="5562951" y="1061856"/>
                    </a:lnTo>
                    <a:cubicBezTo>
                      <a:pt x="6083833" y="1061856"/>
                      <a:pt x="6516852" y="674643"/>
                      <a:pt x="6516852" y="208207"/>
                    </a:cubicBezTo>
                    <a:cubicBezTo>
                      <a:pt x="6516852" y="64857"/>
                      <a:pt x="6511647" y="0"/>
                      <a:pt x="6511647" y="0"/>
                    </a:cubicBezTo>
                    <a:close/>
                  </a:path>
                </a:pathLst>
              </a:custGeom>
              <a:solidFill>
                <a:srgbClr val="0F47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grpSp>
            <p:nvGrpSpPr>
              <p:cNvPr id="1318" name="Google Shape;1318;p149"/>
              <p:cNvGrpSpPr/>
              <p:nvPr/>
            </p:nvGrpSpPr>
            <p:grpSpPr>
              <a:xfrm>
                <a:off x="7630080" y="1642576"/>
                <a:ext cx="421775" cy="469819"/>
                <a:chOff x="7630080" y="1642576"/>
                <a:chExt cx="421775" cy="469819"/>
              </a:xfrm>
            </p:grpSpPr>
            <p:sp>
              <p:nvSpPr>
                <p:cNvPr id="1319" name="Google Shape;1319;p149"/>
                <p:cNvSpPr/>
                <p:nvPr/>
              </p:nvSpPr>
              <p:spPr>
                <a:xfrm>
                  <a:off x="7630080" y="1642680"/>
                  <a:ext cx="416569" cy="469715"/>
                </a:xfrm>
                <a:custGeom>
                  <a:avLst/>
                  <a:gdLst/>
                  <a:ahLst/>
                  <a:cxnLst/>
                  <a:rect l="l" t="t" r="r" b="b"/>
                  <a:pathLst>
                    <a:path w="416569" h="469715" extrusionOk="0">
                      <a:moveTo>
                        <a:pt x="57257" y="381279"/>
                      </a:moveTo>
                      <a:cubicBezTo>
                        <a:pt x="20821" y="381279"/>
                        <a:pt x="0" y="407305"/>
                        <a:pt x="0" y="443741"/>
                      </a:cubicBezTo>
                      <a:cubicBezTo>
                        <a:pt x="0" y="446656"/>
                        <a:pt x="2342" y="458212"/>
                        <a:pt x="9577" y="469715"/>
                      </a:cubicBezTo>
                      <a:cubicBezTo>
                        <a:pt x="23267" y="455089"/>
                        <a:pt x="42422" y="444939"/>
                        <a:pt x="61993" y="444939"/>
                      </a:cubicBezTo>
                      <a:lnTo>
                        <a:pt x="63607" y="445251"/>
                      </a:lnTo>
                      <a:cubicBezTo>
                        <a:pt x="259530" y="445251"/>
                        <a:pt x="416570" y="273428"/>
                        <a:pt x="416570" y="61421"/>
                      </a:cubicBezTo>
                      <a:lnTo>
                        <a:pt x="416570" y="0"/>
                      </a:lnTo>
                      <a:cubicBezTo>
                        <a:pt x="416570" y="211955"/>
                        <a:pt x="253179" y="381227"/>
                        <a:pt x="57257" y="381227"/>
                      </a:cubicBezTo>
                      <a:close/>
                    </a:path>
                  </a:pathLst>
                </a:custGeom>
                <a:solidFill>
                  <a:srgbClr val="0F47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20" name="Google Shape;1320;p149"/>
                <p:cNvSpPr/>
                <p:nvPr/>
              </p:nvSpPr>
              <p:spPr>
                <a:xfrm>
                  <a:off x="8046650" y="1642576"/>
                  <a:ext cx="5205" cy="104"/>
                </a:xfrm>
                <a:custGeom>
                  <a:avLst/>
                  <a:gdLst/>
                  <a:ahLst/>
                  <a:cxnLst/>
                  <a:rect l="l" t="t" r="r" b="b"/>
                  <a:pathLst>
                    <a:path w="5205" h="104" extrusionOk="0">
                      <a:moveTo>
                        <a:pt x="0" y="104"/>
                      </a:moveTo>
                      <a:lnTo>
                        <a:pt x="0" y="0"/>
                      </a:lnTo>
                      <a:lnTo>
                        <a:pt x="0" y="0"/>
                      </a:lnTo>
                      <a:cubicBezTo>
                        <a:pt x="0" y="0"/>
                        <a:pt x="0" y="52"/>
                        <a:pt x="0" y="104"/>
                      </a:cubicBezTo>
                      <a:close/>
                    </a:path>
                  </a:pathLst>
                </a:custGeom>
                <a:solidFill>
                  <a:srgbClr val="0F47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grpSp>
          <p:sp>
            <p:nvSpPr>
              <p:cNvPr id="1321" name="Google Shape;1321;p149"/>
              <p:cNvSpPr/>
              <p:nvPr/>
            </p:nvSpPr>
            <p:spPr>
              <a:xfrm>
                <a:off x="2902789" y="2007251"/>
                <a:ext cx="1061960" cy="1595959"/>
              </a:xfrm>
              <a:custGeom>
                <a:avLst/>
                <a:gdLst/>
                <a:ahLst/>
                <a:cxnLst/>
                <a:rect l="l" t="t" r="r" b="b"/>
                <a:pathLst>
                  <a:path w="1061960" h="1595959" extrusionOk="0">
                    <a:moveTo>
                      <a:pt x="650335" y="1419712"/>
                    </a:moveTo>
                    <a:cubicBezTo>
                      <a:pt x="703792" y="1443084"/>
                      <a:pt x="761049" y="1459272"/>
                      <a:pt x="820961" y="1467027"/>
                    </a:cubicBezTo>
                    <a:cubicBezTo>
                      <a:pt x="865257" y="1475147"/>
                      <a:pt x="910542" y="1480353"/>
                      <a:pt x="956712" y="1482539"/>
                    </a:cubicBezTo>
                    <a:cubicBezTo>
                      <a:pt x="999758" y="1501798"/>
                      <a:pt x="1028960" y="1545157"/>
                      <a:pt x="1030573" y="1595960"/>
                    </a:cubicBezTo>
                    <a:cubicBezTo>
                      <a:pt x="1050093" y="1573421"/>
                      <a:pt x="1061960" y="1544012"/>
                      <a:pt x="1061960" y="1511792"/>
                    </a:cubicBezTo>
                    <a:cubicBezTo>
                      <a:pt x="1061960" y="1459115"/>
                      <a:pt x="1032187" y="1413883"/>
                      <a:pt x="987943" y="1394103"/>
                    </a:cubicBezTo>
                    <a:cubicBezTo>
                      <a:pt x="941825" y="1391969"/>
                      <a:pt x="896488" y="1386712"/>
                      <a:pt x="852192" y="1378591"/>
                    </a:cubicBezTo>
                    <a:cubicBezTo>
                      <a:pt x="792280" y="1370836"/>
                      <a:pt x="735023" y="1354648"/>
                      <a:pt x="681566" y="1331276"/>
                    </a:cubicBezTo>
                    <a:cubicBezTo>
                      <a:pt x="301015" y="1187874"/>
                      <a:pt x="31231" y="815964"/>
                      <a:pt x="31231" y="346665"/>
                    </a:cubicBezTo>
                    <a:cubicBezTo>
                      <a:pt x="31231" y="225384"/>
                      <a:pt x="49397" y="108840"/>
                      <a:pt x="82866" y="0"/>
                    </a:cubicBezTo>
                    <a:cubicBezTo>
                      <a:pt x="29565" y="133201"/>
                      <a:pt x="0" y="280299"/>
                      <a:pt x="0" y="435153"/>
                    </a:cubicBezTo>
                    <a:cubicBezTo>
                      <a:pt x="0" y="904452"/>
                      <a:pt x="269784" y="1276310"/>
                      <a:pt x="650335" y="1419764"/>
                    </a:cubicBezTo>
                    <a:close/>
                  </a:path>
                </a:pathLst>
              </a:custGeom>
              <a:solidFill>
                <a:srgbClr val="0F47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22" name="Google Shape;1322;p149"/>
              <p:cNvSpPr/>
              <p:nvPr/>
            </p:nvSpPr>
            <p:spPr>
              <a:xfrm>
                <a:off x="8317527" y="5479365"/>
                <a:ext cx="260" cy="15719"/>
              </a:xfrm>
              <a:custGeom>
                <a:avLst/>
                <a:gdLst/>
                <a:ahLst/>
                <a:cxnLst/>
                <a:rect l="l" t="t" r="r" b="b"/>
                <a:pathLst>
                  <a:path w="260" h="15719" extrusionOk="0">
                    <a:moveTo>
                      <a:pt x="261" y="0"/>
                    </a:moveTo>
                    <a:lnTo>
                      <a:pt x="0" y="0"/>
                    </a:lnTo>
                    <a:cubicBezTo>
                      <a:pt x="104" y="5205"/>
                      <a:pt x="261" y="10462"/>
                      <a:pt x="261" y="15719"/>
                    </a:cubicBezTo>
                    <a:lnTo>
                      <a:pt x="261" y="0"/>
                    </a:lnTo>
                    <a:close/>
                  </a:path>
                </a:pathLst>
              </a:custGeom>
              <a:solidFill>
                <a:srgbClr val="0F47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23" name="Google Shape;1323;p149"/>
              <p:cNvSpPr/>
              <p:nvPr/>
            </p:nvSpPr>
            <p:spPr>
              <a:xfrm rot="-5386200">
                <a:off x="6012497" y="5261291"/>
                <a:ext cx="415217" cy="3175"/>
              </a:xfrm>
              <a:custGeom>
                <a:avLst/>
                <a:gdLst/>
                <a:ahLst/>
                <a:cxnLst/>
                <a:rect l="l" t="t" r="r" b="b"/>
                <a:pathLst>
                  <a:path w="415217" h="3175" extrusionOk="0">
                    <a:moveTo>
                      <a:pt x="0" y="0"/>
                    </a:moveTo>
                    <a:lnTo>
                      <a:pt x="415217" y="0"/>
                    </a:lnTo>
                    <a:lnTo>
                      <a:pt x="415217" y="3175"/>
                    </a:lnTo>
                    <a:lnTo>
                      <a:pt x="0" y="3175"/>
                    </a:lnTo>
                    <a:close/>
                  </a:path>
                </a:pathLst>
              </a:custGeom>
              <a:solidFill>
                <a:srgbClr val="00B9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24" name="Google Shape;1324;p149"/>
              <p:cNvSpPr/>
              <p:nvPr/>
            </p:nvSpPr>
            <p:spPr>
              <a:xfrm>
                <a:off x="4746574" y="2091679"/>
                <a:ext cx="2471358" cy="1511895"/>
              </a:xfrm>
              <a:custGeom>
                <a:avLst/>
                <a:gdLst/>
                <a:ahLst/>
                <a:cxnLst/>
                <a:rect l="l" t="t" r="r" b="b"/>
                <a:pathLst>
                  <a:path w="2471358" h="1511895" extrusionOk="0">
                    <a:moveTo>
                      <a:pt x="204192" y="389608"/>
                    </a:moveTo>
                    <a:cubicBezTo>
                      <a:pt x="-18694" y="382945"/>
                      <a:pt x="409" y="662671"/>
                      <a:pt x="409" y="662671"/>
                    </a:cubicBezTo>
                    <a:lnTo>
                      <a:pt x="409" y="1410447"/>
                    </a:lnTo>
                    <a:lnTo>
                      <a:pt x="3584" y="1405294"/>
                    </a:lnTo>
                    <a:lnTo>
                      <a:pt x="3584" y="1265431"/>
                    </a:lnTo>
                    <a:cubicBezTo>
                      <a:pt x="3584" y="1265431"/>
                      <a:pt x="-15519" y="1112242"/>
                      <a:pt x="150058" y="1112242"/>
                    </a:cubicBezTo>
                    <a:lnTo>
                      <a:pt x="1423713" y="1112242"/>
                    </a:lnTo>
                    <a:cubicBezTo>
                      <a:pt x="1423713" y="1112242"/>
                      <a:pt x="1544733" y="1098917"/>
                      <a:pt x="1544733" y="1185531"/>
                    </a:cubicBezTo>
                    <a:lnTo>
                      <a:pt x="1544733" y="1405346"/>
                    </a:lnTo>
                    <a:cubicBezTo>
                      <a:pt x="1544733" y="1405346"/>
                      <a:pt x="1538383" y="1511896"/>
                      <a:pt x="1646651" y="1511896"/>
                    </a:cubicBezTo>
                    <a:lnTo>
                      <a:pt x="2082897" y="1511896"/>
                    </a:lnTo>
                    <a:lnTo>
                      <a:pt x="2082897" y="1255489"/>
                    </a:lnTo>
                    <a:cubicBezTo>
                      <a:pt x="2082897" y="1255489"/>
                      <a:pt x="2057443" y="1042337"/>
                      <a:pt x="2178412" y="1042337"/>
                    </a:cubicBezTo>
                    <a:lnTo>
                      <a:pt x="2471359" y="1042337"/>
                    </a:lnTo>
                    <a:cubicBezTo>
                      <a:pt x="2471359" y="1042337"/>
                      <a:pt x="2420400" y="989036"/>
                      <a:pt x="2420400" y="882486"/>
                    </a:cubicBezTo>
                    <a:lnTo>
                      <a:pt x="2420400" y="735960"/>
                    </a:lnTo>
                    <a:cubicBezTo>
                      <a:pt x="2420400" y="735960"/>
                      <a:pt x="2433153" y="556121"/>
                      <a:pt x="2242071" y="549459"/>
                    </a:cubicBezTo>
                    <a:lnTo>
                      <a:pt x="1745341" y="549459"/>
                    </a:lnTo>
                    <a:cubicBezTo>
                      <a:pt x="1745341" y="549459"/>
                      <a:pt x="1662526" y="549459"/>
                      <a:pt x="1662526" y="456234"/>
                    </a:cubicBezTo>
                    <a:lnTo>
                      <a:pt x="1662526" y="0"/>
                    </a:lnTo>
                    <a:lnTo>
                      <a:pt x="433428" y="0"/>
                    </a:lnTo>
                    <a:lnTo>
                      <a:pt x="433428" y="163182"/>
                    </a:lnTo>
                    <a:cubicBezTo>
                      <a:pt x="433428" y="316371"/>
                      <a:pt x="427077" y="396322"/>
                      <a:pt x="204192" y="389660"/>
                    </a:cubicBezTo>
                    <a:close/>
                  </a:path>
                </a:pathLst>
              </a:custGeom>
              <a:solidFill>
                <a:srgbClr val="CDD9FC"/>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25" name="Google Shape;1325;p149"/>
              <p:cNvSpPr/>
              <p:nvPr/>
            </p:nvSpPr>
            <p:spPr>
              <a:xfrm>
                <a:off x="3205991" y="2761794"/>
                <a:ext cx="416" cy="19467"/>
              </a:xfrm>
              <a:custGeom>
                <a:avLst/>
                <a:gdLst/>
                <a:ahLst/>
                <a:cxnLst/>
                <a:rect l="l" t="t" r="r" b="b"/>
                <a:pathLst>
                  <a:path w="416" h="19467" extrusionOk="0">
                    <a:moveTo>
                      <a:pt x="0" y="52"/>
                    </a:moveTo>
                    <a:cubicBezTo>
                      <a:pt x="0" y="572"/>
                      <a:pt x="0" y="1093"/>
                      <a:pt x="0" y="1614"/>
                    </a:cubicBezTo>
                    <a:cubicBezTo>
                      <a:pt x="0" y="7495"/>
                      <a:pt x="104" y="13377"/>
                      <a:pt x="260" y="19207"/>
                    </a:cubicBezTo>
                    <a:cubicBezTo>
                      <a:pt x="260" y="19311"/>
                      <a:pt x="364" y="19363"/>
                      <a:pt x="416" y="19467"/>
                    </a:cubicBezTo>
                    <a:cubicBezTo>
                      <a:pt x="208" y="13013"/>
                      <a:pt x="52" y="6506"/>
                      <a:pt x="52" y="0"/>
                    </a:cubicBezTo>
                    <a:close/>
                  </a:path>
                </a:pathLst>
              </a:custGeom>
              <a:solidFill>
                <a:srgbClr val="00B9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26" name="Google Shape;1326;p149"/>
              <p:cNvSpPr/>
              <p:nvPr/>
            </p:nvSpPr>
            <p:spPr>
              <a:xfrm>
                <a:off x="6218747" y="5470672"/>
                <a:ext cx="3227" cy="661786"/>
              </a:xfrm>
              <a:custGeom>
                <a:avLst/>
                <a:gdLst/>
                <a:ahLst/>
                <a:cxnLst/>
                <a:rect l="l" t="t" r="r" b="b"/>
                <a:pathLst>
                  <a:path w="3227" h="661786" extrusionOk="0">
                    <a:moveTo>
                      <a:pt x="0" y="661786"/>
                    </a:moveTo>
                    <a:lnTo>
                      <a:pt x="3071" y="661786"/>
                    </a:lnTo>
                    <a:cubicBezTo>
                      <a:pt x="3071" y="661786"/>
                      <a:pt x="3228" y="655488"/>
                      <a:pt x="3228" y="655488"/>
                    </a:cubicBezTo>
                    <a:lnTo>
                      <a:pt x="3228" y="0"/>
                    </a:lnTo>
                    <a:lnTo>
                      <a:pt x="52" y="0"/>
                    </a:lnTo>
                    <a:cubicBezTo>
                      <a:pt x="52" y="0"/>
                      <a:pt x="52" y="661734"/>
                      <a:pt x="52" y="661734"/>
                    </a:cubicBezTo>
                    <a:close/>
                  </a:path>
                </a:pathLst>
              </a:custGeom>
              <a:solidFill>
                <a:srgbClr val="00B9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27" name="Google Shape;1327;p149"/>
              <p:cNvSpPr/>
              <p:nvPr/>
            </p:nvSpPr>
            <p:spPr>
              <a:xfrm>
                <a:off x="8225812" y="4391118"/>
                <a:ext cx="937" cy="1144"/>
              </a:xfrm>
              <a:custGeom>
                <a:avLst/>
                <a:gdLst/>
                <a:ahLst/>
                <a:cxnLst/>
                <a:rect l="l" t="t" r="r" b="b"/>
                <a:pathLst>
                  <a:path w="937" h="1144" extrusionOk="0">
                    <a:moveTo>
                      <a:pt x="937" y="0"/>
                    </a:moveTo>
                    <a:cubicBezTo>
                      <a:pt x="625" y="364"/>
                      <a:pt x="313" y="781"/>
                      <a:pt x="0" y="1145"/>
                    </a:cubicBezTo>
                    <a:cubicBezTo>
                      <a:pt x="313" y="781"/>
                      <a:pt x="625" y="364"/>
                      <a:pt x="937" y="0"/>
                    </a:cubicBezTo>
                    <a:close/>
                  </a:path>
                </a:pathLst>
              </a:custGeom>
              <a:solidFill>
                <a:srgbClr val="00B9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28" name="Google Shape;1328;p149"/>
              <p:cNvSpPr/>
              <p:nvPr/>
            </p:nvSpPr>
            <p:spPr>
              <a:xfrm>
                <a:off x="8244082" y="4368996"/>
                <a:ext cx="2289" cy="2498"/>
              </a:xfrm>
              <a:custGeom>
                <a:avLst/>
                <a:gdLst/>
                <a:ahLst/>
                <a:cxnLst/>
                <a:rect l="l" t="t" r="r" b="b"/>
                <a:pathLst>
                  <a:path w="2289" h="2498" extrusionOk="0">
                    <a:moveTo>
                      <a:pt x="2290" y="0"/>
                    </a:moveTo>
                    <a:cubicBezTo>
                      <a:pt x="1510" y="833"/>
                      <a:pt x="781" y="1666"/>
                      <a:pt x="0" y="2498"/>
                    </a:cubicBezTo>
                    <a:cubicBezTo>
                      <a:pt x="781" y="1666"/>
                      <a:pt x="1510" y="833"/>
                      <a:pt x="2290" y="0"/>
                    </a:cubicBezTo>
                    <a:close/>
                  </a:path>
                </a:pathLst>
              </a:custGeom>
              <a:solidFill>
                <a:srgbClr val="00B9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29" name="Google Shape;1329;p149"/>
              <p:cNvSpPr/>
              <p:nvPr/>
            </p:nvSpPr>
            <p:spPr>
              <a:xfrm>
                <a:off x="8274324" y="4336932"/>
                <a:ext cx="3955" cy="3747"/>
              </a:xfrm>
              <a:custGeom>
                <a:avLst/>
                <a:gdLst/>
                <a:ahLst/>
                <a:cxnLst/>
                <a:rect l="l" t="t" r="r" b="b"/>
                <a:pathLst>
                  <a:path w="3955" h="3747" extrusionOk="0">
                    <a:moveTo>
                      <a:pt x="3956" y="0"/>
                    </a:moveTo>
                    <a:cubicBezTo>
                      <a:pt x="2655" y="1249"/>
                      <a:pt x="1301" y="2499"/>
                      <a:pt x="0" y="3748"/>
                    </a:cubicBezTo>
                    <a:cubicBezTo>
                      <a:pt x="1301" y="2499"/>
                      <a:pt x="2603" y="1249"/>
                      <a:pt x="3956" y="0"/>
                    </a:cubicBezTo>
                    <a:close/>
                  </a:path>
                </a:pathLst>
              </a:custGeom>
              <a:solidFill>
                <a:srgbClr val="00B9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30" name="Google Shape;1330;p149"/>
              <p:cNvSpPr/>
              <p:nvPr/>
            </p:nvSpPr>
            <p:spPr>
              <a:xfrm>
                <a:off x="8208323" y="4412772"/>
                <a:ext cx="1040" cy="1301"/>
              </a:xfrm>
              <a:custGeom>
                <a:avLst/>
                <a:gdLst/>
                <a:ahLst/>
                <a:cxnLst/>
                <a:rect l="l" t="t" r="r" b="b"/>
                <a:pathLst>
                  <a:path w="1040" h="1301" extrusionOk="0">
                    <a:moveTo>
                      <a:pt x="1041" y="0"/>
                    </a:moveTo>
                    <a:cubicBezTo>
                      <a:pt x="729" y="417"/>
                      <a:pt x="364" y="885"/>
                      <a:pt x="0" y="1301"/>
                    </a:cubicBezTo>
                    <a:cubicBezTo>
                      <a:pt x="312" y="885"/>
                      <a:pt x="677" y="417"/>
                      <a:pt x="1041" y="0"/>
                    </a:cubicBezTo>
                    <a:close/>
                  </a:path>
                </a:pathLst>
              </a:custGeom>
              <a:solidFill>
                <a:srgbClr val="00B9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31" name="Google Shape;1331;p149"/>
              <p:cNvSpPr/>
              <p:nvPr/>
            </p:nvSpPr>
            <p:spPr>
              <a:xfrm>
                <a:off x="8191250" y="4434842"/>
                <a:ext cx="1925" cy="2758"/>
              </a:xfrm>
              <a:custGeom>
                <a:avLst/>
                <a:gdLst/>
                <a:ahLst/>
                <a:cxnLst/>
                <a:rect l="l" t="t" r="r" b="b"/>
                <a:pathLst>
                  <a:path w="1925" h="2758" extrusionOk="0">
                    <a:moveTo>
                      <a:pt x="1926" y="0"/>
                    </a:moveTo>
                    <a:cubicBezTo>
                      <a:pt x="1301" y="937"/>
                      <a:pt x="625" y="1822"/>
                      <a:pt x="0" y="2759"/>
                    </a:cubicBezTo>
                    <a:cubicBezTo>
                      <a:pt x="625" y="1822"/>
                      <a:pt x="1301" y="937"/>
                      <a:pt x="1926" y="0"/>
                    </a:cubicBezTo>
                    <a:close/>
                  </a:path>
                </a:pathLst>
              </a:custGeom>
              <a:solidFill>
                <a:srgbClr val="00B9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32" name="Google Shape;1332;p149"/>
              <p:cNvSpPr/>
              <p:nvPr/>
            </p:nvSpPr>
            <p:spPr>
              <a:xfrm>
                <a:off x="4756909" y="3074917"/>
                <a:ext cx="2097166" cy="1291216"/>
              </a:xfrm>
              <a:custGeom>
                <a:avLst/>
                <a:gdLst/>
                <a:ahLst/>
                <a:cxnLst/>
                <a:rect l="l" t="t" r="r" b="b"/>
                <a:pathLst>
                  <a:path w="2097166" h="1291216" extrusionOk="0">
                    <a:moveTo>
                      <a:pt x="1702718" y="1187165"/>
                    </a:moveTo>
                    <a:lnTo>
                      <a:pt x="2097166" y="1187165"/>
                    </a:lnTo>
                    <a:lnTo>
                      <a:pt x="2097166" y="463073"/>
                    </a:lnTo>
                    <a:lnTo>
                      <a:pt x="1657849" y="463073"/>
                    </a:lnTo>
                    <a:cubicBezTo>
                      <a:pt x="1548801" y="463073"/>
                      <a:pt x="1555255" y="339814"/>
                      <a:pt x="1555255" y="339814"/>
                    </a:cubicBezTo>
                    <a:lnTo>
                      <a:pt x="1555255" y="85593"/>
                    </a:lnTo>
                    <a:cubicBezTo>
                      <a:pt x="1555255" y="-14554"/>
                      <a:pt x="1433402" y="853"/>
                      <a:pt x="1433402" y="853"/>
                    </a:cubicBezTo>
                    <a:lnTo>
                      <a:pt x="150742" y="853"/>
                    </a:lnTo>
                    <a:cubicBezTo>
                      <a:pt x="-15980" y="853"/>
                      <a:pt x="3227" y="178037"/>
                      <a:pt x="3227" y="178037"/>
                    </a:cubicBezTo>
                    <a:lnTo>
                      <a:pt x="3227" y="339814"/>
                    </a:lnTo>
                    <a:lnTo>
                      <a:pt x="0" y="345748"/>
                    </a:lnTo>
                    <a:lnTo>
                      <a:pt x="0" y="521943"/>
                    </a:lnTo>
                    <a:cubicBezTo>
                      <a:pt x="104989" y="551977"/>
                      <a:pt x="90050" y="681326"/>
                      <a:pt x="90050" y="681326"/>
                    </a:cubicBezTo>
                    <a:lnTo>
                      <a:pt x="90050" y="983070"/>
                    </a:lnTo>
                    <a:lnTo>
                      <a:pt x="307834" y="983070"/>
                    </a:lnTo>
                    <a:cubicBezTo>
                      <a:pt x="307834" y="983070"/>
                      <a:pt x="493815" y="983070"/>
                      <a:pt x="500218" y="1144847"/>
                    </a:cubicBezTo>
                    <a:cubicBezTo>
                      <a:pt x="504538" y="1254208"/>
                      <a:pt x="561639" y="1283617"/>
                      <a:pt x="598179" y="1291217"/>
                    </a:cubicBezTo>
                    <a:lnTo>
                      <a:pt x="1507367" y="1291217"/>
                    </a:lnTo>
                    <a:cubicBezTo>
                      <a:pt x="1538963" y="1230993"/>
                      <a:pt x="1597313" y="1184406"/>
                      <a:pt x="1702770" y="1187217"/>
                    </a:cubicBezTo>
                    <a:close/>
                  </a:path>
                </a:pathLst>
              </a:custGeom>
              <a:solidFill>
                <a:srgbClr val="6D90F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33" name="Google Shape;1333;p149"/>
              <p:cNvSpPr/>
              <p:nvPr/>
            </p:nvSpPr>
            <p:spPr>
              <a:xfrm>
                <a:off x="4455470" y="3977174"/>
                <a:ext cx="1821473" cy="1080879"/>
              </a:xfrm>
              <a:custGeom>
                <a:avLst/>
                <a:gdLst/>
                <a:ahLst/>
                <a:cxnLst/>
                <a:rect l="l" t="t" r="r" b="b"/>
                <a:pathLst>
                  <a:path w="1790007" h="1080879" extrusionOk="0">
                    <a:moveTo>
                      <a:pt x="1789955" y="251955"/>
                    </a:moveTo>
                    <a:lnTo>
                      <a:pt x="870773" y="251955"/>
                    </a:lnTo>
                    <a:cubicBezTo>
                      <a:pt x="833816" y="245761"/>
                      <a:pt x="776143" y="221817"/>
                      <a:pt x="771770" y="132653"/>
                    </a:cubicBezTo>
                    <a:cubicBezTo>
                      <a:pt x="765264" y="754"/>
                      <a:pt x="577253" y="754"/>
                      <a:pt x="577253" y="754"/>
                    </a:cubicBezTo>
                    <a:lnTo>
                      <a:pt x="142829" y="754"/>
                    </a:lnTo>
                    <a:cubicBezTo>
                      <a:pt x="142829" y="754"/>
                      <a:pt x="-6300" y="-18089"/>
                      <a:pt x="207" y="132653"/>
                    </a:cubicBezTo>
                    <a:lnTo>
                      <a:pt x="207" y="774347"/>
                    </a:lnTo>
                    <a:lnTo>
                      <a:pt x="273375" y="774347"/>
                    </a:lnTo>
                    <a:cubicBezTo>
                      <a:pt x="283629" y="774972"/>
                      <a:pt x="292686" y="776377"/>
                      <a:pt x="300702" y="778407"/>
                    </a:cubicBezTo>
                    <a:cubicBezTo>
                      <a:pt x="375969" y="797302"/>
                      <a:pt x="360822" y="870643"/>
                      <a:pt x="360822" y="870643"/>
                    </a:cubicBezTo>
                    <a:lnTo>
                      <a:pt x="360822" y="1062402"/>
                    </a:lnTo>
                    <a:lnTo>
                      <a:pt x="360718" y="1078746"/>
                    </a:lnTo>
                    <a:lnTo>
                      <a:pt x="1757371" y="1078746"/>
                    </a:lnTo>
                    <a:lnTo>
                      <a:pt x="1757371" y="1080880"/>
                    </a:lnTo>
                    <a:lnTo>
                      <a:pt x="1760598" y="1080880"/>
                    </a:lnTo>
                    <a:lnTo>
                      <a:pt x="1760598" y="456050"/>
                    </a:lnTo>
                    <a:cubicBezTo>
                      <a:pt x="1760598" y="456050"/>
                      <a:pt x="1734885" y="338934"/>
                      <a:pt x="1788810" y="253829"/>
                    </a:cubicBezTo>
                    <a:cubicBezTo>
                      <a:pt x="1789227" y="253205"/>
                      <a:pt x="1789591" y="252580"/>
                      <a:pt x="1790007" y="251955"/>
                    </a:cubicBezTo>
                    <a:close/>
                  </a:path>
                </a:pathLst>
              </a:custGeom>
              <a:solidFill>
                <a:srgbClr val="71E7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34" name="Google Shape;1334;p149"/>
              <p:cNvSpPr/>
              <p:nvPr/>
            </p:nvSpPr>
            <p:spPr>
              <a:xfrm>
                <a:off x="7799664" y="4367832"/>
                <a:ext cx="2266802" cy="1767603"/>
              </a:xfrm>
              <a:custGeom>
                <a:avLst/>
                <a:gdLst/>
                <a:ahLst/>
                <a:cxnLst/>
                <a:rect l="l" t="t" r="r" b="b"/>
                <a:pathLst>
                  <a:path w="2266802" h="1767603" extrusionOk="0">
                    <a:moveTo>
                      <a:pt x="1322531" y="110662"/>
                    </a:moveTo>
                    <a:lnTo>
                      <a:pt x="493191" y="110662"/>
                    </a:lnTo>
                    <a:cubicBezTo>
                      <a:pt x="434789" y="110662"/>
                      <a:pt x="390180" y="55487"/>
                      <a:pt x="387629" y="0"/>
                    </a:cubicBezTo>
                    <a:cubicBezTo>
                      <a:pt x="385183" y="104"/>
                      <a:pt x="382581" y="208"/>
                      <a:pt x="379926" y="260"/>
                    </a:cubicBezTo>
                    <a:cubicBezTo>
                      <a:pt x="379926" y="364"/>
                      <a:pt x="379822" y="416"/>
                      <a:pt x="379822" y="520"/>
                    </a:cubicBezTo>
                    <a:cubicBezTo>
                      <a:pt x="379717" y="728"/>
                      <a:pt x="379665" y="937"/>
                      <a:pt x="379562" y="1093"/>
                    </a:cubicBezTo>
                    <a:cubicBezTo>
                      <a:pt x="379249" y="1822"/>
                      <a:pt x="378989" y="2603"/>
                      <a:pt x="378677" y="3331"/>
                    </a:cubicBezTo>
                    <a:cubicBezTo>
                      <a:pt x="376335" y="9057"/>
                      <a:pt x="374044" y="14783"/>
                      <a:pt x="371806" y="20560"/>
                    </a:cubicBezTo>
                    <a:cubicBezTo>
                      <a:pt x="371129" y="22278"/>
                      <a:pt x="370505" y="23996"/>
                      <a:pt x="369828" y="25714"/>
                    </a:cubicBezTo>
                    <a:cubicBezTo>
                      <a:pt x="367329" y="32324"/>
                      <a:pt x="364935" y="38987"/>
                      <a:pt x="362645" y="45701"/>
                    </a:cubicBezTo>
                    <a:cubicBezTo>
                      <a:pt x="362489" y="46222"/>
                      <a:pt x="362332" y="46690"/>
                      <a:pt x="362176" y="47211"/>
                    </a:cubicBezTo>
                    <a:cubicBezTo>
                      <a:pt x="360042" y="53509"/>
                      <a:pt x="358012" y="59807"/>
                      <a:pt x="356086" y="66106"/>
                    </a:cubicBezTo>
                    <a:cubicBezTo>
                      <a:pt x="355514" y="67875"/>
                      <a:pt x="354993" y="69697"/>
                      <a:pt x="354472" y="71467"/>
                    </a:cubicBezTo>
                    <a:cubicBezTo>
                      <a:pt x="352494" y="78026"/>
                      <a:pt x="350621" y="84532"/>
                      <a:pt x="348851" y="91143"/>
                    </a:cubicBezTo>
                    <a:cubicBezTo>
                      <a:pt x="348799" y="91403"/>
                      <a:pt x="348695" y="91715"/>
                      <a:pt x="348591" y="91975"/>
                    </a:cubicBezTo>
                    <a:cubicBezTo>
                      <a:pt x="346769" y="98794"/>
                      <a:pt x="345051" y="105717"/>
                      <a:pt x="343438" y="112588"/>
                    </a:cubicBezTo>
                    <a:cubicBezTo>
                      <a:pt x="343021" y="114358"/>
                      <a:pt x="342605" y="116180"/>
                      <a:pt x="342188" y="117949"/>
                    </a:cubicBezTo>
                    <a:cubicBezTo>
                      <a:pt x="340783" y="124039"/>
                      <a:pt x="339482" y="130182"/>
                      <a:pt x="338232" y="136324"/>
                    </a:cubicBezTo>
                    <a:cubicBezTo>
                      <a:pt x="338076" y="137208"/>
                      <a:pt x="337868" y="138093"/>
                      <a:pt x="337660" y="138978"/>
                    </a:cubicBezTo>
                    <a:cubicBezTo>
                      <a:pt x="336306" y="145849"/>
                      <a:pt x="335057" y="152772"/>
                      <a:pt x="333912" y="159747"/>
                    </a:cubicBezTo>
                    <a:cubicBezTo>
                      <a:pt x="333600" y="161517"/>
                      <a:pt x="333340" y="163286"/>
                      <a:pt x="333027" y="165056"/>
                    </a:cubicBezTo>
                    <a:cubicBezTo>
                      <a:pt x="332091" y="170938"/>
                      <a:pt x="331205" y="176872"/>
                      <a:pt x="330425" y="182806"/>
                    </a:cubicBezTo>
                    <a:cubicBezTo>
                      <a:pt x="330268" y="184055"/>
                      <a:pt x="330061" y="185356"/>
                      <a:pt x="329904" y="186606"/>
                    </a:cubicBezTo>
                    <a:cubicBezTo>
                      <a:pt x="329019" y="193528"/>
                      <a:pt x="328238" y="200503"/>
                      <a:pt x="327510" y="207478"/>
                    </a:cubicBezTo>
                    <a:cubicBezTo>
                      <a:pt x="327354" y="209144"/>
                      <a:pt x="327197" y="210810"/>
                      <a:pt x="327041" y="212527"/>
                    </a:cubicBezTo>
                    <a:cubicBezTo>
                      <a:pt x="326521" y="218357"/>
                      <a:pt x="326000" y="224187"/>
                      <a:pt x="325636" y="230017"/>
                    </a:cubicBezTo>
                    <a:cubicBezTo>
                      <a:pt x="325532" y="231526"/>
                      <a:pt x="325428" y="233036"/>
                      <a:pt x="325324" y="234545"/>
                    </a:cubicBezTo>
                    <a:cubicBezTo>
                      <a:pt x="324907" y="241520"/>
                      <a:pt x="324543" y="248495"/>
                      <a:pt x="324334" y="255522"/>
                    </a:cubicBezTo>
                    <a:cubicBezTo>
                      <a:pt x="324334" y="257032"/>
                      <a:pt x="324283" y="258593"/>
                      <a:pt x="324231" y="260103"/>
                    </a:cubicBezTo>
                    <a:cubicBezTo>
                      <a:pt x="324074" y="265932"/>
                      <a:pt x="323970" y="271814"/>
                      <a:pt x="323970" y="277644"/>
                    </a:cubicBezTo>
                    <a:cubicBezTo>
                      <a:pt x="323970" y="279310"/>
                      <a:pt x="323970" y="281028"/>
                      <a:pt x="323970" y="282693"/>
                    </a:cubicBezTo>
                    <a:cubicBezTo>
                      <a:pt x="323970" y="289668"/>
                      <a:pt x="324127" y="296695"/>
                      <a:pt x="324334" y="303670"/>
                    </a:cubicBezTo>
                    <a:cubicBezTo>
                      <a:pt x="324334" y="304971"/>
                      <a:pt x="324439" y="306272"/>
                      <a:pt x="324491" y="307522"/>
                    </a:cubicBezTo>
                    <a:cubicBezTo>
                      <a:pt x="324699" y="313508"/>
                      <a:pt x="325011" y="319442"/>
                      <a:pt x="325376" y="325428"/>
                    </a:cubicBezTo>
                    <a:cubicBezTo>
                      <a:pt x="325480" y="327197"/>
                      <a:pt x="325584" y="329019"/>
                      <a:pt x="325740" y="330789"/>
                    </a:cubicBezTo>
                    <a:cubicBezTo>
                      <a:pt x="326209" y="337816"/>
                      <a:pt x="326781" y="344791"/>
                      <a:pt x="327510" y="351766"/>
                    </a:cubicBezTo>
                    <a:cubicBezTo>
                      <a:pt x="327614" y="352651"/>
                      <a:pt x="327718" y="353536"/>
                      <a:pt x="327822" y="354472"/>
                    </a:cubicBezTo>
                    <a:cubicBezTo>
                      <a:pt x="328447" y="360719"/>
                      <a:pt x="329175" y="366913"/>
                      <a:pt x="330008" y="373159"/>
                    </a:cubicBezTo>
                    <a:cubicBezTo>
                      <a:pt x="330268" y="374981"/>
                      <a:pt x="330477" y="376803"/>
                      <a:pt x="330737" y="378677"/>
                    </a:cubicBezTo>
                    <a:cubicBezTo>
                      <a:pt x="331258" y="382268"/>
                      <a:pt x="331778" y="385860"/>
                      <a:pt x="332298" y="389451"/>
                    </a:cubicBezTo>
                    <a:cubicBezTo>
                      <a:pt x="332819" y="392835"/>
                      <a:pt x="333340" y="396218"/>
                      <a:pt x="333912" y="399601"/>
                    </a:cubicBezTo>
                    <a:cubicBezTo>
                      <a:pt x="333912" y="399862"/>
                      <a:pt x="334016" y="400174"/>
                      <a:pt x="334069" y="400434"/>
                    </a:cubicBezTo>
                    <a:cubicBezTo>
                      <a:pt x="335214" y="407149"/>
                      <a:pt x="336463" y="413864"/>
                      <a:pt x="337816" y="420578"/>
                    </a:cubicBezTo>
                    <a:cubicBezTo>
                      <a:pt x="338180" y="422400"/>
                      <a:pt x="338545" y="424222"/>
                      <a:pt x="338909" y="426044"/>
                    </a:cubicBezTo>
                    <a:cubicBezTo>
                      <a:pt x="340262" y="432498"/>
                      <a:pt x="341668" y="438901"/>
                      <a:pt x="343178" y="445355"/>
                    </a:cubicBezTo>
                    <a:cubicBezTo>
                      <a:pt x="343281" y="445875"/>
                      <a:pt x="343438" y="446448"/>
                      <a:pt x="343542" y="446969"/>
                    </a:cubicBezTo>
                    <a:cubicBezTo>
                      <a:pt x="345155" y="453839"/>
                      <a:pt x="346925" y="460658"/>
                      <a:pt x="348799" y="467477"/>
                    </a:cubicBezTo>
                    <a:cubicBezTo>
                      <a:pt x="349267" y="469247"/>
                      <a:pt x="349788" y="471016"/>
                      <a:pt x="350257" y="472786"/>
                    </a:cubicBezTo>
                    <a:cubicBezTo>
                      <a:pt x="351922" y="478720"/>
                      <a:pt x="353639" y="484654"/>
                      <a:pt x="355462" y="490536"/>
                    </a:cubicBezTo>
                    <a:cubicBezTo>
                      <a:pt x="355774" y="491525"/>
                      <a:pt x="356034" y="492566"/>
                      <a:pt x="356398" y="493555"/>
                    </a:cubicBezTo>
                    <a:cubicBezTo>
                      <a:pt x="358481" y="500270"/>
                      <a:pt x="360719" y="506984"/>
                      <a:pt x="363009" y="513647"/>
                    </a:cubicBezTo>
                    <a:cubicBezTo>
                      <a:pt x="363582" y="515313"/>
                      <a:pt x="364206" y="516978"/>
                      <a:pt x="364779" y="518644"/>
                    </a:cubicBezTo>
                    <a:cubicBezTo>
                      <a:pt x="366757" y="524265"/>
                      <a:pt x="368839" y="529835"/>
                      <a:pt x="370973" y="535405"/>
                    </a:cubicBezTo>
                    <a:cubicBezTo>
                      <a:pt x="371494" y="536706"/>
                      <a:pt x="371962" y="538007"/>
                      <a:pt x="372431" y="539308"/>
                    </a:cubicBezTo>
                    <a:cubicBezTo>
                      <a:pt x="374981" y="545867"/>
                      <a:pt x="377687" y="552373"/>
                      <a:pt x="380446" y="558880"/>
                    </a:cubicBezTo>
                    <a:cubicBezTo>
                      <a:pt x="381123" y="560389"/>
                      <a:pt x="381800" y="561951"/>
                      <a:pt x="382424" y="563461"/>
                    </a:cubicBezTo>
                    <a:cubicBezTo>
                      <a:pt x="384767" y="568874"/>
                      <a:pt x="387213" y="574235"/>
                      <a:pt x="389712" y="579544"/>
                    </a:cubicBezTo>
                    <a:cubicBezTo>
                      <a:pt x="390388" y="581002"/>
                      <a:pt x="391065" y="582459"/>
                      <a:pt x="391742" y="583917"/>
                    </a:cubicBezTo>
                    <a:cubicBezTo>
                      <a:pt x="394761" y="590319"/>
                      <a:pt x="397936" y="596670"/>
                      <a:pt x="401163" y="602968"/>
                    </a:cubicBezTo>
                    <a:cubicBezTo>
                      <a:pt x="401839" y="604269"/>
                      <a:pt x="402516" y="605570"/>
                      <a:pt x="403245" y="606872"/>
                    </a:cubicBezTo>
                    <a:cubicBezTo>
                      <a:pt x="406004" y="612181"/>
                      <a:pt x="408867" y="617438"/>
                      <a:pt x="411782" y="622643"/>
                    </a:cubicBezTo>
                    <a:cubicBezTo>
                      <a:pt x="412615" y="624205"/>
                      <a:pt x="413499" y="625714"/>
                      <a:pt x="414332" y="627276"/>
                    </a:cubicBezTo>
                    <a:cubicBezTo>
                      <a:pt x="417872" y="633470"/>
                      <a:pt x="421463" y="639664"/>
                      <a:pt x="425211" y="645754"/>
                    </a:cubicBezTo>
                    <a:cubicBezTo>
                      <a:pt x="425835" y="646795"/>
                      <a:pt x="426512" y="647784"/>
                      <a:pt x="427137" y="648825"/>
                    </a:cubicBezTo>
                    <a:cubicBezTo>
                      <a:pt x="430364" y="654083"/>
                      <a:pt x="433695" y="659288"/>
                      <a:pt x="437131" y="664493"/>
                    </a:cubicBezTo>
                    <a:cubicBezTo>
                      <a:pt x="438172" y="666054"/>
                      <a:pt x="439161" y="667616"/>
                      <a:pt x="440202" y="669126"/>
                    </a:cubicBezTo>
                    <a:cubicBezTo>
                      <a:pt x="444210" y="675163"/>
                      <a:pt x="448322" y="681097"/>
                      <a:pt x="452538" y="687031"/>
                    </a:cubicBezTo>
                    <a:cubicBezTo>
                      <a:pt x="452955" y="687656"/>
                      <a:pt x="453423" y="688228"/>
                      <a:pt x="453839" y="688853"/>
                    </a:cubicBezTo>
                    <a:cubicBezTo>
                      <a:pt x="457692" y="694215"/>
                      <a:pt x="461699" y="699524"/>
                      <a:pt x="465759" y="704833"/>
                    </a:cubicBezTo>
                    <a:cubicBezTo>
                      <a:pt x="466904" y="706342"/>
                      <a:pt x="468102" y="707852"/>
                      <a:pt x="469247" y="709361"/>
                    </a:cubicBezTo>
                    <a:cubicBezTo>
                      <a:pt x="473775" y="715139"/>
                      <a:pt x="478356" y="720917"/>
                      <a:pt x="483092" y="726591"/>
                    </a:cubicBezTo>
                    <a:lnTo>
                      <a:pt x="482832" y="727215"/>
                    </a:lnTo>
                    <a:cubicBezTo>
                      <a:pt x="486684" y="734659"/>
                      <a:pt x="490380" y="742154"/>
                      <a:pt x="493972" y="749754"/>
                    </a:cubicBezTo>
                    <a:cubicBezTo>
                      <a:pt x="536914" y="840532"/>
                      <a:pt x="562003" y="942553"/>
                      <a:pt x="564449" y="1050561"/>
                    </a:cubicBezTo>
                    <a:cubicBezTo>
                      <a:pt x="564606" y="1056339"/>
                      <a:pt x="564710" y="1062169"/>
                      <a:pt x="564710" y="1067998"/>
                    </a:cubicBezTo>
                    <a:cubicBezTo>
                      <a:pt x="564710" y="1422939"/>
                      <a:pt x="319546" y="1716824"/>
                      <a:pt x="0" y="1767418"/>
                    </a:cubicBezTo>
                    <a:lnTo>
                      <a:pt x="1102613" y="1767418"/>
                    </a:lnTo>
                    <a:cubicBezTo>
                      <a:pt x="1102196" y="1767835"/>
                      <a:pt x="1304522" y="1767418"/>
                      <a:pt x="1304522" y="1767418"/>
                    </a:cubicBezTo>
                    <a:lnTo>
                      <a:pt x="1320033" y="1767418"/>
                    </a:lnTo>
                    <a:cubicBezTo>
                      <a:pt x="1842685" y="1767418"/>
                      <a:pt x="2266803" y="1390355"/>
                      <a:pt x="2266803" y="922045"/>
                    </a:cubicBezTo>
                    <a:cubicBezTo>
                      <a:pt x="2266803" y="453735"/>
                      <a:pt x="1845392" y="110610"/>
                      <a:pt x="1322740" y="1106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35" name="Google Shape;1335;p149"/>
              <p:cNvSpPr/>
              <p:nvPr/>
            </p:nvSpPr>
            <p:spPr>
              <a:xfrm>
                <a:off x="3551042" y="5459689"/>
                <a:ext cx="1093" cy="35395"/>
              </a:xfrm>
              <a:custGeom>
                <a:avLst/>
                <a:gdLst/>
                <a:ahLst/>
                <a:cxnLst/>
                <a:rect l="l" t="t" r="r" b="b"/>
                <a:pathLst>
                  <a:path w="1093" h="35395" extrusionOk="0">
                    <a:moveTo>
                      <a:pt x="0" y="0"/>
                    </a:moveTo>
                    <a:lnTo>
                      <a:pt x="0" y="35395"/>
                    </a:lnTo>
                    <a:cubicBezTo>
                      <a:pt x="0" y="23528"/>
                      <a:pt x="417" y="11712"/>
                      <a:pt x="1093" y="0"/>
                    </a:cubicBezTo>
                    <a:lnTo>
                      <a:pt x="0" y="0"/>
                    </a:lnTo>
                    <a:close/>
                  </a:path>
                </a:pathLst>
              </a:custGeom>
              <a:solidFill>
                <a:srgbClr val="8400E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36" name="Google Shape;1336;p149"/>
              <p:cNvSpPr/>
              <p:nvPr/>
            </p:nvSpPr>
            <p:spPr>
              <a:xfrm>
                <a:off x="3559734" y="4747777"/>
                <a:ext cx="1284829" cy="1384629"/>
              </a:xfrm>
              <a:custGeom>
                <a:avLst/>
                <a:gdLst/>
                <a:ahLst/>
                <a:cxnLst/>
                <a:rect l="l" t="t" r="r" b="b"/>
                <a:pathLst>
                  <a:path w="1283829" h="1384629" extrusionOk="0">
                    <a:moveTo>
                      <a:pt x="1224206" y="5205"/>
                    </a:moveTo>
                    <a:cubicBezTo>
                      <a:pt x="1216346" y="3175"/>
                      <a:pt x="1207549" y="1770"/>
                      <a:pt x="1197555" y="1145"/>
                    </a:cubicBezTo>
                    <a:lnTo>
                      <a:pt x="171094" y="1145"/>
                    </a:lnTo>
                    <a:lnTo>
                      <a:pt x="167971" y="0"/>
                    </a:lnTo>
                    <a:cubicBezTo>
                      <a:pt x="168231" y="1666"/>
                      <a:pt x="168388" y="3383"/>
                      <a:pt x="168596" y="5049"/>
                    </a:cubicBezTo>
                    <a:lnTo>
                      <a:pt x="167659" y="5049"/>
                    </a:lnTo>
                    <a:cubicBezTo>
                      <a:pt x="169064" y="13065"/>
                      <a:pt x="170261" y="21185"/>
                      <a:pt x="171354" y="29305"/>
                    </a:cubicBezTo>
                    <a:cubicBezTo>
                      <a:pt x="173280" y="49605"/>
                      <a:pt x="174321" y="70218"/>
                      <a:pt x="174321" y="91039"/>
                    </a:cubicBezTo>
                    <a:cubicBezTo>
                      <a:pt x="174321" y="111860"/>
                      <a:pt x="173332" y="130910"/>
                      <a:pt x="171563" y="150482"/>
                    </a:cubicBezTo>
                    <a:cubicBezTo>
                      <a:pt x="162974" y="245060"/>
                      <a:pt x="134085" y="333860"/>
                      <a:pt x="89165" y="412406"/>
                    </a:cubicBezTo>
                    <a:lnTo>
                      <a:pt x="88280" y="412510"/>
                    </a:lnTo>
                    <a:cubicBezTo>
                      <a:pt x="32168" y="508598"/>
                      <a:pt x="0" y="620249"/>
                      <a:pt x="0" y="739344"/>
                    </a:cubicBezTo>
                    <a:cubicBezTo>
                      <a:pt x="0" y="770054"/>
                      <a:pt x="2186" y="800244"/>
                      <a:pt x="6298" y="829810"/>
                    </a:cubicBezTo>
                    <a:lnTo>
                      <a:pt x="6298" y="711860"/>
                    </a:lnTo>
                    <a:lnTo>
                      <a:pt x="7339" y="711860"/>
                    </a:lnTo>
                    <a:cubicBezTo>
                      <a:pt x="6715" y="723572"/>
                      <a:pt x="6298" y="735388"/>
                      <a:pt x="6298" y="747255"/>
                    </a:cubicBezTo>
                    <a:cubicBezTo>
                      <a:pt x="6298" y="1099282"/>
                      <a:pt x="293260" y="1384629"/>
                      <a:pt x="647264" y="1384629"/>
                    </a:cubicBezTo>
                    <a:lnTo>
                      <a:pt x="1127233" y="1384629"/>
                    </a:lnTo>
                    <a:lnTo>
                      <a:pt x="1127233" y="599324"/>
                    </a:lnTo>
                    <a:cubicBezTo>
                      <a:pt x="1131137" y="468727"/>
                      <a:pt x="1199585" y="470704"/>
                      <a:pt x="1199585" y="470704"/>
                    </a:cubicBezTo>
                    <a:cubicBezTo>
                      <a:pt x="1275893" y="470704"/>
                      <a:pt x="1264390" y="363217"/>
                      <a:pt x="1264390" y="363217"/>
                    </a:cubicBezTo>
                    <a:lnTo>
                      <a:pt x="1264390" y="305492"/>
                    </a:lnTo>
                    <a:lnTo>
                      <a:pt x="1282504" y="305492"/>
                    </a:lnTo>
                    <a:lnTo>
                      <a:pt x="1282608" y="289148"/>
                    </a:lnTo>
                    <a:lnTo>
                      <a:pt x="1282608" y="97389"/>
                    </a:lnTo>
                    <a:cubicBezTo>
                      <a:pt x="1282608" y="97389"/>
                      <a:pt x="1297391" y="24048"/>
                      <a:pt x="1224102" y="515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37" name="Google Shape;1337;p149"/>
              <p:cNvSpPr/>
              <p:nvPr/>
            </p:nvSpPr>
            <p:spPr>
              <a:xfrm>
                <a:off x="4685198" y="6132458"/>
                <a:ext cx="149492" cy="5621"/>
              </a:xfrm>
              <a:custGeom>
                <a:avLst/>
                <a:gdLst/>
                <a:ahLst/>
                <a:cxnLst/>
                <a:rect l="l" t="t" r="r" b="b"/>
                <a:pathLst>
                  <a:path w="149492" h="5621" extrusionOk="0">
                    <a:moveTo>
                      <a:pt x="0" y="0"/>
                    </a:moveTo>
                    <a:lnTo>
                      <a:pt x="149493" y="0"/>
                    </a:lnTo>
                    <a:lnTo>
                      <a:pt x="149493" y="5622"/>
                    </a:lnTo>
                    <a:lnTo>
                      <a:pt x="0" y="5622"/>
                    </a:lnTo>
                    <a:close/>
                  </a:path>
                </a:pathLst>
              </a:custGeom>
              <a:solidFill>
                <a:srgbClr val="3B89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38" name="Google Shape;1338;p149"/>
              <p:cNvSpPr/>
              <p:nvPr/>
            </p:nvSpPr>
            <p:spPr>
              <a:xfrm>
                <a:off x="4824020" y="5053373"/>
                <a:ext cx="18322" cy="2134"/>
              </a:xfrm>
              <a:custGeom>
                <a:avLst/>
                <a:gdLst/>
                <a:ahLst/>
                <a:cxnLst/>
                <a:rect l="l" t="t" r="r" b="b"/>
                <a:pathLst>
                  <a:path w="18322" h="2134" extrusionOk="0">
                    <a:moveTo>
                      <a:pt x="0" y="0"/>
                    </a:moveTo>
                    <a:lnTo>
                      <a:pt x="18322" y="0"/>
                    </a:lnTo>
                    <a:lnTo>
                      <a:pt x="18322" y="2134"/>
                    </a:lnTo>
                    <a:lnTo>
                      <a:pt x="0" y="2134"/>
                    </a:lnTo>
                    <a:close/>
                  </a:path>
                </a:pathLst>
              </a:custGeom>
              <a:solidFill>
                <a:srgbClr val="3B89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39" name="Google Shape;1339;p149"/>
              <p:cNvSpPr/>
              <p:nvPr/>
            </p:nvSpPr>
            <p:spPr>
              <a:xfrm>
                <a:off x="8659611" y="2125981"/>
                <a:ext cx="6402" cy="5205"/>
              </a:xfrm>
              <a:custGeom>
                <a:avLst/>
                <a:gdLst/>
                <a:ahLst/>
                <a:cxnLst/>
                <a:rect l="l" t="t" r="r" b="b"/>
                <a:pathLst>
                  <a:path w="6402" h="5205" extrusionOk="0">
                    <a:moveTo>
                      <a:pt x="6402" y="0"/>
                    </a:moveTo>
                    <a:cubicBezTo>
                      <a:pt x="6402" y="0"/>
                      <a:pt x="3227" y="0"/>
                      <a:pt x="0" y="0"/>
                    </a:cubicBezTo>
                    <a:lnTo>
                      <a:pt x="0" y="0"/>
                    </a:lnTo>
                    <a:cubicBezTo>
                      <a:pt x="0" y="0"/>
                      <a:pt x="6402" y="0"/>
                      <a:pt x="6402" y="0"/>
                    </a:cubicBezTo>
                    <a:close/>
                  </a:path>
                </a:pathLst>
              </a:custGeom>
              <a:solidFill>
                <a:srgbClr val="3B6A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40" name="Google Shape;1340;p149"/>
              <p:cNvSpPr/>
              <p:nvPr/>
            </p:nvSpPr>
            <p:spPr>
              <a:xfrm>
                <a:off x="8263289" y="4340680"/>
                <a:ext cx="11087" cy="10826"/>
              </a:xfrm>
              <a:custGeom>
                <a:avLst/>
                <a:gdLst/>
                <a:ahLst/>
                <a:cxnLst/>
                <a:rect l="l" t="t" r="r" b="b"/>
                <a:pathLst>
                  <a:path w="11087" h="10826" extrusionOk="0">
                    <a:moveTo>
                      <a:pt x="833" y="9942"/>
                    </a:moveTo>
                    <a:cubicBezTo>
                      <a:pt x="521" y="10254"/>
                      <a:pt x="261" y="10514"/>
                      <a:pt x="0" y="10827"/>
                    </a:cubicBezTo>
                    <a:cubicBezTo>
                      <a:pt x="3644" y="7183"/>
                      <a:pt x="7339" y="3539"/>
                      <a:pt x="11087" y="0"/>
                    </a:cubicBezTo>
                    <a:cubicBezTo>
                      <a:pt x="7652" y="3279"/>
                      <a:pt x="4216" y="6610"/>
                      <a:pt x="885" y="9942"/>
                    </a:cubicBezTo>
                    <a:close/>
                  </a:path>
                </a:pathLst>
              </a:custGeom>
              <a:solidFill>
                <a:srgbClr val="3B6A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41" name="Google Shape;1341;p149"/>
              <p:cNvSpPr/>
              <p:nvPr/>
            </p:nvSpPr>
            <p:spPr>
              <a:xfrm>
                <a:off x="8260895" y="4350622"/>
                <a:ext cx="3227" cy="3227"/>
              </a:xfrm>
              <a:custGeom>
                <a:avLst/>
                <a:gdLst/>
                <a:ahLst/>
                <a:cxnLst/>
                <a:rect l="l" t="t" r="r" b="b"/>
                <a:pathLst>
                  <a:path w="3227" h="3227" extrusionOk="0">
                    <a:moveTo>
                      <a:pt x="0" y="3227"/>
                    </a:moveTo>
                    <a:cubicBezTo>
                      <a:pt x="781" y="2447"/>
                      <a:pt x="1614" y="1666"/>
                      <a:pt x="2394" y="885"/>
                    </a:cubicBezTo>
                    <a:cubicBezTo>
                      <a:pt x="2707" y="572"/>
                      <a:pt x="2967" y="312"/>
                      <a:pt x="3227" y="0"/>
                    </a:cubicBezTo>
                    <a:cubicBezTo>
                      <a:pt x="2134" y="1093"/>
                      <a:pt x="1041" y="2134"/>
                      <a:pt x="0" y="3227"/>
                    </a:cubicBezTo>
                    <a:close/>
                  </a:path>
                </a:pathLst>
              </a:custGeom>
              <a:solidFill>
                <a:srgbClr val="3B6A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42" name="Google Shape;1342;p149"/>
              <p:cNvSpPr/>
              <p:nvPr/>
            </p:nvSpPr>
            <p:spPr>
              <a:xfrm>
                <a:off x="8653470" y="2125942"/>
                <a:ext cx="6193" cy="39"/>
              </a:xfrm>
              <a:custGeom>
                <a:avLst/>
                <a:gdLst/>
                <a:ahLst/>
                <a:cxnLst/>
                <a:rect l="l" t="t" r="r" b="b"/>
                <a:pathLst>
                  <a:path w="6193" h="39" extrusionOk="0">
                    <a:moveTo>
                      <a:pt x="0" y="39"/>
                    </a:moveTo>
                    <a:lnTo>
                      <a:pt x="6194" y="39"/>
                    </a:lnTo>
                    <a:cubicBezTo>
                      <a:pt x="3331" y="-13"/>
                      <a:pt x="572" y="-13"/>
                      <a:pt x="0" y="39"/>
                    </a:cubicBezTo>
                    <a:close/>
                  </a:path>
                </a:pathLst>
              </a:custGeom>
              <a:solidFill>
                <a:srgbClr val="3B6A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grpSp>
            <p:nvGrpSpPr>
              <p:cNvPr id="1343" name="Google Shape;1343;p149"/>
              <p:cNvGrpSpPr/>
              <p:nvPr/>
            </p:nvGrpSpPr>
            <p:grpSpPr>
              <a:xfrm>
                <a:off x="8182020" y="2138422"/>
                <a:ext cx="1426286" cy="2227711"/>
                <a:chOff x="8182020" y="2138422"/>
                <a:chExt cx="1426286" cy="2227711"/>
              </a:xfrm>
            </p:grpSpPr>
            <p:sp>
              <p:nvSpPr>
                <p:cNvPr id="1344" name="Google Shape;1344;p149"/>
                <p:cNvSpPr/>
                <p:nvPr/>
              </p:nvSpPr>
              <p:spPr>
                <a:xfrm>
                  <a:off x="8182140" y="4360733"/>
                  <a:ext cx="390" cy="351"/>
                </a:xfrm>
                <a:custGeom>
                  <a:avLst/>
                  <a:gdLst/>
                  <a:ahLst/>
                  <a:cxnLst/>
                  <a:rect l="l" t="t" r="r" b="b"/>
                  <a:pathLst>
                    <a:path w="390" h="351" extrusionOk="0">
                      <a:moveTo>
                        <a:pt x="156" y="195"/>
                      </a:moveTo>
                      <a:cubicBezTo>
                        <a:pt x="156" y="195"/>
                        <a:pt x="156" y="195"/>
                        <a:pt x="0" y="351"/>
                      </a:cubicBezTo>
                      <a:cubicBezTo>
                        <a:pt x="572" y="-169"/>
                        <a:pt x="416" y="-13"/>
                        <a:pt x="156" y="195"/>
                      </a:cubicBezTo>
                      <a:close/>
                    </a:path>
                  </a:pathLst>
                </a:custGeom>
                <a:solidFill>
                  <a:srgbClr val="3B6A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45" name="Google Shape;1345;p149"/>
                <p:cNvSpPr/>
                <p:nvPr/>
              </p:nvSpPr>
              <p:spPr>
                <a:xfrm>
                  <a:off x="8182020" y="4361084"/>
                  <a:ext cx="120" cy="120"/>
                </a:xfrm>
                <a:custGeom>
                  <a:avLst/>
                  <a:gdLst/>
                  <a:ahLst/>
                  <a:cxnLst/>
                  <a:rect l="l" t="t" r="r" b="b"/>
                  <a:pathLst>
                    <a:path w="120" h="120" extrusionOk="0">
                      <a:moveTo>
                        <a:pt x="120" y="0"/>
                      </a:moveTo>
                      <a:cubicBezTo>
                        <a:pt x="120" y="0"/>
                        <a:pt x="120" y="0"/>
                        <a:pt x="120" y="0"/>
                      </a:cubicBezTo>
                      <a:cubicBezTo>
                        <a:pt x="16" y="104"/>
                        <a:pt x="-88" y="208"/>
                        <a:pt x="120" y="0"/>
                      </a:cubicBezTo>
                      <a:close/>
                    </a:path>
                  </a:pathLst>
                </a:custGeom>
                <a:solidFill>
                  <a:srgbClr val="3B6A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46" name="Google Shape;1346;p149"/>
                <p:cNvSpPr/>
                <p:nvPr/>
              </p:nvSpPr>
              <p:spPr>
                <a:xfrm>
                  <a:off x="8203125" y="2138422"/>
                  <a:ext cx="1405181" cy="2133810"/>
                </a:xfrm>
                <a:custGeom>
                  <a:avLst/>
                  <a:gdLst/>
                  <a:ahLst/>
                  <a:cxnLst/>
                  <a:rect l="l" t="t" r="r" b="b"/>
                  <a:pathLst>
                    <a:path w="1405181" h="2133810" extrusionOk="0">
                      <a:moveTo>
                        <a:pt x="334633" y="52"/>
                      </a:moveTo>
                      <a:lnTo>
                        <a:pt x="308191" y="52"/>
                      </a:lnTo>
                      <a:cubicBezTo>
                        <a:pt x="308191" y="52"/>
                        <a:pt x="307983" y="52"/>
                        <a:pt x="307983" y="52"/>
                      </a:cubicBezTo>
                      <a:lnTo>
                        <a:pt x="307983" y="272335"/>
                      </a:lnTo>
                      <a:cubicBezTo>
                        <a:pt x="307879" y="274105"/>
                        <a:pt x="307827" y="275822"/>
                        <a:pt x="307722" y="277540"/>
                      </a:cubicBezTo>
                      <a:cubicBezTo>
                        <a:pt x="292367" y="553935"/>
                        <a:pt x="107531" y="547741"/>
                        <a:pt x="47880" y="547741"/>
                      </a:cubicBezTo>
                      <a:cubicBezTo>
                        <a:pt x="-11772" y="547741"/>
                        <a:pt x="1189" y="647888"/>
                        <a:pt x="1189" y="647888"/>
                      </a:cubicBezTo>
                      <a:cubicBezTo>
                        <a:pt x="1189" y="647888"/>
                        <a:pt x="5614" y="808885"/>
                        <a:pt x="3688" y="899559"/>
                      </a:cubicBezTo>
                      <a:lnTo>
                        <a:pt x="11704" y="899559"/>
                      </a:lnTo>
                      <a:lnTo>
                        <a:pt x="11704" y="2133811"/>
                      </a:lnTo>
                      <a:cubicBezTo>
                        <a:pt x="78799" y="2055941"/>
                        <a:pt x="204816" y="2041627"/>
                        <a:pt x="326252" y="2033819"/>
                      </a:cubicBezTo>
                      <a:lnTo>
                        <a:pt x="334685" y="2031165"/>
                      </a:lnTo>
                      <a:cubicBezTo>
                        <a:pt x="916156" y="2031165"/>
                        <a:pt x="1389359" y="1591327"/>
                        <a:pt x="1404766" y="1043170"/>
                      </a:cubicBezTo>
                      <a:cubicBezTo>
                        <a:pt x="1405026" y="1034009"/>
                        <a:pt x="1405182" y="1024795"/>
                        <a:pt x="1405182" y="1015582"/>
                      </a:cubicBezTo>
                      <a:cubicBezTo>
                        <a:pt x="1405182" y="454724"/>
                        <a:pt x="925889" y="0"/>
                        <a:pt x="334685" y="0"/>
                      </a:cubicBezTo>
                      <a:close/>
                    </a:path>
                  </a:pathLst>
                </a:custGeom>
                <a:solidFill>
                  <a:srgbClr val="C4CFE7"/>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47" name="Google Shape;1347;p149"/>
                <p:cNvSpPr/>
                <p:nvPr/>
              </p:nvSpPr>
              <p:spPr>
                <a:xfrm>
                  <a:off x="8182297" y="4360928"/>
                  <a:ext cx="5205" cy="5205"/>
                </a:xfrm>
                <a:custGeom>
                  <a:avLst/>
                  <a:gdLst/>
                  <a:ahLst/>
                  <a:cxnLst/>
                  <a:rect l="l" t="t" r="r" b="b"/>
                  <a:pathLst>
                    <a:path w="5205" h="5205" extrusionOk="0">
                      <a:moveTo>
                        <a:pt x="0" y="0"/>
                      </a:moveTo>
                      <a:lnTo>
                        <a:pt x="0" y="0"/>
                      </a:lnTo>
                      <a:lnTo>
                        <a:pt x="0" y="0"/>
                      </a:lnTo>
                      <a:lnTo>
                        <a:pt x="0" y="0"/>
                      </a:lnTo>
                      <a:close/>
                    </a:path>
                  </a:pathLst>
                </a:custGeom>
                <a:solidFill>
                  <a:srgbClr val="3B6A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grpSp>
          <p:sp>
            <p:nvSpPr>
              <p:cNvPr id="1348" name="Google Shape;1348;p149"/>
              <p:cNvSpPr/>
              <p:nvPr/>
            </p:nvSpPr>
            <p:spPr>
              <a:xfrm>
                <a:off x="2140175" y="3594414"/>
                <a:ext cx="2707960" cy="1158413"/>
              </a:xfrm>
              <a:custGeom>
                <a:avLst/>
                <a:gdLst/>
                <a:ahLst/>
                <a:cxnLst/>
                <a:rect l="l" t="t" r="r" b="b"/>
                <a:pathLst>
                  <a:path w="2712384" h="1158412" extrusionOk="0">
                    <a:moveTo>
                      <a:pt x="2620026" y="5101"/>
                    </a:moveTo>
                    <a:cubicBezTo>
                      <a:pt x="2610241" y="2863"/>
                      <a:pt x="2599414" y="1249"/>
                      <a:pt x="2587442" y="521"/>
                    </a:cubicBezTo>
                    <a:cubicBezTo>
                      <a:pt x="2582289" y="208"/>
                      <a:pt x="2576979" y="0"/>
                      <a:pt x="2571410" y="0"/>
                    </a:cubicBezTo>
                    <a:lnTo>
                      <a:pt x="1822957" y="0"/>
                    </a:lnTo>
                    <a:cubicBezTo>
                      <a:pt x="1820615" y="3800"/>
                      <a:pt x="1818117" y="7495"/>
                      <a:pt x="1815410" y="11035"/>
                    </a:cubicBezTo>
                    <a:lnTo>
                      <a:pt x="1813120" y="11035"/>
                    </a:lnTo>
                    <a:lnTo>
                      <a:pt x="1813432" y="10671"/>
                    </a:lnTo>
                    <a:cubicBezTo>
                      <a:pt x="1816191" y="7235"/>
                      <a:pt x="1818689" y="3644"/>
                      <a:pt x="1821084" y="0"/>
                    </a:cubicBezTo>
                    <a:lnTo>
                      <a:pt x="1818637" y="0"/>
                    </a:lnTo>
                    <a:lnTo>
                      <a:pt x="1805624" y="16761"/>
                    </a:lnTo>
                    <a:cubicBezTo>
                      <a:pt x="1794954" y="26599"/>
                      <a:pt x="1779390" y="41433"/>
                      <a:pt x="1766533" y="48148"/>
                    </a:cubicBezTo>
                    <a:cubicBezTo>
                      <a:pt x="1753677" y="54863"/>
                      <a:pt x="1735302" y="57465"/>
                      <a:pt x="1720936" y="60692"/>
                    </a:cubicBezTo>
                    <a:lnTo>
                      <a:pt x="1701364" y="62879"/>
                    </a:lnTo>
                    <a:lnTo>
                      <a:pt x="1662534" y="62722"/>
                    </a:lnTo>
                    <a:lnTo>
                      <a:pt x="299766" y="62722"/>
                    </a:lnTo>
                    <a:cubicBezTo>
                      <a:pt x="190457" y="62722"/>
                      <a:pt x="94890" y="118990"/>
                      <a:pt x="42630" y="201961"/>
                    </a:cubicBezTo>
                    <a:cubicBezTo>
                      <a:pt x="15720" y="241468"/>
                      <a:pt x="0" y="288835"/>
                      <a:pt x="0" y="339794"/>
                    </a:cubicBezTo>
                    <a:cubicBezTo>
                      <a:pt x="0" y="383674"/>
                      <a:pt x="11660" y="424899"/>
                      <a:pt x="32116" y="460762"/>
                    </a:cubicBezTo>
                    <a:cubicBezTo>
                      <a:pt x="58819" y="517915"/>
                      <a:pt x="105093" y="565074"/>
                      <a:pt x="163078" y="594796"/>
                    </a:cubicBezTo>
                    <a:cubicBezTo>
                      <a:pt x="205709" y="615877"/>
                      <a:pt x="254117" y="627901"/>
                      <a:pt x="305023" y="627901"/>
                    </a:cubicBezTo>
                    <a:lnTo>
                      <a:pt x="1017873" y="627901"/>
                    </a:lnTo>
                    <a:cubicBezTo>
                      <a:pt x="1054465" y="627901"/>
                      <a:pt x="1090381" y="630764"/>
                      <a:pt x="1125412" y="636021"/>
                    </a:cubicBezTo>
                    <a:cubicBezTo>
                      <a:pt x="1128639" y="636489"/>
                      <a:pt x="1131814" y="636958"/>
                      <a:pt x="1134989" y="637478"/>
                    </a:cubicBezTo>
                    <a:cubicBezTo>
                      <a:pt x="1137227" y="637843"/>
                      <a:pt x="1139466" y="638155"/>
                      <a:pt x="1141652" y="638519"/>
                    </a:cubicBezTo>
                    <a:cubicBezTo>
                      <a:pt x="1146649" y="639404"/>
                      <a:pt x="1151646" y="640341"/>
                      <a:pt x="1156591" y="641330"/>
                    </a:cubicBezTo>
                    <a:cubicBezTo>
                      <a:pt x="1385827" y="717326"/>
                      <a:pt x="1559523" y="915226"/>
                      <a:pt x="1600540" y="1158360"/>
                    </a:cubicBezTo>
                    <a:lnTo>
                      <a:pt x="1606578" y="1158360"/>
                    </a:lnTo>
                    <a:cubicBezTo>
                      <a:pt x="1606578" y="1158360"/>
                      <a:pt x="1607567" y="1158412"/>
                      <a:pt x="1607567" y="1158412"/>
                    </a:cubicBezTo>
                    <a:cubicBezTo>
                      <a:pt x="1607359" y="1156643"/>
                      <a:pt x="1607151" y="1154925"/>
                      <a:pt x="1606943" y="1153155"/>
                    </a:cubicBezTo>
                    <a:lnTo>
                      <a:pt x="1610170" y="1154352"/>
                    </a:lnTo>
                    <a:lnTo>
                      <a:pt x="2082540" y="1154352"/>
                    </a:lnTo>
                    <a:cubicBezTo>
                      <a:pt x="2082540" y="1153520"/>
                      <a:pt x="2082540" y="1152687"/>
                      <a:pt x="2082592" y="1151802"/>
                    </a:cubicBezTo>
                    <a:lnTo>
                      <a:pt x="2093314" y="1151802"/>
                    </a:lnTo>
                    <a:cubicBezTo>
                      <a:pt x="2093314" y="1152687"/>
                      <a:pt x="2093262" y="1153572"/>
                      <a:pt x="2093210" y="1154509"/>
                    </a:cubicBezTo>
                    <a:lnTo>
                      <a:pt x="2353001" y="1154509"/>
                    </a:lnTo>
                    <a:lnTo>
                      <a:pt x="2353001" y="512814"/>
                    </a:lnTo>
                    <a:cubicBezTo>
                      <a:pt x="2346494" y="362124"/>
                      <a:pt x="2496351" y="380915"/>
                      <a:pt x="2496351" y="380915"/>
                    </a:cubicBezTo>
                    <a:lnTo>
                      <a:pt x="2711638" y="380915"/>
                    </a:lnTo>
                    <a:lnTo>
                      <a:pt x="2711638" y="134918"/>
                    </a:lnTo>
                    <a:cubicBezTo>
                      <a:pt x="2711638" y="134918"/>
                      <a:pt x="2726837" y="29513"/>
                      <a:pt x="2620130" y="4997"/>
                    </a:cubicBezTo>
                    <a:close/>
                  </a:path>
                </a:pathLst>
              </a:custGeom>
              <a:solidFill>
                <a:srgbClr val="65D3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grpSp>
            <p:nvGrpSpPr>
              <p:cNvPr id="1349" name="Google Shape;1349;p149"/>
              <p:cNvGrpSpPr/>
              <p:nvPr/>
            </p:nvGrpSpPr>
            <p:grpSpPr>
              <a:xfrm>
                <a:off x="6220968" y="3929049"/>
                <a:ext cx="2148247" cy="2208666"/>
                <a:chOff x="6220968" y="3929049"/>
                <a:chExt cx="2148247" cy="2208666"/>
              </a:xfrm>
            </p:grpSpPr>
            <p:sp>
              <p:nvSpPr>
                <p:cNvPr id="1350" name="Google Shape;1350;p149"/>
                <p:cNvSpPr/>
                <p:nvPr/>
              </p:nvSpPr>
              <p:spPr>
                <a:xfrm>
                  <a:off x="8185680" y="4359367"/>
                  <a:ext cx="676" cy="1561"/>
                </a:xfrm>
                <a:custGeom>
                  <a:avLst/>
                  <a:gdLst/>
                  <a:ahLst/>
                  <a:cxnLst/>
                  <a:rect l="l" t="t" r="r" b="b"/>
                  <a:pathLst>
                    <a:path w="676" h="1561" extrusionOk="0">
                      <a:moveTo>
                        <a:pt x="677" y="0"/>
                      </a:moveTo>
                      <a:cubicBezTo>
                        <a:pt x="677" y="0"/>
                        <a:pt x="572" y="0"/>
                        <a:pt x="520" y="0"/>
                      </a:cubicBezTo>
                      <a:cubicBezTo>
                        <a:pt x="364" y="521"/>
                        <a:pt x="156" y="1041"/>
                        <a:pt x="0" y="1561"/>
                      </a:cubicBezTo>
                      <a:cubicBezTo>
                        <a:pt x="208" y="1041"/>
                        <a:pt x="468" y="521"/>
                        <a:pt x="677" y="0"/>
                      </a:cubicBezTo>
                      <a:close/>
                    </a:path>
                  </a:pathLst>
                </a:custGeom>
                <a:solidFill>
                  <a:srgbClr val="B7E5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51" name="Google Shape;1351;p149"/>
                <p:cNvSpPr/>
                <p:nvPr/>
              </p:nvSpPr>
              <p:spPr>
                <a:xfrm>
                  <a:off x="6220968" y="3929049"/>
                  <a:ext cx="2148247" cy="2208666"/>
                </a:xfrm>
                <a:custGeom>
                  <a:avLst/>
                  <a:gdLst/>
                  <a:ahLst/>
                  <a:cxnLst/>
                  <a:rect l="l" t="t" r="r" b="b"/>
                  <a:pathLst>
                    <a:path w="2148247" h="2208666" extrusionOk="0">
                      <a:moveTo>
                        <a:pt x="2148195" y="1484054"/>
                      </a:moveTo>
                      <a:cubicBezTo>
                        <a:pt x="2145748" y="1376047"/>
                        <a:pt x="2120659" y="1274025"/>
                        <a:pt x="2077717" y="1183247"/>
                      </a:cubicBezTo>
                      <a:cubicBezTo>
                        <a:pt x="2074125" y="1175647"/>
                        <a:pt x="2070429" y="1168152"/>
                        <a:pt x="2066578" y="1160708"/>
                      </a:cubicBezTo>
                      <a:lnTo>
                        <a:pt x="2066838" y="1160084"/>
                      </a:lnTo>
                      <a:cubicBezTo>
                        <a:pt x="2062101" y="1154410"/>
                        <a:pt x="2057521" y="1148632"/>
                        <a:pt x="2052992" y="1142855"/>
                      </a:cubicBezTo>
                      <a:cubicBezTo>
                        <a:pt x="2051795" y="1141345"/>
                        <a:pt x="2050650" y="1139836"/>
                        <a:pt x="2049504" y="1138326"/>
                      </a:cubicBezTo>
                      <a:cubicBezTo>
                        <a:pt x="2045445" y="1133069"/>
                        <a:pt x="2041489" y="1127708"/>
                        <a:pt x="2037585" y="1122346"/>
                      </a:cubicBezTo>
                      <a:cubicBezTo>
                        <a:pt x="2037168" y="1121722"/>
                        <a:pt x="2036700" y="1121149"/>
                        <a:pt x="2036284" y="1120525"/>
                      </a:cubicBezTo>
                      <a:cubicBezTo>
                        <a:pt x="2032067" y="1114643"/>
                        <a:pt x="2027955" y="1108657"/>
                        <a:pt x="2023947" y="1102619"/>
                      </a:cubicBezTo>
                      <a:cubicBezTo>
                        <a:pt x="2022906" y="1101057"/>
                        <a:pt x="2021917" y="1099495"/>
                        <a:pt x="2020876" y="1097986"/>
                      </a:cubicBezTo>
                      <a:cubicBezTo>
                        <a:pt x="2017493" y="1092781"/>
                        <a:pt x="2014162" y="1087576"/>
                        <a:pt x="2010882" y="1082318"/>
                      </a:cubicBezTo>
                      <a:cubicBezTo>
                        <a:pt x="2010258" y="1081277"/>
                        <a:pt x="2009581" y="1080288"/>
                        <a:pt x="2008957" y="1079248"/>
                      </a:cubicBezTo>
                      <a:cubicBezTo>
                        <a:pt x="2005208" y="1073157"/>
                        <a:pt x="2001617" y="1066963"/>
                        <a:pt x="1998077" y="1060769"/>
                      </a:cubicBezTo>
                      <a:cubicBezTo>
                        <a:pt x="1997193" y="1059260"/>
                        <a:pt x="1996360" y="1057698"/>
                        <a:pt x="1995527" y="1056137"/>
                      </a:cubicBezTo>
                      <a:cubicBezTo>
                        <a:pt x="1992612" y="1050931"/>
                        <a:pt x="1989801" y="1045674"/>
                        <a:pt x="1986990" y="1040365"/>
                      </a:cubicBezTo>
                      <a:cubicBezTo>
                        <a:pt x="1986313" y="1039063"/>
                        <a:pt x="1985585" y="1037762"/>
                        <a:pt x="1984909" y="1036461"/>
                      </a:cubicBezTo>
                      <a:cubicBezTo>
                        <a:pt x="1981681" y="1030162"/>
                        <a:pt x="1978506" y="1023812"/>
                        <a:pt x="1975487" y="1017410"/>
                      </a:cubicBezTo>
                      <a:cubicBezTo>
                        <a:pt x="1974810" y="1015952"/>
                        <a:pt x="1974134" y="1014495"/>
                        <a:pt x="1973457" y="1013037"/>
                      </a:cubicBezTo>
                      <a:cubicBezTo>
                        <a:pt x="1970958" y="1007676"/>
                        <a:pt x="1968564" y="1002315"/>
                        <a:pt x="1966169" y="996954"/>
                      </a:cubicBezTo>
                      <a:cubicBezTo>
                        <a:pt x="1965493" y="995444"/>
                        <a:pt x="1964817" y="993882"/>
                        <a:pt x="1964191" y="992373"/>
                      </a:cubicBezTo>
                      <a:cubicBezTo>
                        <a:pt x="1961433" y="985867"/>
                        <a:pt x="1958726" y="979360"/>
                        <a:pt x="1956176" y="972802"/>
                      </a:cubicBezTo>
                      <a:cubicBezTo>
                        <a:pt x="1955656" y="971500"/>
                        <a:pt x="1955187" y="970199"/>
                        <a:pt x="1954718" y="968898"/>
                      </a:cubicBezTo>
                      <a:cubicBezTo>
                        <a:pt x="1952584" y="963328"/>
                        <a:pt x="1950502" y="957759"/>
                        <a:pt x="1948524" y="952137"/>
                      </a:cubicBezTo>
                      <a:cubicBezTo>
                        <a:pt x="1947951" y="950471"/>
                        <a:pt x="1947327" y="948806"/>
                        <a:pt x="1946754" y="947140"/>
                      </a:cubicBezTo>
                      <a:cubicBezTo>
                        <a:pt x="1944464" y="940477"/>
                        <a:pt x="1942226" y="933763"/>
                        <a:pt x="1940144" y="927048"/>
                      </a:cubicBezTo>
                      <a:cubicBezTo>
                        <a:pt x="1939832" y="926059"/>
                        <a:pt x="1939519" y="925018"/>
                        <a:pt x="1939207" y="924029"/>
                      </a:cubicBezTo>
                      <a:cubicBezTo>
                        <a:pt x="1937385" y="918147"/>
                        <a:pt x="1935667" y="912213"/>
                        <a:pt x="1934002" y="906279"/>
                      </a:cubicBezTo>
                      <a:cubicBezTo>
                        <a:pt x="1933534" y="904510"/>
                        <a:pt x="1933013" y="902740"/>
                        <a:pt x="1932544" y="900970"/>
                      </a:cubicBezTo>
                      <a:cubicBezTo>
                        <a:pt x="1930723" y="894151"/>
                        <a:pt x="1928953" y="887332"/>
                        <a:pt x="1927287" y="880462"/>
                      </a:cubicBezTo>
                      <a:cubicBezTo>
                        <a:pt x="1927183" y="879941"/>
                        <a:pt x="1927027" y="879369"/>
                        <a:pt x="1926923" y="878848"/>
                      </a:cubicBezTo>
                      <a:cubicBezTo>
                        <a:pt x="1925413" y="872446"/>
                        <a:pt x="1924008" y="865991"/>
                        <a:pt x="1922654" y="859537"/>
                      </a:cubicBezTo>
                      <a:cubicBezTo>
                        <a:pt x="1922290" y="857715"/>
                        <a:pt x="1921925" y="855893"/>
                        <a:pt x="1921561" y="854071"/>
                      </a:cubicBezTo>
                      <a:cubicBezTo>
                        <a:pt x="1920208" y="847357"/>
                        <a:pt x="1918959" y="840694"/>
                        <a:pt x="1917814" y="833927"/>
                      </a:cubicBezTo>
                      <a:cubicBezTo>
                        <a:pt x="1917814" y="833667"/>
                        <a:pt x="1917710" y="833355"/>
                        <a:pt x="1917657" y="833094"/>
                      </a:cubicBezTo>
                      <a:cubicBezTo>
                        <a:pt x="1917085" y="829711"/>
                        <a:pt x="1916565" y="826328"/>
                        <a:pt x="1916044" y="822944"/>
                      </a:cubicBezTo>
                      <a:cubicBezTo>
                        <a:pt x="1915471" y="819353"/>
                        <a:pt x="1914951" y="815761"/>
                        <a:pt x="1914482" y="812170"/>
                      </a:cubicBezTo>
                      <a:cubicBezTo>
                        <a:pt x="1914222" y="810348"/>
                        <a:pt x="1914014" y="808526"/>
                        <a:pt x="1913754" y="806652"/>
                      </a:cubicBezTo>
                      <a:cubicBezTo>
                        <a:pt x="1912973" y="800458"/>
                        <a:pt x="1912192" y="794212"/>
                        <a:pt x="1911567" y="787966"/>
                      </a:cubicBezTo>
                      <a:cubicBezTo>
                        <a:pt x="1911464" y="787081"/>
                        <a:pt x="1911359" y="786196"/>
                        <a:pt x="1911255" y="785259"/>
                      </a:cubicBezTo>
                      <a:cubicBezTo>
                        <a:pt x="1910579" y="778284"/>
                        <a:pt x="1910006" y="771257"/>
                        <a:pt x="1909486" y="764282"/>
                      </a:cubicBezTo>
                      <a:cubicBezTo>
                        <a:pt x="1909381" y="762512"/>
                        <a:pt x="1909277" y="760691"/>
                        <a:pt x="1909121" y="758921"/>
                      </a:cubicBezTo>
                      <a:cubicBezTo>
                        <a:pt x="1908757" y="752987"/>
                        <a:pt x="1908444" y="747001"/>
                        <a:pt x="1908236" y="741015"/>
                      </a:cubicBezTo>
                      <a:cubicBezTo>
                        <a:pt x="1908236" y="739714"/>
                        <a:pt x="1908132" y="738464"/>
                        <a:pt x="1908080" y="737163"/>
                      </a:cubicBezTo>
                      <a:cubicBezTo>
                        <a:pt x="1907872" y="730188"/>
                        <a:pt x="1907715" y="723161"/>
                        <a:pt x="1907715" y="716186"/>
                      </a:cubicBezTo>
                      <a:cubicBezTo>
                        <a:pt x="1907715" y="714521"/>
                        <a:pt x="1907715" y="712803"/>
                        <a:pt x="1907715" y="711137"/>
                      </a:cubicBezTo>
                      <a:cubicBezTo>
                        <a:pt x="1907715" y="705307"/>
                        <a:pt x="1907820" y="699426"/>
                        <a:pt x="1907976" y="693596"/>
                      </a:cubicBezTo>
                      <a:cubicBezTo>
                        <a:pt x="1907976" y="692086"/>
                        <a:pt x="1908028" y="690525"/>
                        <a:pt x="1908080" y="689015"/>
                      </a:cubicBezTo>
                      <a:cubicBezTo>
                        <a:pt x="1908340" y="682040"/>
                        <a:pt x="1908653" y="675013"/>
                        <a:pt x="1909069" y="668038"/>
                      </a:cubicBezTo>
                      <a:cubicBezTo>
                        <a:pt x="1909173" y="666529"/>
                        <a:pt x="1909277" y="665019"/>
                        <a:pt x="1909381" y="663510"/>
                      </a:cubicBezTo>
                      <a:cubicBezTo>
                        <a:pt x="1909798" y="657680"/>
                        <a:pt x="1910266" y="651850"/>
                        <a:pt x="1910787" y="646020"/>
                      </a:cubicBezTo>
                      <a:cubicBezTo>
                        <a:pt x="1910943" y="644355"/>
                        <a:pt x="1911099" y="642689"/>
                        <a:pt x="1911255" y="640971"/>
                      </a:cubicBezTo>
                      <a:cubicBezTo>
                        <a:pt x="1911932" y="633996"/>
                        <a:pt x="1912765" y="627022"/>
                        <a:pt x="1913649" y="620099"/>
                      </a:cubicBezTo>
                      <a:cubicBezTo>
                        <a:pt x="1913806" y="618849"/>
                        <a:pt x="1914014" y="617548"/>
                        <a:pt x="1914170" y="616299"/>
                      </a:cubicBezTo>
                      <a:cubicBezTo>
                        <a:pt x="1914951" y="610365"/>
                        <a:pt x="1915836" y="604483"/>
                        <a:pt x="1916772" y="598549"/>
                      </a:cubicBezTo>
                      <a:cubicBezTo>
                        <a:pt x="1917033" y="596780"/>
                        <a:pt x="1917345" y="595010"/>
                        <a:pt x="1917657" y="593240"/>
                      </a:cubicBezTo>
                      <a:cubicBezTo>
                        <a:pt x="1918802" y="586317"/>
                        <a:pt x="1920052" y="579394"/>
                        <a:pt x="1921405" y="572471"/>
                      </a:cubicBezTo>
                      <a:cubicBezTo>
                        <a:pt x="1921561" y="571586"/>
                        <a:pt x="1921770" y="570702"/>
                        <a:pt x="1921978" y="569816"/>
                      </a:cubicBezTo>
                      <a:cubicBezTo>
                        <a:pt x="1923227" y="563674"/>
                        <a:pt x="1924528" y="557532"/>
                        <a:pt x="1925934" y="551442"/>
                      </a:cubicBezTo>
                      <a:cubicBezTo>
                        <a:pt x="1926350" y="549621"/>
                        <a:pt x="1926767" y="547851"/>
                        <a:pt x="1927183" y="546081"/>
                      </a:cubicBezTo>
                      <a:cubicBezTo>
                        <a:pt x="1928797" y="539210"/>
                        <a:pt x="1930514" y="532339"/>
                        <a:pt x="1932336" y="525469"/>
                      </a:cubicBezTo>
                      <a:cubicBezTo>
                        <a:pt x="1932388" y="525208"/>
                        <a:pt x="1932492" y="524896"/>
                        <a:pt x="1932596" y="524636"/>
                      </a:cubicBezTo>
                      <a:cubicBezTo>
                        <a:pt x="1934366" y="518025"/>
                        <a:pt x="1936240" y="511519"/>
                        <a:pt x="1938218" y="504960"/>
                      </a:cubicBezTo>
                      <a:cubicBezTo>
                        <a:pt x="1938739" y="503190"/>
                        <a:pt x="1939311" y="501369"/>
                        <a:pt x="1939832" y="499599"/>
                      </a:cubicBezTo>
                      <a:cubicBezTo>
                        <a:pt x="1941757" y="493249"/>
                        <a:pt x="1943788" y="486950"/>
                        <a:pt x="1945922" y="480704"/>
                      </a:cubicBezTo>
                      <a:cubicBezTo>
                        <a:pt x="1946078" y="480183"/>
                        <a:pt x="1946234" y="479715"/>
                        <a:pt x="1946390" y="479194"/>
                      </a:cubicBezTo>
                      <a:cubicBezTo>
                        <a:pt x="1948680" y="472480"/>
                        <a:pt x="1951075" y="465817"/>
                        <a:pt x="1953573" y="459206"/>
                      </a:cubicBezTo>
                      <a:cubicBezTo>
                        <a:pt x="1954198" y="457489"/>
                        <a:pt x="1954875" y="455771"/>
                        <a:pt x="1955551" y="454053"/>
                      </a:cubicBezTo>
                      <a:cubicBezTo>
                        <a:pt x="1957165" y="449889"/>
                        <a:pt x="1958831" y="445725"/>
                        <a:pt x="1960548" y="441561"/>
                      </a:cubicBezTo>
                      <a:cubicBezTo>
                        <a:pt x="1957269" y="442134"/>
                        <a:pt x="1953885" y="442446"/>
                        <a:pt x="1950450" y="442446"/>
                      </a:cubicBezTo>
                      <a:lnTo>
                        <a:pt x="529436" y="442446"/>
                      </a:lnTo>
                      <a:cubicBezTo>
                        <a:pt x="495082" y="442446"/>
                        <a:pt x="466974" y="414338"/>
                        <a:pt x="466974" y="379984"/>
                      </a:cubicBezTo>
                      <a:lnTo>
                        <a:pt x="466974" y="110"/>
                      </a:lnTo>
                      <a:lnTo>
                        <a:pt x="234719" y="110"/>
                      </a:lnTo>
                      <a:cubicBezTo>
                        <a:pt x="127336" y="-2440"/>
                        <a:pt x="67946" y="39669"/>
                        <a:pt x="35778" y="94168"/>
                      </a:cubicBezTo>
                      <a:cubicBezTo>
                        <a:pt x="35361" y="94844"/>
                        <a:pt x="34945" y="95573"/>
                        <a:pt x="34580" y="96249"/>
                      </a:cubicBezTo>
                      <a:cubicBezTo>
                        <a:pt x="-19710" y="190671"/>
                        <a:pt x="6160" y="320593"/>
                        <a:pt x="6160" y="320593"/>
                      </a:cubicBezTo>
                      <a:lnTo>
                        <a:pt x="6160" y="2201692"/>
                      </a:lnTo>
                      <a:cubicBezTo>
                        <a:pt x="6160" y="2201692"/>
                        <a:pt x="6004" y="2208511"/>
                        <a:pt x="6004" y="2208667"/>
                      </a:cubicBezTo>
                      <a:lnTo>
                        <a:pt x="1485367" y="2208667"/>
                      </a:lnTo>
                      <a:cubicBezTo>
                        <a:pt x="1851448" y="2208667"/>
                        <a:pt x="2148247" y="1892088"/>
                        <a:pt x="2148247" y="1501543"/>
                      </a:cubicBezTo>
                      <a:cubicBezTo>
                        <a:pt x="2148247" y="1495714"/>
                        <a:pt x="2148143" y="1489936"/>
                        <a:pt x="2147987" y="1484106"/>
                      </a:cubicBezTo>
                      <a:close/>
                    </a:path>
                  </a:pathLst>
                </a:custGeom>
                <a:solidFill>
                  <a:srgbClr val="00B0EE"/>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grpSp>
          <p:sp>
            <p:nvSpPr>
              <p:cNvPr id="1352" name="Google Shape;1352;p149"/>
              <p:cNvSpPr/>
              <p:nvPr/>
            </p:nvSpPr>
            <p:spPr>
              <a:xfrm>
                <a:off x="6688098" y="3065047"/>
                <a:ext cx="1545937" cy="1306499"/>
              </a:xfrm>
              <a:custGeom>
                <a:avLst/>
                <a:gdLst/>
                <a:ahLst/>
                <a:cxnLst/>
                <a:rect l="l" t="t" r="r" b="b"/>
                <a:pathLst>
                  <a:path w="1545937" h="1306499" extrusionOk="0">
                    <a:moveTo>
                      <a:pt x="1520381" y="1232638"/>
                    </a:moveTo>
                    <a:cubicBezTo>
                      <a:pt x="1526574" y="1216242"/>
                      <a:pt x="1533133" y="1199950"/>
                      <a:pt x="1545938" y="1188394"/>
                    </a:cubicBezTo>
                    <a:lnTo>
                      <a:pt x="1545938" y="62462"/>
                    </a:lnTo>
                    <a:cubicBezTo>
                      <a:pt x="1545938" y="28108"/>
                      <a:pt x="1517830" y="0"/>
                      <a:pt x="1483475" y="0"/>
                    </a:cubicBezTo>
                    <a:lnTo>
                      <a:pt x="62462" y="0"/>
                    </a:lnTo>
                    <a:cubicBezTo>
                      <a:pt x="28108" y="0"/>
                      <a:pt x="0" y="28108"/>
                      <a:pt x="0" y="62462"/>
                    </a:cubicBezTo>
                    <a:lnTo>
                      <a:pt x="0" y="1244038"/>
                    </a:lnTo>
                    <a:cubicBezTo>
                      <a:pt x="0" y="1278392"/>
                      <a:pt x="28108" y="1306500"/>
                      <a:pt x="62462" y="1306500"/>
                    </a:cubicBezTo>
                    <a:lnTo>
                      <a:pt x="1483475" y="1306500"/>
                    </a:lnTo>
                    <a:cubicBezTo>
                      <a:pt x="1487224" y="1306500"/>
                      <a:pt x="1490919" y="1306083"/>
                      <a:pt x="1494510" y="1305459"/>
                    </a:cubicBezTo>
                    <a:cubicBezTo>
                      <a:pt x="1496645" y="1298692"/>
                      <a:pt x="1498779" y="1291769"/>
                      <a:pt x="1501173" y="1284950"/>
                    </a:cubicBezTo>
                    <a:cubicBezTo>
                      <a:pt x="1505233" y="1266888"/>
                      <a:pt x="1513666" y="1250492"/>
                      <a:pt x="1520381" y="1232638"/>
                    </a:cubicBezTo>
                    <a:close/>
                  </a:path>
                </a:pathLst>
              </a:custGeom>
              <a:solidFill>
                <a:srgbClr val="91A7D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53" name="Google Shape;1353;p149"/>
              <p:cNvSpPr/>
              <p:nvPr/>
            </p:nvSpPr>
            <p:spPr>
              <a:xfrm>
                <a:off x="4642412" y="5053373"/>
                <a:ext cx="1998788" cy="1084759"/>
              </a:xfrm>
              <a:custGeom>
                <a:avLst/>
                <a:gdLst/>
                <a:ahLst/>
                <a:cxnLst/>
                <a:rect l="l" t="t" r="r" b="b"/>
                <a:pathLst>
                  <a:path w="1998788" h="1084759" extrusionOk="0">
                    <a:moveTo>
                      <a:pt x="1970680" y="0"/>
                    </a:moveTo>
                    <a:lnTo>
                      <a:pt x="204876" y="0"/>
                    </a:lnTo>
                    <a:lnTo>
                      <a:pt x="204876" y="2134"/>
                    </a:lnTo>
                    <a:lnTo>
                      <a:pt x="180932" y="2134"/>
                    </a:lnTo>
                    <a:lnTo>
                      <a:pt x="180932" y="57726"/>
                    </a:lnTo>
                    <a:cubicBezTo>
                      <a:pt x="180932" y="57726"/>
                      <a:pt x="196079" y="165212"/>
                      <a:pt x="95463" y="165212"/>
                    </a:cubicBezTo>
                    <a:cubicBezTo>
                      <a:pt x="95463" y="165212"/>
                      <a:pt x="5205" y="163182"/>
                      <a:pt x="0" y="293832"/>
                    </a:cubicBezTo>
                    <a:lnTo>
                      <a:pt x="0" y="1079138"/>
                    </a:lnTo>
                    <a:lnTo>
                      <a:pt x="194882" y="1079138"/>
                    </a:lnTo>
                    <a:lnTo>
                      <a:pt x="194882" y="1084759"/>
                    </a:lnTo>
                    <a:cubicBezTo>
                      <a:pt x="194882" y="1084759"/>
                      <a:pt x="1998788" y="1084759"/>
                      <a:pt x="1998788" y="1084759"/>
                    </a:cubicBezTo>
                    <a:lnTo>
                      <a:pt x="1998788" y="0"/>
                    </a:lnTo>
                    <a:lnTo>
                      <a:pt x="1970576" y="0"/>
                    </a:lnTo>
                    <a:close/>
                  </a:path>
                </a:pathLst>
              </a:custGeom>
              <a:solidFill>
                <a:srgbClr val="66D5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354" name="Google Shape;1354;p149"/>
              <p:cNvSpPr/>
              <p:nvPr/>
            </p:nvSpPr>
            <p:spPr>
              <a:xfrm>
                <a:off x="7052461" y="1258799"/>
                <a:ext cx="1509501" cy="1847838"/>
              </a:xfrm>
              <a:custGeom>
                <a:avLst/>
                <a:gdLst/>
                <a:ahLst/>
                <a:cxnLst/>
                <a:rect l="l" t="t" r="r" b="b"/>
                <a:pathLst>
                  <a:path w="1509501" h="1847838" extrusionOk="0">
                    <a:moveTo>
                      <a:pt x="1471243" y="879675"/>
                    </a:moveTo>
                    <a:lnTo>
                      <a:pt x="635083" y="879675"/>
                    </a:lnTo>
                    <a:cubicBezTo>
                      <a:pt x="588237" y="879675"/>
                      <a:pt x="577827" y="833817"/>
                      <a:pt x="577827" y="827623"/>
                    </a:cubicBezTo>
                    <a:cubicBezTo>
                      <a:pt x="577827" y="791187"/>
                      <a:pt x="598647" y="765161"/>
                      <a:pt x="635083" y="765161"/>
                    </a:cubicBezTo>
                    <a:cubicBezTo>
                      <a:pt x="831006" y="765161"/>
                      <a:pt x="994397" y="595889"/>
                      <a:pt x="994397" y="383934"/>
                    </a:cubicBezTo>
                    <a:cubicBezTo>
                      <a:pt x="994397" y="171979"/>
                      <a:pt x="835535" y="104"/>
                      <a:pt x="639612" y="104"/>
                    </a:cubicBezTo>
                    <a:lnTo>
                      <a:pt x="499697" y="104"/>
                    </a:lnTo>
                    <a:lnTo>
                      <a:pt x="499697" y="0"/>
                    </a:lnTo>
                    <a:lnTo>
                      <a:pt x="0" y="0"/>
                    </a:lnTo>
                    <a:lnTo>
                      <a:pt x="0" y="1785376"/>
                    </a:lnTo>
                    <a:cubicBezTo>
                      <a:pt x="0" y="1819730"/>
                      <a:pt x="28108" y="1847838"/>
                      <a:pt x="62462" y="1847838"/>
                    </a:cubicBezTo>
                    <a:lnTo>
                      <a:pt x="1447039" y="1847838"/>
                    </a:lnTo>
                    <a:cubicBezTo>
                      <a:pt x="1481394" y="1847838"/>
                      <a:pt x="1509501" y="1819730"/>
                      <a:pt x="1509501" y="1785376"/>
                    </a:cubicBezTo>
                    <a:lnTo>
                      <a:pt x="1509501" y="879675"/>
                    </a:lnTo>
                    <a:lnTo>
                      <a:pt x="1471191" y="879675"/>
                    </a:lnTo>
                    <a:close/>
                  </a:path>
                </a:pathLst>
              </a:custGeom>
              <a:solidFill>
                <a:srgbClr val="4365A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grpSp>
        <p:sp>
          <p:nvSpPr>
            <p:cNvPr id="1355" name="Google Shape;1355;p149"/>
            <p:cNvSpPr txBox="1"/>
            <p:nvPr/>
          </p:nvSpPr>
          <p:spPr>
            <a:xfrm>
              <a:off x="882575" y="2059560"/>
              <a:ext cx="1689036" cy="3385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2"/>
                  </a:solidFill>
                  <a:latin typeface="Calibri"/>
                  <a:ea typeface="Calibri"/>
                  <a:cs typeface="Calibri"/>
                  <a:sym typeface="Calibri"/>
                </a:rPr>
                <a:t>DS/ML Platforms</a:t>
              </a:r>
              <a:endParaRPr sz="1400" b="0" i="0" u="none" strike="noStrike" cap="none">
                <a:solidFill>
                  <a:srgbClr val="000000"/>
                </a:solidFill>
                <a:latin typeface="Calibri"/>
                <a:ea typeface="Calibri"/>
                <a:cs typeface="Calibri"/>
                <a:sym typeface="Calibri"/>
              </a:endParaRPr>
            </a:p>
          </p:txBody>
        </p:sp>
        <p:cxnSp>
          <p:nvCxnSpPr>
            <p:cNvPr id="1356" name="Google Shape;1356;p149"/>
            <p:cNvCxnSpPr/>
            <p:nvPr/>
          </p:nvCxnSpPr>
          <p:spPr>
            <a:xfrm rot="10800000">
              <a:off x="985547" y="2397011"/>
              <a:ext cx="2170800" cy="393300"/>
            </a:xfrm>
            <a:prstGeom prst="bentConnector3">
              <a:avLst>
                <a:gd name="adj1" fmla="val 13946"/>
              </a:avLst>
            </a:prstGeom>
            <a:noFill/>
            <a:ln w="12700" cap="flat" cmpd="sng">
              <a:solidFill>
                <a:schemeClr val="dk1"/>
              </a:solidFill>
              <a:prstDash val="dash"/>
              <a:round/>
              <a:headEnd type="none" w="sm" len="sm"/>
              <a:tailEnd type="none" w="sm" len="sm"/>
            </a:ln>
          </p:spPr>
        </p:cxnSp>
        <p:sp>
          <p:nvSpPr>
            <p:cNvPr id="1357" name="Google Shape;1357;p149"/>
            <p:cNvSpPr/>
            <p:nvPr/>
          </p:nvSpPr>
          <p:spPr>
            <a:xfrm>
              <a:off x="3134872" y="2758124"/>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pic>
          <p:nvPicPr>
            <p:cNvPr id="1358" name="Google Shape;1358;p149"/>
            <p:cNvPicPr preferRelativeResize="0"/>
            <p:nvPr/>
          </p:nvPicPr>
          <p:blipFill rotWithShape="1">
            <a:blip r:embed="rId6">
              <a:alphaModFix/>
            </a:blip>
            <a:srcRect/>
            <a:stretch/>
          </p:blipFill>
          <p:spPr>
            <a:xfrm>
              <a:off x="6733907" y="4608064"/>
              <a:ext cx="712786" cy="294290"/>
            </a:xfrm>
            <a:prstGeom prst="rect">
              <a:avLst/>
            </a:prstGeom>
            <a:noFill/>
            <a:ln>
              <a:noFill/>
            </a:ln>
          </p:spPr>
        </p:pic>
        <p:pic>
          <p:nvPicPr>
            <p:cNvPr id="1359" name="Google Shape;1359;p149" descr="Impala ODBC and JDBC Drivers - Simba - insightsoftware"/>
            <p:cNvPicPr preferRelativeResize="0"/>
            <p:nvPr/>
          </p:nvPicPr>
          <p:blipFill rotWithShape="1">
            <a:blip r:embed="rId7">
              <a:alphaModFix/>
            </a:blip>
            <a:srcRect/>
            <a:stretch/>
          </p:blipFill>
          <p:spPr>
            <a:xfrm>
              <a:off x="5530993" y="4138695"/>
              <a:ext cx="1072811" cy="582452"/>
            </a:xfrm>
            <a:prstGeom prst="rect">
              <a:avLst/>
            </a:prstGeom>
            <a:noFill/>
            <a:ln>
              <a:noFill/>
            </a:ln>
          </p:spPr>
        </p:pic>
        <p:pic>
          <p:nvPicPr>
            <p:cNvPr id="1360" name="Google Shape;1360;p149"/>
            <p:cNvPicPr preferRelativeResize="0"/>
            <p:nvPr/>
          </p:nvPicPr>
          <p:blipFill rotWithShape="1">
            <a:blip r:embed="rId8">
              <a:clrChange>
                <a:clrFrom>
                  <a:srgbClr val="000000"/>
                </a:clrFrom>
                <a:clrTo>
                  <a:srgbClr val="000000">
                    <a:alpha val="0"/>
                  </a:srgbClr>
                </a:clrTo>
              </a:clrChange>
              <a:alphaModFix/>
            </a:blip>
            <a:srcRect/>
            <a:stretch/>
          </p:blipFill>
          <p:spPr>
            <a:xfrm>
              <a:off x="6267523" y="5292687"/>
              <a:ext cx="692084" cy="315064"/>
            </a:xfrm>
            <a:prstGeom prst="rect">
              <a:avLst/>
            </a:prstGeom>
            <a:noFill/>
            <a:ln>
              <a:noFill/>
            </a:ln>
          </p:spPr>
        </p:pic>
        <p:cxnSp>
          <p:nvCxnSpPr>
            <p:cNvPr id="1361" name="Google Shape;1361;p149"/>
            <p:cNvCxnSpPr/>
            <p:nvPr/>
          </p:nvCxnSpPr>
          <p:spPr>
            <a:xfrm flipH="1">
              <a:off x="5219292" y="5579316"/>
              <a:ext cx="1924200" cy="735600"/>
            </a:xfrm>
            <a:prstGeom prst="bentConnector3">
              <a:avLst>
                <a:gd name="adj1" fmla="val -18695"/>
              </a:avLst>
            </a:prstGeom>
            <a:noFill/>
            <a:ln w="12700" cap="flat" cmpd="sng">
              <a:solidFill>
                <a:schemeClr val="dk1"/>
              </a:solidFill>
              <a:prstDash val="dash"/>
              <a:round/>
              <a:headEnd type="none" w="sm" len="sm"/>
              <a:tailEnd type="none" w="sm" len="sm"/>
            </a:ln>
          </p:spPr>
        </p:cxnSp>
        <p:sp>
          <p:nvSpPr>
            <p:cNvPr id="1362" name="Google Shape;1362;p149"/>
            <p:cNvSpPr/>
            <p:nvPr/>
          </p:nvSpPr>
          <p:spPr>
            <a:xfrm>
              <a:off x="7113380" y="5531717"/>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363" name="Google Shape;1363;p149"/>
            <p:cNvSpPr txBox="1"/>
            <p:nvPr/>
          </p:nvSpPr>
          <p:spPr>
            <a:xfrm>
              <a:off x="5130087" y="5982953"/>
              <a:ext cx="2074615" cy="3385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accent1"/>
                  </a:solidFill>
                  <a:latin typeface="Calibri"/>
                  <a:ea typeface="Calibri"/>
                  <a:cs typeface="Calibri"/>
                  <a:sym typeface="Calibri"/>
                </a:rPr>
                <a:t>Big Data / Distributed</a:t>
              </a:r>
              <a:endParaRPr sz="1400" b="0" i="0" u="none" strike="noStrike" cap="none">
                <a:solidFill>
                  <a:schemeClr val="accent1"/>
                </a:solidFill>
                <a:latin typeface="Calibri"/>
                <a:ea typeface="Calibri"/>
                <a:cs typeface="Calibri"/>
                <a:sym typeface="Calibri"/>
              </a:endParaRPr>
            </a:p>
          </p:txBody>
        </p:sp>
        <p:cxnSp>
          <p:nvCxnSpPr>
            <p:cNvPr id="1364" name="Google Shape;1364;p149"/>
            <p:cNvCxnSpPr/>
            <p:nvPr/>
          </p:nvCxnSpPr>
          <p:spPr>
            <a:xfrm flipH="1">
              <a:off x="3992917" y="5554246"/>
              <a:ext cx="767100" cy="760800"/>
            </a:xfrm>
            <a:prstGeom prst="bentConnector3">
              <a:avLst>
                <a:gd name="adj1" fmla="val -47810"/>
              </a:avLst>
            </a:prstGeom>
            <a:noFill/>
            <a:ln w="12700" cap="flat" cmpd="sng">
              <a:solidFill>
                <a:schemeClr val="dk1"/>
              </a:solidFill>
              <a:prstDash val="dash"/>
              <a:round/>
              <a:headEnd type="none" w="sm" len="sm"/>
              <a:tailEnd type="none" w="sm" len="sm"/>
            </a:ln>
          </p:spPr>
        </p:cxnSp>
        <p:sp>
          <p:nvSpPr>
            <p:cNvPr id="1365" name="Google Shape;1365;p149"/>
            <p:cNvSpPr/>
            <p:nvPr/>
          </p:nvSpPr>
          <p:spPr>
            <a:xfrm>
              <a:off x="4750751" y="5520533"/>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366" name="Google Shape;1366;p149"/>
            <p:cNvSpPr txBox="1"/>
            <p:nvPr/>
          </p:nvSpPr>
          <p:spPr>
            <a:xfrm>
              <a:off x="3893371" y="5982933"/>
              <a:ext cx="873829" cy="33855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accent1"/>
                  </a:solidFill>
                  <a:latin typeface="Calibri"/>
                  <a:ea typeface="Calibri"/>
                  <a:cs typeface="Calibri"/>
                  <a:sym typeface="Calibri"/>
                </a:rPr>
                <a:t>NOSQL</a:t>
              </a:r>
              <a:endParaRPr sz="1400" b="0" i="0" u="none" strike="noStrike" cap="none">
                <a:solidFill>
                  <a:schemeClr val="accent1"/>
                </a:solidFill>
                <a:latin typeface="Calibri"/>
                <a:ea typeface="Calibri"/>
                <a:cs typeface="Calibri"/>
                <a:sym typeface="Calibri"/>
              </a:endParaRPr>
            </a:p>
          </p:txBody>
        </p:sp>
        <p:pic>
          <p:nvPicPr>
            <p:cNvPr id="1367" name="Google Shape;1367;p149"/>
            <p:cNvPicPr preferRelativeResize="0"/>
            <p:nvPr/>
          </p:nvPicPr>
          <p:blipFill rotWithShape="1">
            <a:blip r:embed="rId9">
              <a:alphaModFix/>
            </a:blip>
            <a:srcRect/>
            <a:stretch/>
          </p:blipFill>
          <p:spPr>
            <a:xfrm>
              <a:off x="4474373" y="5254077"/>
              <a:ext cx="857974" cy="188427"/>
            </a:xfrm>
            <a:prstGeom prst="rect">
              <a:avLst/>
            </a:prstGeom>
            <a:noFill/>
            <a:ln>
              <a:noFill/>
            </a:ln>
          </p:spPr>
        </p:pic>
        <p:pic>
          <p:nvPicPr>
            <p:cNvPr id="1368" name="Google Shape;1368;p149" descr="Apache HBase – Apache HBase™ Home"/>
            <p:cNvPicPr preferRelativeResize="0"/>
            <p:nvPr/>
          </p:nvPicPr>
          <p:blipFill rotWithShape="1">
            <a:blip r:embed="rId10">
              <a:alphaModFix/>
            </a:blip>
            <a:srcRect/>
            <a:stretch/>
          </p:blipFill>
          <p:spPr>
            <a:xfrm>
              <a:off x="5159653" y="4859193"/>
              <a:ext cx="937859" cy="239455"/>
            </a:xfrm>
            <a:prstGeom prst="rect">
              <a:avLst/>
            </a:prstGeom>
            <a:noFill/>
            <a:ln>
              <a:noFill/>
            </a:ln>
          </p:spPr>
        </p:pic>
        <p:pic>
          <p:nvPicPr>
            <p:cNvPr id="1369" name="Google Shape;1369;p149"/>
            <p:cNvPicPr preferRelativeResize="0"/>
            <p:nvPr/>
          </p:nvPicPr>
          <p:blipFill rotWithShape="1">
            <a:blip r:embed="rId11">
              <a:alphaModFix/>
            </a:blip>
            <a:srcRect/>
            <a:stretch/>
          </p:blipFill>
          <p:spPr>
            <a:xfrm>
              <a:off x="4646098" y="4881529"/>
              <a:ext cx="308266" cy="311341"/>
            </a:xfrm>
            <a:prstGeom prst="rect">
              <a:avLst/>
            </a:prstGeom>
            <a:noFill/>
            <a:ln>
              <a:noFill/>
            </a:ln>
          </p:spPr>
        </p:pic>
        <p:pic>
          <p:nvPicPr>
            <p:cNvPr id="1370" name="Google Shape;1370;p149"/>
            <p:cNvPicPr preferRelativeResize="0"/>
            <p:nvPr/>
          </p:nvPicPr>
          <p:blipFill rotWithShape="1">
            <a:blip r:embed="rId12">
              <a:alphaModFix/>
            </a:blip>
            <a:srcRect/>
            <a:stretch/>
          </p:blipFill>
          <p:spPr>
            <a:xfrm>
              <a:off x="5044057" y="5470480"/>
              <a:ext cx="856764" cy="230999"/>
            </a:xfrm>
            <a:prstGeom prst="rect">
              <a:avLst/>
            </a:prstGeom>
            <a:noFill/>
            <a:ln>
              <a:noFill/>
            </a:ln>
          </p:spPr>
        </p:pic>
        <p:pic>
          <p:nvPicPr>
            <p:cNvPr id="1371" name="Google Shape;1371;p149" descr="MQTT to Cassandra in Real-Time"/>
            <p:cNvPicPr preferRelativeResize="0"/>
            <p:nvPr/>
          </p:nvPicPr>
          <p:blipFill rotWithShape="1">
            <a:blip r:embed="rId13">
              <a:alphaModFix/>
            </a:blip>
            <a:srcRect/>
            <a:stretch/>
          </p:blipFill>
          <p:spPr>
            <a:xfrm>
              <a:off x="5449157" y="5103813"/>
              <a:ext cx="459927" cy="344706"/>
            </a:xfrm>
            <a:prstGeom prst="rect">
              <a:avLst/>
            </a:prstGeom>
            <a:noFill/>
            <a:ln>
              <a:noFill/>
            </a:ln>
          </p:spPr>
        </p:pic>
        <p:cxnSp>
          <p:nvCxnSpPr>
            <p:cNvPr id="1372" name="Google Shape;1372;p149"/>
            <p:cNvCxnSpPr/>
            <p:nvPr/>
          </p:nvCxnSpPr>
          <p:spPr>
            <a:xfrm flipH="1">
              <a:off x="1133976" y="5386452"/>
              <a:ext cx="2529000" cy="305400"/>
            </a:xfrm>
            <a:prstGeom prst="bentConnector3">
              <a:avLst>
                <a:gd name="adj1" fmla="val 35418"/>
              </a:avLst>
            </a:prstGeom>
            <a:noFill/>
            <a:ln w="12700" cap="flat" cmpd="sng">
              <a:solidFill>
                <a:schemeClr val="dk1"/>
              </a:solidFill>
              <a:prstDash val="dash"/>
              <a:round/>
              <a:headEnd type="none" w="sm" len="sm"/>
              <a:tailEnd type="none" w="sm" len="sm"/>
            </a:ln>
          </p:spPr>
        </p:cxnSp>
        <p:sp>
          <p:nvSpPr>
            <p:cNvPr id="1373" name="Google Shape;1373;p149"/>
            <p:cNvSpPr/>
            <p:nvPr/>
          </p:nvSpPr>
          <p:spPr>
            <a:xfrm>
              <a:off x="3647319" y="5352734"/>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374" name="Google Shape;1374;p149"/>
            <p:cNvSpPr txBox="1"/>
            <p:nvPr/>
          </p:nvSpPr>
          <p:spPr>
            <a:xfrm>
              <a:off x="1051214" y="5344740"/>
              <a:ext cx="1459425" cy="3385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accent1"/>
                  </a:solidFill>
                  <a:latin typeface="Calibri"/>
                  <a:ea typeface="Calibri"/>
                  <a:cs typeface="Calibri"/>
                  <a:sym typeface="Calibri"/>
                </a:rPr>
                <a:t>Warehousing</a:t>
              </a:r>
              <a:endParaRPr sz="1400" b="0" i="0" u="none" strike="noStrike" cap="none">
                <a:solidFill>
                  <a:schemeClr val="accent1"/>
                </a:solidFill>
                <a:latin typeface="Calibri"/>
                <a:ea typeface="Calibri"/>
                <a:cs typeface="Calibri"/>
                <a:sym typeface="Calibri"/>
              </a:endParaRPr>
            </a:p>
          </p:txBody>
        </p:sp>
        <p:pic>
          <p:nvPicPr>
            <p:cNvPr id="1375" name="Google Shape;1375;p149"/>
            <p:cNvPicPr preferRelativeResize="0"/>
            <p:nvPr/>
          </p:nvPicPr>
          <p:blipFill rotWithShape="1">
            <a:blip r:embed="rId14">
              <a:alphaModFix/>
            </a:blip>
            <a:srcRect/>
            <a:stretch/>
          </p:blipFill>
          <p:spPr>
            <a:xfrm>
              <a:off x="3752226" y="5172360"/>
              <a:ext cx="642622" cy="194929"/>
            </a:xfrm>
            <a:prstGeom prst="rect">
              <a:avLst/>
            </a:prstGeom>
            <a:noFill/>
            <a:ln>
              <a:noFill/>
            </a:ln>
          </p:spPr>
        </p:pic>
        <p:pic>
          <p:nvPicPr>
            <p:cNvPr id="1376" name="Google Shape;1376;p149"/>
            <p:cNvPicPr preferRelativeResize="0"/>
            <p:nvPr/>
          </p:nvPicPr>
          <p:blipFill rotWithShape="1">
            <a:blip r:embed="rId15">
              <a:alphaModFix/>
            </a:blip>
            <a:srcRect/>
            <a:stretch/>
          </p:blipFill>
          <p:spPr>
            <a:xfrm>
              <a:off x="3907171" y="5398817"/>
              <a:ext cx="489918" cy="270461"/>
            </a:xfrm>
            <a:prstGeom prst="rect">
              <a:avLst/>
            </a:prstGeom>
            <a:noFill/>
            <a:ln>
              <a:noFill/>
            </a:ln>
          </p:spPr>
        </p:pic>
        <p:pic>
          <p:nvPicPr>
            <p:cNvPr id="1377" name="Google Shape;1377;p149" descr="The data modeling platform for BigQuery"/>
            <p:cNvPicPr preferRelativeResize="0"/>
            <p:nvPr/>
          </p:nvPicPr>
          <p:blipFill rotWithShape="1">
            <a:blip r:embed="rId16">
              <a:alphaModFix/>
            </a:blip>
            <a:srcRect/>
            <a:stretch/>
          </p:blipFill>
          <p:spPr>
            <a:xfrm>
              <a:off x="3848723" y="4588244"/>
              <a:ext cx="677107" cy="237304"/>
            </a:xfrm>
            <a:prstGeom prst="rect">
              <a:avLst/>
            </a:prstGeom>
            <a:noFill/>
            <a:ln>
              <a:noFill/>
            </a:ln>
          </p:spPr>
        </p:pic>
        <p:cxnSp>
          <p:nvCxnSpPr>
            <p:cNvPr id="1378" name="Google Shape;1378;p149"/>
            <p:cNvCxnSpPr/>
            <p:nvPr/>
          </p:nvCxnSpPr>
          <p:spPr>
            <a:xfrm flipH="1">
              <a:off x="1758004" y="4471662"/>
              <a:ext cx="2777700" cy="332100"/>
            </a:xfrm>
            <a:prstGeom prst="bentConnector3">
              <a:avLst>
                <a:gd name="adj1" fmla="val 62632"/>
              </a:avLst>
            </a:prstGeom>
            <a:noFill/>
            <a:ln w="12700" cap="flat" cmpd="sng">
              <a:solidFill>
                <a:schemeClr val="dk1"/>
              </a:solidFill>
              <a:prstDash val="dash"/>
              <a:round/>
              <a:headEnd type="none" w="sm" len="sm"/>
              <a:tailEnd type="none" w="sm" len="sm"/>
            </a:ln>
          </p:spPr>
        </p:cxnSp>
        <p:sp>
          <p:nvSpPr>
            <p:cNvPr id="1379" name="Google Shape;1379;p149"/>
            <p:cNvSpPr/>
            <p:nvPr/>
          </p:nvSpPr>
          <p:spPr>
            <a:xfrm>
              <a:off x="4520044" y="4437944"/>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380" name="Google Shape;1380;p149"/>
            <p:cNvSpPr txBox="1"/>
            <p:nvPr/>
          </p:nvSpPr>
          <p:spPr>
            <a:xfrm>
              <a:off x="1795453" y="4478777"/>
              <a:ext cx="645364" cy="338514"/>
            </a:xfrm>
            <a:prstGeom prst="rect">
              <a:avLst/>
            </a:prstGeom>
            <a:noFill/>
            <a:ln>
              <a:noFill/>
            </a:ln>
          </p:spPr>
          <p:txBody>
            <a:bodyPr spcFirstLastPara="1" wrap="square" lIns="0" tIns="45700" rIns="0"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accent1"/>
                  </a:solidFill>
                  <a:latin typeface="Calibri"/>
                  <a:ea typeface="Calibri"/>
                  <a:cs typeface="Calibri"/>
                  <a:sym typeface="Calibri"/>
                </a:rPr>
                <a:t>Cloud</a:t>
              </a:r>
              <a:endParaRPr sz="1400" b="0" i="0" u="none" strike="noStrike" cap="none">
                <a:solidFill>
                  <a:schemeClr val="accent1"/>
                </a:solidFill>
                <a:latin typeface="Calibri"/>
                <a:ea typeface="Calibri"/>
                <a:cs typeface="Calibri"/>
                <a:sym typeface="Calibri"/>
              </a:endParaRPr>
            </a:p>
          </p:txBody>
        </p:sp>
        <p:pic>
          <p:nvPicPr>
            <p:cNvPr id="1381" name="Google Shape;1381;p149"/>
            <p:cNvPicPr preferRelativeResize="0"/>
            <p:nvPr/>
          </p:nvPicPr>
          <p:blipFill rotWithShape="1">
            <a:blip r:embed="rId17">
              <a:alphaModFix/>
            </a:blip>
            <a:srcRect/>
            <a:stretch/>
          </p:blipFill>
          <p:spPr>
            <a:xfrm>
              <a:off x="5344204" y="4145452"/>
              <a:ext cx="409490" cy="245134"/>
            </a:xfrm>
            <a:prstGeom prst="rect">
              <a:avLst/>
            </a:prstGeom>
            <a:noFill/>
            <a:ln>
              <a:noFill/>
            </a:ln>
          </p:spPr>
        </p:pic>
        <p:pic>
          <p:nvPicPr>
            <p:cNvPr id="1382" name="Google Shape;1382;p149"/>
            <p:cNvPicPr preferRelativeResize="0"/>
            <p:nvPr/>
          </p:nvPicPr>
          <p:blipFill rotWithShape="1">
            <a:blip r:embed="rId18">
              <a:alphaModFix/>
            </a:blip>
            <a:srcRect/>
            <a:stretch/>
          </p:blipFill>
          <p:spPr>
            <a:xfrm>
              <a:off x="4365201" y="4018056"/>
              <a:ext cx="582328" cy="168333"/>
            </a:xfrm>
            <a:prstGeom prst="rect">
              <a:avLst/>
            </a:prstGeom>
            <a:noFill/>
            <a:ln>
              <a:noFill/>
            </a:ln>
          </p:spPr>
        </p:pic>
        <p:pic>
          <p:nvPicPr>
            <p:cNvPr id="1383" name="Google Shape;1383;p149"/>
            <p:cNvPicPr preferRelativeResize="0"/>
            <p:nvPr/>
          </p:nvPicPr>
          <p:blipFill rotWithShape="1">
            <a:blip r:embed="rId19">
              <a:alphaModFix/>
            </a:blip>
            <a:srcRect/>
            <a:stretch/>
          </p:blipFill>
          <p:spPr>
            <a:xfrm>
              <a:off x="4847776" y="4366843"/>
              <a:ext cx="912887" cy="570555"/>
            </a:xfrm>
            <a:prstGeom prst="rect">
              <a:avLst/>
            </a:prstGeom>
            <a:noFill/>
            <a:ln>
              <a:noFill/>
            </a:ln>
          </p:spPr>
        </p:pic>
        <p:cxnSp>
          <p:nvCxnSpPr>
            <p:cNvPr id="1384" name="Google Shape;1384;p149"/>
            <p:cNvCxnSpPr/>
            <p:nvPr/>
          </p:nvCxnSpPr>
          <p:spPr>
            <a:xfrm rot="10800000">
              <a:off x="817959" y="3987948"/>
              <a:ext cx="2855400" cy="268500"/>
            </a:xfrm>
            <a:prstGeom prst="bentConnector3">
              <a:avLst>
                <a:gd name="adj1" fmla="val 41740"/>
              </a:avLst>
            </a:prstGeom>
            <a:noFill/>
            <a:ln w="12700" cap="flat" cmpd="sng">
              <a:solidFill>
                <a:schemeClr val="dk1"/>
              </a:solidFill>
              <a:prstDash val="dash"/>
              <a:round/>
              <a:headEnd type="none" w="sm" len="sm"/>
              <a:tailEnd type="none" w="sm" len="sm"/>
            </a:ln>
          </p:spPr>
        </p:cxnSp>
        <p:sp>
          <p:nvSpPr>
            <p:cNvPr id="1385" name="Google Shape;1385;p149"/>
            <p:cNvSpPr/>
            <p:nvPr/>
          </p:nvSpPr>
          <p:spPr>
            <a:xfrm>
              <a:off x="3657706" y="4222719"/>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386" name="Google Shape;1386;p149"/>
            <p:cNvSpPr txBox="1"/>
            <p:nvPr/>
          </p:nvSpPr>
          <p:spPr>
            <a:xfrm>
              <a:off x="811606" y="3648912"/>
              <a:ext cx="1398494" cy="338514"/>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accent1"/>
                  </a:solidFill>
                  <a:latin typeface="Calibri"/>
                  <a:ea typeface="Calibri"/>
                  <a:cs typeface="Calibri"/>
                  <a:sym typeface="Calibri"/>
                </a:rPr>
                <a:t>Data Sourcing</a:t>
              </a:r>
              <a:endParaRPr sz="1400" b="0" i="0" u="none" strike="noStrike" cap="none">
                <a:solidFill>
                  <a:schemeClr val="accent1"/>
                </a:solidFill>
                <a:latin typeface="Calibri"/>
                <a:ea typeface="Calibri"/>
                <a:cs typeface="Calibri"/>
                <a:sym typeface="Calibri"/>
              </a:endParaRPr>
            </a:p>
          </p:txBody>
        </p:sp>
        <p:pic>
          <p:nvPicPr>
            <p:cNvPr id="1387" name="Google Shape;1387;p149"/>
            <p:cNvPicPr preferRelativeResize="0"/>
            <p:nvPr/>
          </p:nvPicPr>
          <p:blipFill rotWithShape="1">
            <a:blip r:embed="rId20">
              <a:alphaModFix/>
            </a:blip>
            <a:srcRect/>
            <a:stretch/>
          </p:blipFill>
          <p:spPr>
            <a:xfrm>
              <a:off x="4516916" y="4227814"/>
              <a:ext cx="987321" cy="340268"/>
            </a:xfrm>
            <a:prstGeom prst="rect">
              <a:avLst/>
            </a:prstGeom>
            <a:noFill/>
            <a:ln>
              <a:noFill/>
            </a:ln>
          </p:spPr>
        </p:pic>
        <p:sp>
          <p:nvSpPr>
            <p:cNvPr id="1388" name="Google Shape;1388;p149"/>
            <p:cNvSpPr txBox="1"/>
            <p:nvPr/>
          </p:nvSpPr>
          <p:spPr>
            <a:xfrm>
              <a:off x="8362003" y="4654347"/>
              <a:ext cx="546728" cy="25387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50"/>
                <a:buFont typeface="Arial"/>
                <a:buNone/>
              </a:pPr>
              <a:r>
                <a:rPr lang="en-US" sz="1050" b="1" i="0" u="none" strike="noStrike" cap="none">
                  <a:solidFill>
                    <a:schemeClr val="lt1"/>
                  </a:solidFill>
                  <a:latin typeface="Calibri"/>
                  <a:ea typeface="Calibri"/>
                  <a:cs typeface="Calibri"/>
                  <a:sym typeface="Calibri"/>
                </a:rPr>
                <a:t>Oryx</a:t>
              </a:r>
              <a:endParaRPr sz="1400" b="1" i="0" u="none" strike="noStrike" cap="none">
                <a:solidFill>
                  <a:srgbClr val="000000"/>
                </a:solidFill>
                <a:latin typeface="Calibri"/>
                <a:ea typeface="Calibri"/>
                <a:cs typeface="Calibri"/>
                <a:sym typeface="Calibri"/>
              </a:endParaRPr>
            </a:p>
          </p:txBody>
        </p:sp>
        <p:pic>
          <p:nvPicPr>
            <p:cNvPr id="1389" name="Google Shape;1389;p149" descr="Spark Streaming (procesamiento por lotes y tiempo real) - Diego Calvo"/>
            <p:cNvPicPr preferRelativeResize="0"/>
            <p:nvPr/>
          </p:nvPicPr>
          <p:blipFill rotWithShape="1">
            <a:blip r:embed="rId21">
              <a:alphaModFix/>
            </a:blip>
            <a:srcRect/>
            <a:stretch/>
          </p:blipFill>
          <p:spPr>
            <a:xfrm>
              <a:off x="7591784" y="4320253"/>
              <a:ext cx="718033" cy="452913"/>
            </a:xfrm>
            <a:prstGeom prst="rect">
              <a:avLst/>
            </a:prstGeom>
            <a:noFill/>
            <a:ln>
              <a:noFill/>
            </a:ln>
          </p:spPr>
        </p:pic>
        <p:pic>
          <p:nvPicPr>
            <p:cNvPr id="1390" name="Google Shape;1390;p149"/>
            <p:cNvPicPr preferRelativeResize="0"/>
            <p:nvPr/>
          </p:nvPicPr>
          <p:blipFill rotWithShape="1">
            <a:blip r:embed="rId22">
              <a:alphaModFix/>
            </a:blip>
            <a:srcRect/>
            <a:stretch/>
          </p:blipFill>
          <p:spPr>
            <a:xfrm>
              <a:off x="7589012" y="5514582"/>
              <a:ext cx="577143" cy="210656"/>
            </a:xfrm>
            <a:prstGeom prst="rect">
              <a:avLst/>
            </a:prstGeom>
            <a:noFill/>
            <a:ln>
              <a:noFill/>
            </a:ln>
          </p:spPr>
        </p:pic>
        <p:pic>
          <p:nvPicPr>
            <p:cNvPr id="1391" name="Google Shape;1391;p149" descr="GitHub - OryxProject/oryx: Oryx 2: Lambda architecture on Apache Spark,  Apache Kafka for real-time large scale machine learning"/>
            <p:cNvPicPr preferRelativeResize="0"/>
            <p:nvPr/>
          </p:nvPicPr>
          <p:blipFill rotWithShape="1">
            <a:blip r:embed="rId23">
              <a:alphaModFix/>
            </a:blip>
            <a:srcRect/>
            <a:stretch/>
          </p:blipFill>
          <p:spPr>
            <a:xfrm>
              <a:off x="8442530" y="4382643"/>
              <a:ext cx="340703" cy="340703"/>
            </a:xfrm>
            <a:prstGeom prst="rect">
              <a:avLst/>
            </a:prstGeom>
            <a:noFill/>
            <a:ln>
              <a:noFill/>
            </a:ln>
          </p:spPr>
        </p:pic>
        <p:pic>
          <p:nvPicPr>
            <p:cNvPr id="1392" name="Google Shape;1392;p149"/>
            <p:cNvPicPr preferRelativeResize="0"/>
            <p:nvPr/>
          </p:nvPicPr>
          <p:blipFill rotWithShape="1">
            <a:blip r:embed="rId24">
              <a:alphaModFix/>
            </a:blip>
            <a:srcRect/>
            <a:stretch/>
          </p:blipFill>
          <p:spPr>
            <a:xfrm>
              <a:off x="7834267" y="5169680"/>
              <a:ext cx="641055" cy="320528"/>
            </a:xfrm>
            <a:prstGeom prst="rect">
              <a:avLst/>
            </a:prstGeom>
            <a:noFill/>
            <a:ln>
              <a:noFill/>
            </a:ln>
          </p:spPr>
        </p:pic>
        <p:pic>
          <p:nvPicPr>
            <p:cNvPr id="1393" name="Google Shape;1393;p149"/>
            <p:cNvPicPr preferRelativeResize="0"/>
            <p:nvPr/>
          </p:nvPicPr>
          <p:blipFill rotWithShape="1">
            <a:blip r:embed="rId25">
              <a:alphaModFix/>
            </a:blip>
            <a:srcRect/>
            <a:stretch/>
          </p:blipFill>
          <p:spPr>
            <a:xfrm>
              <a:off x="7863042" y="4882077"/>
              <a:ext cx="494486" cy="208782"/>
            </a:xfrm>
            <a:prstGeom prst="rect">
              <a:avLst/>
            </a:prstGeom>
            <a:noFill/>
            <a:ln>
              <a:noFill/>
            </a:ln>
          </p:spPr>
        </p:pic>
        <p:pic>
          <p:nvPicPr>
            <p:cNvPr id="1394" name="Google Shape;1394;p149" descr="H2o.ai is the leading company that can make a huge difference - Passionate  In Marketing"/>
            <p:cNvPicPr preferRelativeResize="0"/>
            <p:nvPr/>
          </p:nvPicPr>
          <p:blipFill rotWithShape="1">
            <a:blip r:embed="rId26">
              <a:alphaModFix/>
            </a:blip>
            <a:srcRect l="23704" t="19555" r="20635" b="20945"/>
            <a:stretch/>
          </p:blipFill>
          <p:spPr>
            <a:xfrm>
              <a:off x="3891970" y="3184540"/>
              <a:ext cx="600884" cy="281018"/>
            </a:xfrm>
            <a:prstGeom prst="rect">
              <a:avLst/>
            </a:prstGeom>
            <a:noFill/>
            <a:ln>
              <a:noFill/>
            </a:ln>
          </p:spPr>
        </p:pic>
        <p:cxnSp>
          <p:nvCxnSpPr>
            <p:cNvPr id="1395" name="Google Shape;1395;p149"/>
            <p:cNvCxnSpPr/>
            <p:nvPr/>
          </p:nvCxnSpPr>
          <p:spPr>
            <a:xfrm rot="10800000">
              <a:off x="1267164" y="3227430"/>
              <a:ext cx="3483300" cy="285300"/>
            </a:xfrm>
            <a:prstGeom prst="bentConnector3">
              <a:avLst>
                <a:gd name="adj1" fmla="val 42790"/>
              </a:avLst>
            </a:prstGeom>
            <a:noFill/>
            <a:ln w="12700" cap="flat" cmpd="sng">
              <a:solidFill>
                <a:schemeClr val="dk1"/>
              </a:solidFill>
              <a:prstDash val="dash"/>
              <a:round/>
              <a:headEnd type="none" w="sm" len="sm"/>
              <a:tailEnd type="none" w="sm" len="sm"/>
            </a:ln>
          </p:spPr>
        </p:cxnSp>
        <p:sp>
          <p:nvSpPr>
            <p:cNvPr id="1396" name="Google Shape;1396;p149"/>
            <p:cNvSpPr/>
            <p:nvPr/>
          </p:nvSpPr>
          <p:spPr>
            <a:xfrm>
              <a:off x="4734811" y="3479007"/>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397" name="Google Shape;1397;p149"/>
            <p:cNvSpPr txBox="1"/>
            <p:nvPr/>
          </p:nvSpPr>
          <p:spPr>
            <a:xfrm>
              <a:off x="1181659" y="2888554"/>
              <a:ext cx="1689036" cy="3385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2"/>
                  </a:solidFill>
                  <a:latin typeface="Calibri"/>
                  <a:ea typeface="Calibri"/>
                  <a:cs typeface="Calibri"/>
                  <a:sym typeface="Calibri"/>
                </a:rPr>
                <a:t>Containerization</a:t>
              </a:r>
              <a:endParaRPr sz="1400" b="0" i="0" u="none" strike="noStrike" cap="none">
                <a:solidFill>
                  <a:srgbClr val="000000"/>
                </a:solidFill>
                <a:latin typeface="Calibri"/>
                <a:ea typeface="Calibri"/>
                <a:cs typeface="Calibri"/>
                <a:sym typeface="Calibri"/>
              </a:endParaRPr>
            </a:p>
          </p:txBody>
        </p:sp>
        <p:pic>
          <p:nvPicPr>
            <p:cNvPr id="1398" name="Google Shape;1398;p149"/>
            <p:cNvPicPr preferRelativeResize="0"/>
            <p:nvPr/>
          </p:nvPicPr>
          <p:blipFill rotWithShape="1">
            <a:blip r:embed="rId27">
              <a:alphaModFix/>
            </a:blip>
            <a:srcRect/>
            <a:stretch/>
          </p:blipFill>
          <p:spPr>
            <a:xfrm>
              <a:off x="5359075" y="3548855"/>
              <a:ext cx="777318" cy="200115"/>
            </a:xfrm>
            <a:prstGeom prst="rect">
              <a:avLst/>
            </a:prstGeom>
            <a:noFill/>
            <a:ln>
              <a:noFill/>
            </a:ln>
          </p:spPr>
        </p:pic>
        <p:pic>
          <p:nvPicPr>
            <p:cNvPr id="1399" name="Google Shape;1399;p149" descr="Text&#10;&#10;Description automatically generated with medium confidence"/>
            <p:cNvPicPr preferRelativeResize="0"/>
            <p:nvPr/>
          </p:nvPicPr>
          <p:blipFill rotWithShape="1">
            <a:blip r:embed="rId28">
              <a:alphaModFix/>
            </a:blip>
            <a:srcRect/>
            <a:stretch/>
          </p:blipFill>
          <p:spPr>
            <a:xfrm>
              <a:off x="5034727" y="3111933"/>
              <a:ext cx="607423" cy="302092"/>
            </a:xfrm>
            <a:prstGeom prst="rect">
              <a:avLst/>
            </a:prstGeom>
            <a:noFill/>
            <a:ln>
              <a:noFill/>
            </a:ln>
          </p:spPr>
        </p:pic>
        <p:pic>
          <p:nvPicPr>
            <p:cNvPr id="1400" name="Google Shape;1400;p149"/>
            <p:cNvPicPr preferRelativeResize="0"/>
            <p:nvPr/>
          </p:nvPicPr>
          <p:blipFill rotWithShape="1">
            <a:blip r:embed="rId29">
              <a:clrChange>
                <a:clrFrom>
                  <a:srgbClr val="000000"/>
                </a:clrFrom>
                <a:clrTo>
                  <a:srgbClr val="000000">
                    <a:alpha val="0"/>
                  </a:srgbClr>
                </a:clrTo>
              </a:clrChange>
              <a:alphaModFix/>
            </a:blip>
            <a:srcRect/>
            <a:stretch/>
          </p:blipFill>
          <p:spPr>
            <a:xfrm>
              <a:off x="4811708" y="3437931"/>
              <a:ext cx="447575" cy="387257"/>
            </a:xfrm>
            <a:prstGeom prst="rect">
              <a:avLst/>
            </a:prstGeom>
            <a:noFill/>
            <a:ln>
              <a:noFill/>
            </a:ln>
          </p:spPr>
        </p:pic>
        <p:pic>
          <p:nvPicPr>
            <p:cNvPr id="1401" name="Google Shape;1401;p149"/>
            <p:cNvPicPr preferRelativeResize="0"/>
            <p:nvPr/>
          </p:nvPicPr>
          <p:blipFill rotWithShape="1">
            <a:blip r:embed="rId30">
              <a:alphaModFix/>
            </a:blip>
            <a:srcRect/>
            <a:stretch/>
          </p:blipFill>
          <p:spPr>
            <a:xfrm>
              <a:off x="5153937" y="2227851"/>
              <a:ext cx="590440" cy="332130"/>
            </a:xfrm>
            <a:prstGeom prst="rect">
              <a:avLst/>
            </a:prstGeom>
            <a:noFill/>
            <a:ln>
              <a:noFill/>
            </a:ln>
          </p:spPr>
        </p:pic>
        <p:pic>
          <p:nvPicPr>
            <p:cNvPr id="1402" name="Google Shape;1402;p149" descr="Brand Assets - Prefect"/>
            <p:cNvPicPr preferRelativeResize="0"/>
            <p:nvPr/>
          </p:nvPicPr>
          <p:blipFill rotWithShape="1">
            <a:blip r:embed="rId31">
              <a:alphaModFix/>
            </a:blip>
            <a:srcRect/>
            <a:stretch/>
          </p:blipFill>
          <p:spPr>
            <a:xfrm>
              <a:off x="5107020" y="2633609"/>
              <a:ext cx="621096" cy="158970"/>
            </a:xfrm>
            <a:prstGeom prst="rect">
              <a:avLst/>
            </a:prstGeom>
            <a:noFill/>
            <a:ln>
              <a:noFill/>
            </a:ln>
          </p:spPr>
        </p:pic>
        <p:pic>
          <p:nvPicPr>
            <p:cNvPr id="1403" name="Google Shape;1403;p149" descr="Kubeflow logo? · Issue #187 · kubeflow/kubeflow · GitHub"/>
            <p:cNvPicPr preferRelativeResize="0"/>
            <p:nvPr/>
          </p:nvPicPr>
          <p:blipFill rotWithShape="1">
            <a:blip r:embed="rId32">
              <a:alphaModFix/>
            </a:blip>
            <a:srcRect/>
            <a:stretch/>
          </p:blipFill>
          <p:spPr>
            <a:xfrm>
              <a:off x="4557086" y="2573712"/>
              <a:ext cx="503600" cy="503600"/>
            </a:xfrm>
            <a:prstGeom prst="rect">
              <a:avLst/>
            </a:prstGeom>
            <a:noFill/>
            <a:ln>
              <a:noFill/>
            </a:ln>
          </p:spPr>
        </p:pic>
        <p:pic>
          <p:nvPicPr>
            <p:cNvPr id="1404" name="Google Shape;1404;p149" descr="GitHub - Netflix/metaflow: Build and manage real-life data science projects  with ease!"/>
            <p:cNvPicPr preferRelativeResize="0"/>
            <p:nvPr/>
          </p:nvPicPr>
          <p:blipFill rotWithShape="1">
            <a:blip r:embed="rId33">
              <a:alphaModFix/>
            </a:blip>
            <a:srcRect/>
            <a:stretch/>
          </p:blipFill>
          <p:spPr>
            <a:xfrm>
              <a:off x="5816619" y="2614867"/>
              <a:ext cx="735811" cy="367906"/>
            </a:xfrm>
            <a:prstGeom prst="rect">
              <a:avLst/>
            </a:prstGeom>
            <a:noFill/>
            <a:ln>
              <a:noFill/>
            </a:ln>
          </p:spPr>
        </p:pic>
        <p:pic>
          <p:nvPicPr>
            <p:cNvPr id="1405" name="Google Shape;1405;p149" descr="Managed MLflow – Databricks"/>
            <p:cNvPicPr preferRelativeResize="0"/>
            <p:nvPr/>
          </p:nvPicPr>
          <p:blipFill rotWithShape="1">
            <a:blip r:embed="rId34">
              <a:alphaModFix/>
            </a:blip>
            <a:srcRect/>
            <a:stretch/>
          </p:blipFill>
          <p:spPr>
            <a:xfrm>
              <a:off x="5327083" y="2819797"/>
              <a:ext cx="558784" cy="215894"/>
            </a:xfrm>
            <a:prstGeom prst="rect">
              <a:avLst/>
            </a:prstGeom>
            <a:noFill/>
            <a:ln>
              <a:noFill/>
            </a:ln>
          </p:spPr>
        </p:pic>
        <p:cxnSp>
          <p:nvCxnSpPr>
            <p:cNvPr id="1406" name="Google Shape;1406;p149"/>
            <p:cNvCxnSpPr/>
            <p:nvPr/>
          </p:nvCxnSpPr>
          <p:spPr>
            <a:xfrm>
              <a:off x="10427856" y="4667432"/>
              <a:ext cx="1189565" cy="0"/>
            </a:xfrm>
            <a:prstGeom prst="straightConnector1">
              <a:avLst/>
            </a:prstGeom>
            <a:noFill/>
            <a:ln w="12700" cap="flat" cmpd="sng">
              <a:solidFill>
                <a:schemeClr val="dk1"/>
              </a:solidFill>
              <a:prstDash val="dash"/>
              <a:round/>
              <a:headEnd type="none" w="sm" len="sm"/>
              <a:tailEnd type="none" w="sm" len="sm"/>
            </a:ln>
          </p:spPr>
        </p:cxnSp>
        <p:sp>
          <p:nvSpPr>
            <p:cNvPr id="1407" name="Google Shape;1407;p149"/>
            <p:cNvSpPr txBox="1"/>
            <p:nvPr/>
          </p:nvSpPr>
          <p:spPr>
            <a:xfrm>
              <a:off x="10334347" y="4351393"/>
              <a:ext cx="1491310"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rgbClr val="00B9FF"/>
                  </a:solidFill>
                  <a:latin typeface="Calibri"/>
                  <a:ea typeface="Calibri"/>
                  <a:cs typeface="Calibri"/>
                  <a:sym typeface="Calibri"/>
                </a:rPr>
                <a:t>Acquire and Prepare</a:t>
              </a:r>
              <a:endParaRPr sz="1400" b="0" i="0" u="none" strike="noStrike" cap="none">
                <a:solidFill>
                  <a:srgbClr val="000000"/>
                </a:solidFill>
                <a:latin typeface="Calibri"/>
                <a:ea typeface="Calibri"/>
                <a:cs typeface="Calibri"/>
                <a:sym typeface="Calibri"/>
              </a:endParaRPr>
            </a:p>
          </p:txBody>
        </p:sp>
        <p:cxnSp>
          <p:nvCxnSpPr>
            <p:cNvPr id="1408" name="Google Shape;1408;p149"/>
            <p:cNvCxnSpPr/>
            <p:nvPr/>
          </p:nvCxnSpPr>
          <p:spPr>
            <a:xfrm>
              <a:off x="10427856" y="5147383"/>
              <a:ext cx="1212260" cy="0"/>
            </a:xfrm>
            <a:prstGeom prst="straightConnector1">
              <a:avLst/>
            </a:prstGeom>
            <a:noFill/>
            <a:ln w="12700" cap="flat" cmpd="sng">
              <a:solidFill>
                <a:schemeClr val="dk1"/>
              </a:solidFill>
              <a:prstDash val="dash"/>
              <a:round/>
              <a:headEnd type="none" w="sm" len="sm"/>
              <a:tailEnd type="none" w="sm" len="sm"/>
            </a:ln>
          </p:spPr>
        </p:cxnSp>
        <p:sp>
          <p:nvSpPr>
            <p:cNvPr id="1409" name="Google Shape;1409;p149"/>
            <p:cNvSpPr txBox="1"/>
            <p:nvPr/>
          </p:nvSpPr>
          <p:spPr>
            <a:xfrm>
              <a:off x="10334346" y="4826258"/>
              <a:ext cx="1209327" cy="276959"/>
            </a:xfrm>
            <a:prstGeom prst="rect">
              <a:avLst/>
            </a:prstGeom>
            <a:solidFill>
              <a:srgbClr val="FFFFFF"/>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rgbClr val="4365A9"/>
                  </a:solidFill>
                  <a:latin typeface="Calibri"/>
                  <a:ea typeface="Calibri"/>
                  <a:cs typeface="Calibri"/>
                  <a:sym typeface="Calibri"/>
                </a:rPr>
                <a:t>Analyze</a:t>
              </a:r>
              <a:endParaRPr sz="1400" b="0" i="0" u="none" strike="noStrike" cap="none">
                <a:solidFill>
                  <a:srgbClr val="4365A9"/>
                </a:solidFill>
                <a:latin typeface="Calibri"/>
                <a:ea typeface="Calibri"/>
                <a:cs typeface="Calibri"/>
                <a:sym typeface="Calibri"/>
              </a:endParaRPr>
            </a:p>
          </p:txBody>
        </p:sp>
        <p:sp>
          <p:nvSpPr>
            <p:cNvPr id="1410" name="Google Shape;1410;p149"/>
            <p:cNvSpPr/>
            <p:nvPr/>
          </p:nvSpPr>
          <p:spPr>
            <a:xfrm>
              <a:off x="10265985" y="4462450"/>
              <a:ext cx="98165" cy="9816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411" name="Google Shape;1411;p149"/>
            <p:cNvSpPr/>
            <p:nvPr/>
          </p:nvSpPr>
          <p:spPr>
            <a:xfrm>
              <a:off x="10265985" y="4925761"/>
              <a:ext cx="98165" cy="98165"/>
            </a:xfrm>
            <a:prstGeom prst="rect">
              <a:avLst/>
            </a:prstGeom>
            <a:solidFill>
              <a:srgbClr val="4365A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43E1D3"/>
                </a:solidFill>
                <a:latin typeface="Calibri"/>
                <a:ea typeface="Calibri"/>
                <a:cs typeface="Calibri"/>
                <a:sym typeface="Calibri"/>
              </a:endParaRPr>
            </a:p>
          </p:txBody>
        </p:sp>
        <p:cxnSp>
          <p:nvCxnSpPr>
            <p:cNvPr id="1412" name="Google Shape;1412;p149"/>
            <p:cNvCxnSpPr>
              <a:endCxn id="1413" idx="0"/>
            </p:cNvCxnSpPr>
            <p:nvPr/>
          </p:nvCxnSpPr>
          <p:spPr>
            <a:xfrm>
              <a:off x="4090474" y="1364569"/>
              <a:ext cx="972300" cy="416400"/>
            </a:xfrm>
            <a:prstGeom prst="bentConnector2">
              <a:avLst/>
            </a:prstGeom>
            <a:noFill/>
            <a:ln w="12700" cap="flat" cmpd="sng">
              <a:solidFill>
                <a:schemeClr val="dk1"/>
              </a:solidFill>
              <a:prstDash val="dash"/>
              <a:round/>
              <a:headEnd type="none" w="sm" len="sm"/>
              <a:tailEnd type="none" w="sm" len="sm"/>
            </a:ln>
          </p:spPr>
        </p:cxnSp>
        <p:sp>
          <p:nvSpPr>
            <p:cNvPr id="1413" name="Google Shape;1413;p149"/>
            <p:cNvSpPr/>
            <p:nvPr/>
          </p:nvSpPr>
          <p:spPr>
            <a:xfrm>
              <a:off x="5028567" y="1780969"/>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414" name="Google Shape;1414;p149"/>
            <p:cNvSpPr txBox="1"/>
            <p:nvPr/>
          </p:nvSpPr>
          <p:spPr>
            <a:xfrm>
              <a:off x="3984293" y="1051363"/>
              <a:ext cx="1076393" cy="3385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2"/>
                  </a:solidFill>
                  <a:latin typeface="Calibri"/>
                  <a:ea typeface="Calibri"/>
                  <a:cs typeface="Calibri"/>
                  <a:sym typeface="Calibri"/>
                </a:rPr>
                <a:t>Interface</a:t>
              </a:r>
              <a:endParaRPr sz="1400" b="0" i="0" u="none" strike="noStrike" cap="none">
                <a:solidFill>
                  <a:schemeClr val="dk2"/>
                </a:solidFill>
                <a:latin typeface="Calibri"/>
                <a:ea typeface="Calibri"/>
                <a:cs typeface="Calibri"/>
                <a:sym typeface="Calibri"/>
              </a:endParaRPr>
            </a:p>
          </p:txBody>
        </p:sp>
        <p:cxnSp>
          <p:nvCxnSpPr>
            <p:cNvPr id="1415" name="Google Shape;1415;p149"/>
            <p:cNvCxnSpPr/>
            <p:nvPr/>
          </p:nvCxnSpPr>
          <p:spPr>
            <a:xfrm>
              <a:off x="1471625" y="1589475"/>
              <a:ext cx="3635100" cy="722400"/>
            </a:xfrm>
            <a:prstGeom prst="bentConnector3">
              <a:avLst>
                <a:gd name="adj1" fmla="val 50019"/>
              </a:avLst>
            </a:prstGeom>
            <a:noFill/>
            <a:ln w="12700" cap="flat" cmpd="sng">
              <a:solidFill>
                <a:schemeClr val="dk1"/>
              </a:solidFill>
              <a:prstDash val="dash"/>
              <a:round/>
              <a:headEnd type="none" w="sm" len="sm"/>
              <a:tailEnd type="none" w="sm" len="sm"/>
            </a:ln>
          </p:spPr>
        </p:cxnSp>
        <p:sp>
          <p:nvSpPr>
            <p:cNvPr id="1416" name="Google Shape;1416;p149"/>
            <p:cNvSpPr txBox="1"/>
            <p:nvPr/>
          </p:nvSpPr>
          <p:spPr>
            <a:xfrm>
              <a:off x="1102626" y="1182517"/>
              <a:ext cx="1356600" cy="338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2"/>
                  </a:solidFill>
                  <a:latin typeface="Calibri"/>
                  <a:ea typeface="Calibri"/>
                  <a:cs typeface="Calibri"/>
                  <a:sym typeface="Calibri"/>
                </a:rPr>
                <a:t>Orchestration</a:t>
              </a:r>
              <a:endParaRPr sz="1400" b="0" i="0" u="none" strike="noStrike" cap="none">
                <a:solidFill>
                  <a:schemeClr val="dk2"/>
                </a:solidFill>
                <a:latin typeface="Calibri"/>
                <a:ea typeface="Calibri"/>
                <a:cs typeface="Calibri"/>
                <a:sym typeface="Calibri"/>
              </a:endParaRPr>
            </a:p>
          </p:txBody>
        </p:sp>
        <p:cxnSp>
          <p:nvCxnSpPr>
            <p:cNvPr id="1417" name="Google Shape;1417;p149"/>
            <p:cNvCxnSpPr/>
            <p:nvPr/>
          </p:nvCxnSpPr>
          <p:spPr>
            <a:xfrm>
              <a:off x="10427856" y="5615115"/>
              <a:ext cx="1212260" cy="0"/>
            </a:xfrm>
            <a:prstGeom prst="straightConnector1">
              <a:avLst/>
            </a:prstGeom>
            <a:noFill/>
            <a:ln w="12700" cap="flat" cmpd="sng">
              <a:solidFill>
                <a:schemeClr val="dk1"/>
              </a:solidFill>
              <a:prstDash val="dash"/>
              <a:round/>
              <a:headEnd type="none" w="sm" len="sm"/>
              <a:tailEnd type="none" w="sm" len="sm"/>
            </a:ln>
          </p:spPr>
        </p:cxnSp>
        <p:sp>
          <p:nvSpPr>
            <p:cNvPr id="1418" name="Google Shape;1418;p149"/>
            <p:cNvSpPr txBox="1"/>
            <p:nvPr/>
          </p:nvSpPr>
          <p:spPr>
            <a:xfrm>
              <a:off x="10326552" y="5302456"/>
              <a:ext cx="1209327" cy="27695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2"/>
                  </a:solidFill>
                  <a:latin typeface="Calibri"/>
                  <a:ea typeface="Calibri"/>
                  <a:cs typeface="Calibri"/>
                  <a:sym typeface="Calibri"/>
                </a:rPr>
                <a:t>Deploy</a:t>
              </a:r>
              <a:endParaRPr sz="1400" b="0" i="0" u="none" strike="noStrike" cap="none">
                <a:solidFill>
                  <a:schemeClr val="dk2"/>
                </a:solidFill>
                <a:latin typeface="Calibri"/>
                <a:ea typeface="Calibri"/>
                <a:cs typeface="Calibri"/>
                <a:sym typeface="Calibri"/>
              </a:endParaRPr>
            </a:p>
          </p:txBody>
        </p:sp>
        <p:sp>
          <p:nvSpPr>
            <p:cNvPr id="1419" name="Google Shape;1419;p149"/>
            <p:cNvSpPr/>
            <p:nvPr/>
          </p:nvSpPr>
          <p:spPr>
            <a:xfrm>
              <a:off x="10265985" y="5401959"/>
              <a:ext cx="98165" cy="9816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420" name="Google Shape;1420;p149"/>
            <p:cNvSpPr/>
            <p:nvPr/>
          </p:nvSpPr>
          <p:spPr>
            <a:xfrm>
              <a:off x="10205954" y="2587926"/>
              <a:ext cx="5611" cy="8355"/>
            </a:xfrm>
            <a:custGeom>
              <a:avLst/>
              <a:gdLst/>
              <a:ahLst/>
              <a:cxnLst/>
              <a:rect l="l" t="t" r="r" b="b"/>
              <a:pathLst>
                <a:path w="5611" h="8355" extrusionOk="0">
                  <a:moveTo>
                    <a:pt x="5611" y="1342"/>
                  </a:moveTo>
                  <a:cubicBezTo>
                    <a:pt x="5367" y="915"/>
                    <a:pt x="5062" y="488"/>
                    <a:pt x="4818" y="0"/>
                  </a:cubicBezTo>
                  <a:cubicBezTo>
                    <a:pt x="3354" y="2866"/>
                    <a:pt x="1708" y="5611"/>
                    <a:pt x="0" y="8355"/>
                  </a:cubicBezTo>
                  <a:lnTo>
                    <a:pt x="1769" y="8355"/>
                  </a:lnTo>
                  <a:cubicBezTo>
                    <a:pt x="3110" y="6038"/>
                    <a:pt x="4391" y="3720"/>
                    <a:pt x="5611" y="1342"/>
                  </a:cubicBezTo>
                  <a:close/>
                </a:path>
              </a:pathLst>
            </a:custGeom>
            <a:solidFill>
              <a:srgbClr val="0005C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421" name="Google Shape;1421;p149"/>
            <p:cNvSpPr/>
            <p:nvPr/>
          </p:nvSpPr>
          <p:spPr>
            <a:xfrm>
              <a:off x="10210711" y="2531634"/>
              <a:ext cx="14271" cy="57695"/>
            </a:xfrm>
            <a:custGeom>
              <a:avLst/>
              <a:gdLst/>
              <a:ahLst/>
              <a:cxnLst/>
              <a:rect l="l" t="t" r="r" b="b"/>
              <a:pathLst>
                <a:path w="14271" h="57695" extrusionOk="0">
                  <a:moveTo>
                    <a:pt x="14271" y="1403"/>
                  </a:moveTo>
                  <a:cubicBezTo>
                    <a:pt x="14271" y="915"/>
                    <a:pt x="14210" y="427"/>
                    <a:pt x="14210" y="0"/>
                  </a:cubicBezTo>
                  <a:cubicBezTo>
                    <a:pt x="13966" y="20309"/>
                    <a:pt x="8843" y="39460"/>
                    <a:pt x="0" y="56353"/>
                  </a:cubicBezTo>
                  <a:cubicBezTo>
                    <a:pt x="244" y="56780"/>
                    <a:pt x="549" y="57207"/>
                    <a:pt x="793" y="57695"/>
                  </a:cubicBezTo>
                  <a:cubicBezTo>
                    <a:pt x="9331" y="40801"/>
                    <a:pt x="14210" y="21712"/>
                    <a:pt x="14210" y="1464"/>
                  </a:cubicBezTo>
                  <a:close/>
                </a:path>
              </a:pathLst>
            </a:custGeom>
            <a:solidFill>
              <a:srgbClr val="0005C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1422" name="Google Shape;1422;p149"/>
            <p:cNvSpPr/>
            <p:nvPr/>
          </p:nvSpPr>
          <p:spPr>
            <a:xfrm>
              <a:off x="10198513" y="2596282"/>
              <a:ext cx="9209" cy="10733"/>
            </a:xfrm>
            <a:custGeom>
              <a:avLst/>
              <a:gdLst/>
              <a:ahLst/>
              <a:cxnLst/>
              <a:rect l="l" t="t" r="r" b="b"/>
              <a:pathLst>
                <a:path w="9209" h="10733" extrusionOk="0">
                  <a:moveTo>
                    <a:pt x="0" y="10734"/>
                  </a:moveTo>
                  <a:lnTo>
                    <a:pt x="2135" y="10734"/>
                  </a:lnTo>
                  <a:cubicBezTo>
                    <a:pt x="4635" y="7319"/>
                    <a:pt x="7014" y="3720"/>
                    <a:pt x="9209" y="0"/>
                  </a:cubicBezTo>
                  <a:lnTo>
                    <a:pt x="7441" y="0"/>
                  </a:lnTo>
                  <a:cubicBezTo>
                    <a:pt x="5184" y="3537"/>
                    <a:pt x="2866" y="7075"/>
                    <a:pt x="305" y="10368"/>
                  </a:cubicBezTo>
                  <a:lnTo>
                    <a:pt x="61" y="10673"/>
                  </a:lnTo>
                  <a:close/>
                </a:path>
              </a:pathLst>
            </a:custGeom>
            <a:solidFill>
              <a:srgbClr val="BD6A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pic>
          <p:nvPicPr>
            <p:cNvPr id="1423" name="Google Shape;1423;p149"/>
            <p:cNvPicPr preferRelativeResize="0"/>
            <p:nvPr/>
          </p:nvPicPr>
          <p:blipFill rotWithShape="1">
            <a:blip r:embed="rId35">
              <a:alphaModFix/>
            </a:blip>
            <a:srcRect/>
            <a:stretch/>
          </p:blipFill>
          <p:spPr>
            <a:xfrm>
              <a:off x="6787909" y="1787348"/>
              <a:ext cx="556343" cy="137331"/>
            </a:xfrm>
            <a:prstGeom prst="rect">
              <a:avLst/>
            </a:prstGeom>
            <a:noFill/>
            <a:ln>
              <a:noFill/>
            </a:ln>
          </p:spPr>
        </p:pic>
        <p:pic>
          <p:nvPicPr>
            <p:cNvPr id="1424" name="Google Shape;1424;p149"/>
            <p:cNvPicPr preferRelativeResize="0"/>
            <p:nvPr/>
          </p:nvPicPr>
          <p:blipFill rotWithShape="1">
            <a:blip r:embed="rId36">
              <a:alphaModFix/>
            </a:blip>
            <a:srcRect/>
            <a:stretch/>
          </p:blipFill>
          <p:spPr>
            <a:xfrm>
              <a:off x="6598992" y="1944379"/>
              <a:ext cx="544243" cy="157828"/>
            </a:xfrm>
            <a:prstGeom prst="rect">
              <a:avLst/>
            </a:prstGeom>
            <a:noFill/>
            <a:ln>
              <a:noFill/>
            </a:ln>
          </p:spPr>
        </p:pic>
        <p:pic>
          <p:nvPicPr>
            <p:cNvPr id="1425" name="Google Shape;1425;p149"/>
            <p:cNvPicPr preferRelativeResize="0"/>
            <p:nvPr/>
          </p:nvPicPr>
          <p:blipFill rotWithShape="1">
            <a:blip r:embed="rId37">
              <a:alphaModFix/>
            </a:blip>
            <a:srcRect/>
            <a:stretch/>
          </p:blipFill>
          <p:spPr>
            <a:xfrm>
              <a:off x="6603804" y="2236011"/>
              <a:ext cx="790775" cy="260440"/>
            </a:xfrm>
            <a:prstGeom prst="rect">
              <a:avLst/>
            </a:prstGeom>
            <a:noFill/>
            <a:ln>
              <a:noFill/>
            </a:ln>
          </p:spPr>
        </p:pic>
        <p:pic>
          <p:nvPicPr>
            <p:cNvPr id="1426" name="Google Shape;1426;p149" descr="LF AI &amp; Data Foundation Logos and Artwork - ONNX"/>
            <p:cNvPicPr preferRelativeResize="0"/>
            <p:nvPr/>
          </p:nvPicPr>
          <p:blipFill rotWithShape="1">
            <a:blip r:embed="rId38">
              <a:alphaModFix/>
            </a:blip>
            <a:srcRect/>
            <a:stretch/>
          </p:blipFill>
          <p:spPr>
            <a:xfrm>
              <a:off x="7304274" y="2588309"/>
              <a:ext cx="552056" cy="152773"/>
            </a:xfrm>
            <a:prstGeom prst="rect">
              <a:avLst/>
            </a:prstGeom>
            <a:noFill/>
            <a:ln>
              <a:noFill/>
            </a:ln>
          </p:spPr>
        </p:pic>
        <p:pic>
          <p:nvPicPr>
            <p:cNvPr id="1427" name="Google Shape;1427;p149"/>
            <p:cNvPicPr preferRelativeResize="0"/>
            <p:nvPr/>
          </p:nvPicPr>
          <p:blipFill rotWithShape="1">
            <a:blip r:embed="rId39">
              <a:alphaModFix/>
            </a:blip>
            <a:srcRect/>
            <a:stretch/>
          </p:blipFill>
          <p:spPr>
            <a:xfrm>
              <a:off x="6578225" y="1500452"/>
              <a:ext cx="590121" cy="227107"/>
            </a:xfrm>
            <a:prstGeom prst="rect">
              <a:avLst/>
            </a:prstGeom>
            <a:noFill/>
            <a:ln>
              <a:noFill/>
            </a:ln>
          </p:spPr>
        </p:pic>
        <p:pic>
          <p:nvPicPr>
            <p:cNvPr id="1428" name="Google Shape;1428;p149" descr="AI and Machine Learning Applications in Atlanta | Digital Scientists"/>
            <p:cNvPicPr preferRelativeResize="0"/>
            <p:nvPr/>
          </p:nvPicPr>
          <p:blipFill rotWithShape="1">
            <a:blip r:embed="rId40">
              <a:alphaModFix/>
            </a:blip>
            <a:srcRect/>
            <a:stretch/>
          </p:blipFill>
          <p:spPr>
            <a:xfrm>
              <a:off x="7285624" y="2676031"/>
              <a:ext cx="708492" cy="458191"/>
            </a:xfrm>
            <a:prstGeom prst="rect">
              <a:avLst/>
            </a:prstGeom>
            <a:noFill/>
            <a:ln>
              <a:noFill/>
            </a:ln>
          </p:spPr>
        </p:pic>
        <p:pic>
          <p:nvPicPr>
            <p:cNvPr id="1429" name="Google Shape;1429;p149" descr="A picture containing pool ball&#10;&#10;Description automatically generated"/>
            <p:cNvPicPr preferRelativeResize="0"/>
            <p:nvPr/>
          </p:nvPicPr>
          <p:blipFill rotWithShape="1">
            <a:blip r:embed="rId41">
              <a:alphaModFix/>
            </a:blip>
            <a:srcRect/>
            <a:stretch/>
          </p:blipFill>
          <p:spPr>
            <a:xfrm>
              <a:off x="6566554" y="2506024"/>
              <a:ext cx="794004" cy="343196"/>
            </a:xfrm>
            <a:prstGeom prst="rect">
              <a:avLst/>
            </a:prstGeom>
            <a:noFill/>
            <a:ln>
              <a:noFill/>
            </a:ln>
          </p:spPr>
        </p:pic>
        <p:cxnSp>
          <p:nvCxnSpPr>
            <p:cNvPr id="1430" name="Google Shape;1430;p149"/>
            <p:cNvCxnSpPr/>
            <p:nvPr/>
          </p:nvCxnSpPr>
          <p:spPr>
            <a:xfrm flipH="1">
              <a:off x="7263999" y="1456597"/>
              <a:ext cx="1646400" cy="213000"/>
            </a:xfrm>
            <a:prstGeom prst="bentConnector3">
              <a:avLst>
                <a:gd name="adj1" fmla="val 78773"/>
              </a:avLst>
            </a:prstGeom>
            <a:noFill/>
            <a:ln w="12700" cap="flat" cmpd="sng">
              <a:solidFill>
                <a:schemeClr val="dk1"/>
              </a:solidFill>
              <a:prstDash val="dash"/>
              <a:round/>
              <a:headEnd type="none" w="sm" len="sm"/>
              <a:tailEnd type="none" w="sm" len="sm"/>
            </a:ln>
          </p:spPr>
        </p:cxnSp>
        <p:sp>
          <p:nvSpPr>
            <p:cNvPr id="1431" name="Google Shape;1431;p149"/>
            <p:cNvSpPr/>
            <p:nvPr/>
          </p:nvSpPr>
          <p:spPr>
            <a:xfrm>
              <a:off x="7235080" y="1681444"/>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432" name="Google Shape;1432;p149"/>
            <p:cNvSpPr txBox="1"/>
            <p:nvPr/>
          </p:nvSpPr>
          <p:spPr>
            <a:xfrm>
              <a:off x="7364529" y="1124690"/>
              <a:ext cx="1669624" cy="33855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rgbClr val="4365A9"/>
                  </a:solidFill>
                  <a:latin typeface="Calibri"/>
                  <a:ea typeface="Calibri"/>
                  <a:cs typeface="Calibri"/>
                  <a:sym typeface="Calibri"/>
                </a:rPr>
                <a:t>Machine learning</a:t>
              </a:r>
              <a:endParaRPr sz="1400" b="0" i="0" u="none" strike="noStrike" cap="none">
                <a:solidFill>
                  <a:srgbClr val="4365A9"/>
                </a:solidFill>
                <a:latin typeface="Calibri"/>
                <a:ea typeface="Calibri"/>
                <a:cs typeface="Calibri"/>
                <a:sym typeface="Calibri"/>
              </a:endParaRPr>
            </a:p>
          </p:txBody>
        </p:sp>
        <p:pic>
          <p:nvPicPr>
            <p:cNvPr id="1433" name="Google Shape;1433;p149"/>
            <p:cNvPicPr preferRelativeResize="0"/>
            <p:nvPr/>
          </p:nvPicPr>
          <p:blipFill rotWithShape="1">
            <a:blip r:embed="rId42">
              <a:alphaModFix/>
            </a:blip>
            <a:srcRect/>
            <a:stretch/>
          </p:blipFill>
          <p:spPr>
            <a:xfrm>
              <a:off x="7231257" y="3236718"/>
              <a:ext cx="144474" cy="156061"/>
            </a:xfrm>
            <a:prstGeom prst="rect">
              <a:avLst/>
            </a:prstGeom>
            <a:noFill/>
            <a:ln>
              <a:noFill/>
            </a:ln>
          </p:spPr>
        </p:pic>
        <p:pic>
          <p:nvPicPr>
            <p:cNvPr id="1434" name="Google Shape;1434;p149"/>
            <p:cNvPicPr preferRelativeResize="0"/>
            <p:nvPr/>
          </p:nvPicPr>
          <p:blipFill rotWithShape="1">
            <a:blip r:embed="rId43">
              <a:alphaModFix/>
            </a:blip>
            <a:srcRect/>
            <a:stretch/>
          </p:blipFill>
          <p:spPr>
            <a:xfrm>
              <a:off x="6995964" y="3720982"/>
              <a:ext cx="371659" cy="165216"/>
            </a:xfrm>
            <a:prstGeom prst="rect">
              <a:avLst/>
            </a:prstGeom>
            <a:noFill/>
            <a:ln>
              <a:noFill/>
            </a:ln>
          </p:spPr>
        </p:pic>
        <p:pic>
          <p:nvPicPr>
            <p:cNvPr id="1435" name="Google Shape;1435;p149"/>
            <p:cNvPicPr preferRelativeResize="0"/>
            <p:nvPr/>
          </p:nvPicPr>
          <p:blipFill rotWithShape="1">
            <a:blip r:embed="rId44">
              <a:alphaModFix/>
            </a:blip>
            <a:srcRect/>
            <a:stretch/>
          </p:blipFill>
          <p:spPr>
            <a:xfrm>
              <a:off x="6890670" y="3501440"/>
              <a:ext cx="582245" cy="175678"/>
            </a:xfrm>
            <a:prstGeom prst="rect">
              <a:avLst/>
            </a:prstGeom>
            <a:noFill/>
            <a:ln>
              <a:noFill/>
            </a:ln>
          </p:spPr>
        </p:pic>
        <p:pic>
          <p:nvPicPr>
            <p:cNvPr id="1436" name="Google Shape;1436;p149"/>
            <p:cNvPicPr preferRelativeResize="0"/>
            <p:nvPr/>
          </p:nvPicPr>
          <p:blipFill rotWithShape="1">
            <a:blip r:embed="rId45">
              <a:alphaModFix/>
            </a:blip>
            <a:srcRect/>
            <a:stretch/>
          </p:blipFill>
          <p:spPr>
            <a:xfrm>
              <a:off x="6351435" y="3450654"/>
              <a:ext cx="452315" cy="147667"/>
            </a:xfrm>
            <a:prstGeom prst="rect">
              <a:avLst/>
            </a:prstGeom>
            <a:noFill/>
            <a:ln>
              <a:noFill/>
            </a:ln>
          </p:spPr>
        </p:pic>
        <p:pic>
          <p:nvPicPr>
            <p:cNvPr id="1437" name="Google Shape;1437;p149"/>
            <p:cNvPicPr preferRelativeResize="0"/>
            <p:nvPr/>
          </p:nvPicPr>
          <p:blipFill rotWithShape="1">
            <a:blip r:embed="rId46">
              <a:alphaModFix/>
            </a:blip>
            <a:srcRect/>
            <a:stretch/>
          </p:blipFill>
          <p:spPr>
            <a:xfrm>
              <a:off x="6574906" y="3983408"/>
              <a:ext cx="696724" cy="164149"/>
            </a:xfrm>
            <a:prstGeom prst="rect">
              <a:avLst/>
            </a:prstGeom>
            <a:noFill/>
            <a:ln>
              <a:noFill/>
            </a:ln>
          </p:spPr>
        </p:pic>
        <p:cxnSp>
          <p:nvCxnSpPr>
            <p:cNvPr id="1438" name="Google Shape;1438;p149"/>
            <p:cNvCxnSpPr>
              <a:endCxn id="1439" idx="6"/>
            </p:cNvCxnSpPr>
            <p:nvPr/>
          </p:nvCxnSpPr>
          <p:spPr>
            <a:xfrm flipH="1">
              <a:off x="7537739" y="3690139"/>
              <a:ext cx="2617800" cy="285900"/>
            </a:xfrm>
            <a:prstGeom prst="bentConnector3">
              <a:avLst>
                <a:gd name="adj1" fmla="val 35175"/>
              </a:avLst>
            </a:prstGeom>
            <a:noFill/>
            <a:ln w="12700" cap="flat" cmpd="sng">
              <a:solidFill>
                <a:schemeClr val="dk1"/>
              </a:solidFill>
              <a:prstDash val="dash"/>
              <a:round/>
              <a:headEnd type="none" w="sm" len="sm"/>
              <a:tailEnd type="none" w="sm" len="sm"/>
            </a:ln>
          </p:spPr>
        </p:cxnSp>
        <p:sp>
          <p:nvSpPr>
            <p:cNvPr id="1439" name="Google Shape;1439;p149"/>
            <p:cNvSpPr/>
            <p:nvPr/>
          </p:nvSpPr>
          <p:spPr>
            <a:xfrm>
              <a:off x="7469325" y="3941051"/>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440" name="Google Shape;1440;p149"/>
            <p:cNvSpPr txBox="1"/>
            <p:nvPr/>
          </p:nvSpPr>
          <p:spPr>
            <a:xfrm>
              <a:off x="8997427" y="3354027"/>
              <a:ext cx="1301962" cy="33855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rgbClr val="4365A9"/>
                  </a:solidFill>
                  <a:latin typeface="Calibri"/>
                  <a:ea typeface="Calibri"/>
                  <a:cs typeface="Calibri"/>
                  <a:sym typeface="Calibri"/>
                </a:rPr>
                <a:t>Visualization</a:t>
              </a:r>
              <a:endParaRPr sz="1400" b="0" i="0" u="none" strike="noStrike" cap="none">
                <a:solidFill>
                  <a:srgbClr val="4365A9"/>
                </a:solidFill>
                <a:latin typeface="Calibri"/>
                <a:ea typeface="Calibri"/>
                <a:cs typeface="Calibri"/>
                <a:sym typeface="Calibri"/>
              </a:endParaRPr>
            </a:p>
          </p:txBody>
        </p:sp>
        <p:pic>
          <p:nvPicPr>
            <p:cNvPr id="1441" name="Google Shape;1441;p149"/>
            <p:cNvPicPr preferRelativeResize="0"/>
            <p:nvPr/>
          </p:nvPicPr>
          <p:blipFill rotWithShape="1">
            <a:blip r:embed="rId47">
              <a:alphaModFix/>
            </a:blip>
            <a:srcRect/>
            <a:stretch/>
          </p:blipFill>
          <p:spPr>
            <a:xfrm>
              <a:off x="7890615" y="2678501"/>
              <a:ext cx="780378" cy="438969"/>
            </a:xfrm>
            <a:prstGeom prst="rect">
              <a:avLst/>
            </a:prstGeom>
            <a:noFill/>
            <a:ln>
              <a:noFill/>
            </a:ln>
          </p:spPr>
        </p:pic>
        <p:pic>
          <p:nvPicPr>
            <p:cNvPr id="1442" name="Google Shape;1442;p149"/>
            <p:cNvPicPr preferRelativeResize="0"/>
            <p:nvPr/>
          </p:nvPicPr>
          <p:blipFill rotWithShape="1">
            <a:blip r:embed="rId48">
              <a:alphaModFix/>
            </a:blip>
            <a:srcRect/>
            <a:stretch/>
          </p:blipFill>
          <p:spPr>
            <a:xfrm>
              <a:off x="7722368" y="3195923"/>
              <a:ext cx="817147" cy="330371"/>
            </a:xfrm>
            <a:prstGeom prst="rect">
              <a:avLst/>
            </a:prstGeom>
            <a:noFill/>
            <a:ln>
              <a:noFill/>
            </a:ln>
          </p:spPr>
        </p:pic>
        <p:pic>
          <p:nvPicPr>
            <p:cNvPr id="1443" name="Google Shape;1443;p149"/>
            <p:cNvPicPr preferRelativeResize="0"/>
            <p:nvPr/>
          </p:nvPicPr>
          <p:blipFill rotWithShape="1">
            <a:blip r:embed="rId49">
              <a:alphaModFix/>
            </a:blip>
            <a:srcRect/>
            <a:stretch/>
          </p:blipFill>
          <p:spPr>
            <a:xfrm>
              <a:off x="7644997" y="3577086"/>
              <a:ext cx="712531" cy="320780"/>
            </a:xfrm>
            <a:prstGeom prst="rect">
              <a:avLst/>
            </a:prstGeom>
            <a:noFill/>
            <a:ln>
              <a:noFill/>
            </a:ln>
          </p:spPr>
        </p:pic>
        <p:pic>
          <p:nvPicPr>
            <p:cNvPr id="1444" name="Google Shape;1444;p149"/>
            <p:cNvPicPr preferRelativeResize="0"/>
            <p:nvPr/>
          </p:nvPicPr>
          <p:blipFill rotWithShape="1">
            <a:blip r:embed="rId50">
              <a:alphaModFix/>
            </a:blip>
            <a:srcRect/>
            <a:stretch/>
          </p:blipFill>
          <p:spPr>
            <a:xfrm>
              <a:off x="7923477" y="2440213"/>
              <a:ext cx="314808" cy="243945"/>
            </a:xfrm>
            <a:prstGeom prst="rect">
              <a:avLst/>
            </a:prstGeom>
            <a:noFill/>
            <a:ln>
              <a:noFill/>
            </a:ln>
          </p:spPr>
        </p:pic>
        <p:cxnSp>
          <p:nvCxnSpPr>
            <p:cNvPr id="1445" name="Google Shape;1445;p149"/>
            <p:cNvCxnSpPr>
              <a:endCxn id="1446" idx="6"/>
            </p:cNvCxnSpPr>
            <p:nvPr/>
          </p:nvCxnSpPr>
          <p:spPr>
            <a:xfrm flipH="1">
              <a:off x="8622110" y="2856955"/>
              <a:ext cx="1550700" cy="273600"/>
            </a:xfrm>
            <a:prstGeom prst="bentConnector3">
              <a:avLst>
                <a:gd name="adj1" fmla="val 33977"/>
              </a:avLst>
            </a:prstGeom>
            <a:noFill/>
            <a:ln w="12700" cap="flat" cmpd="sng">
              <a:solidFill>
                <a:schemeClr val="dk1"/>
              </a:solidFill>
              <a:prstDash val="dash"/>
              <a:round/>
              <a:headEnd type="none" w="sm" len="sm"/>
              <a:tailEnd type="none" w="sm" len="sm"/>
            </a:ln>
          </p:spPr>
        </p:cxnSp>
        <p:sp>
          <p:nvSpPr>
            <p:cNvPr id="1446" name="Google Shape;1446;p149"/>
            <p:cNvSpPr/>
            <p:nvPr/>
          </p:nvSpPr>
          <p:spPr>
            <a:xfrm>
              <a:off x="8553696" y="3095567"/>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447" name="Google Shape;1447;p149"/>
            <p:cNvSpPr txBox="1"/>
            <p:nvPr/>
          </p:nvSpPr>
          <p:spPr>
            <a:xfrm>
              <a:off x="9307725" y="2516579"/>
              <a:ext cx="987336" cy="3385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rgbClr val="4365A9"/>
                  </a:solidFill>
                  <a:latin typeface="Calibri"/>
                  <a:ea typeface="Calibri"/>
                  <a:cs typeface="Calibri"/>
                  <a:sym typeface="Calibri"/>
                </a:rPr>
                <a:t>Statistics</a:t>
              </a:r>
              <a:endParaRPr sz="1400" b="0" i="0" u="none" strike="noStrike" cap="none">
                <a:solidFill>
                  <a:srgbClr val="4365A9"/>
                </a:solidFill>
                <a:latin typeface="Calibri"/>
                <a:ea typeface="Calibri"/>
                <a:cs typeface="Calibri"/>
                <a:sym typeface="Calibri"/>
              </a:endParaRPr>
            </a:p>
          </p:txBody>
        </p:sp>
        <p:cxnSp>
          <p:nvCxnSpPr>
            <p:cNvPr id="1448" name="Google Shape;1448;p149"/>
            <p:cNvCxnSpPr/>
            <p:nvPr/>
          </p:nvCxnSpPr>
          <p:spPr>
            <a:xfrm flipH="1">
              <a:off x="7693798" y="5554244"/>
              <a:ext cx="903300" cy="756000"/>
            </a:xfrm>
            <a:prstGeom prst="bentConnector3">
              <a:avLst>
                <a:gd name="adj1" fmla="val -41911"/>
              </a:avLst>
            </a:prstGeom>
            <a:noFill/>
            <a:ln w="12700" cap="flat" cmpd="sng">
              <a:solidFill>
                <a:schemeClr val="dk1"/>
              </a:solidFill>
              <a:prstDash val="dash"/>
              <a:round/>
              <a:headEnd type="none" w="sm" len="sm"/>
              <a:tailEnd type="none" w="sm" len="sm"/>
            </a:ln>
          </p:spPr>
        </p:cxnSp>
        <p:sp>
          <p:nvSpPr>
            <p:cNvPr id="1449" name="Google Shape;1449;p149"/>
            <p:cNvSpPr/>
            <p:nvPr/>
          </p:nvSpPr>
          <p:spPr>
            <a:xfrm>
              <a:off x="8587832" y="5520533"/>
              <a:ext cx="68414" cy="69975"/>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450" name="Google Shape;1450;p149"/>
            <p:cNvSpPr txBox="1"/>
            <p:nvPr/>
          </p:nvSpPr>
          <p:spPr>
            <a:xfrm>
              <a:off x="7598864" y="5982953"/>
              <a:ext cx="1005418" cy="33851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accent1"/>
                  </a:solidFill>
                  <a:latin typeface="Calibri"/>
                  <a:ea typeface="Calibri"/>
                  <a:cs typeface="Calibri"/>
                  <a:sym typeface="Calibri"/>
                </a:rPr>
                <a:t>Real time</a:t>
              </a:r>
              <a:endParaRPr sz="1400" b="0" i="0" u="none" strike="noStrike" cap="none">
                <a:solidFill>
                  <a:schemeClr val="accent1"/>
                </a:solidFill>
                <a:latin typeface="Calibri"/>
                <a:ea typeface="Calibri"/>
                <a:cs typeface="Calibri"/>
                <a:sym typeface="Calibri"/>
              </a:endParaRPr>
            </a:p>
          </p:txBody>
        </p:sp>
        <p:pic>
          <p:nvPicPr>
            <p:cNvPr id="1451" name="Google Shape;1451;p149" descr="Graphical user interface, application&#10;&#10;Description automatically generated"/>
            <p:cNvPicPr preferRelativeResize="0"/>
            <p:nvPr/>
          </p:nvPicPr>
          <p:blipFill rotWithShape="1">
            <a:blip r:embed="rId51">
              <a:alphaModFix/>
            </a:blip>
            <a:srcRect/>
            <a:stretch/>
          </p:blipFill>
          <p:spPr>
            <a:xfrm>
              <a:off x="3599377" y="3588522"/>
              <a:ext cx="936327" cy="226440"/>
            </a:xfrm>
            <a:prstGeom prst="rect">
              <a:avLst/>
            </a:prstGeom>
            <a:noFill/>
            <a:ln>
              <a:noFill/>
            </a:ln>
          </p:spPr>
        </p:pic>
        <p:pic>
          <p:nvPicPr>
            <p:cNvPr id="1452" name="Google Shape;1452;p149" descr="Graphical user interface&#10;&#10;Description automatically generated with medium confidence"/>
            <p:cNvPicPr preferRelativeResize="0"/>
            <p:nvPr/>
          </p:nvPicPr>
          <p:blipFill rotWithShape="1">
            <a:blip r:embed="rId52">
              <a:alphaModFix/>
            </a:blip>
            <a:srcRect/>
            <a:stretch/>
          </p:blipFill>
          <p:spPr>
            <a:xfrm>
              <a:off x="2665443" y="3725473"/>
              <a:ext cx="1233734" cy="383898"/>
            </a:xfrm>
            <a:prstGeom prst="rect">
              <a:avLst/>
            </a:prstGeom>
            <a:noFill/>
            <a:ln>
              <a:noFill/>
            </a:ln>
          </p:spPr>
        </p:pic>
        <p:pic>
          <p:nvPicPr>
            <p:cNvPr id="1453" name="Google Shape;1453;p149" descr="Logo&#10;&#10;Description automatically generated"/>
            <p:cNvPicPr preferRelativeResize="0"/>
            <p:nvPr/>
          </p:nvPicPr>
          <p:blipFill rotWithShape="1">
            <a:blip r:embed="rId53">
              <a:alphaModFix/>
            </a:blip>
            <a:srcRect/>
            <a:stretch/>
          </p:blipFill>
          <p:spPr>
            <a:xfrm>
              <a:off x="3715919" y="4002495"/>
              <a:ext cx="564253" cy="416346"/>
            </a:xfrm>
            <a:prstGeom prst="rect">
              <a:avLst/>
            </a:prstGeom>
            <a:noFill/>
            <a:ln>
              <a:noFill/>
            </a:ln>
          </p:spPr>
        </p:pic>
        <p:pic>
          <p:nvPicPr>
            <p:cNvPr id="1454" name="Google Shape;1454;p149" descr="Logo&#10;&#10;Description automatically generated"/>
            <p:cNvPicPr preferRelativeResize="0"/>
            <p:nvPr/>
          </p:nvPicPr>
          <p:blipFill rotWithShape="1">
            <a:blip r:embed="rId54">
              <a:alphaModFix/>
            </a:blip>
            <a:srcRect/>
            <a:stretch/>
          </p:blipFill>
          <p:spPr>
            <a:xfrm>
              <a:off x="2391621" y="3662849"/>
              <a:ext cx="875577" cy="165325"/>
            </a:xfrm>
            <a:prstGeom prst="rect">
              <a:avLst/>
            </a:prstGeom>
            <a:noFill/>
            <a:ln>
              <a:noFill/>
            </a:ln>
          </p:spPr>
        </p:pic>
        <p:pic>
          <p:nvPicPr>
            <p:cNvPr id="1455" name="Google Shape;1455;p149" descr="Graphical user interface&#10;&#10;Description automatically generated"/>
            <p:cNvPicPr preferRelativeResize="0"/>
            <p:nvPr/>
          </p:nvPicPr>
          <p:blipFill rotWithShape="1">
            <a:blip r:embed="rId55">
              <a:alphaModFix/>
            </a:blip>
            <a:srcRect/>
            <a:stretch/>
          </p:blipFill>
          <p:spPr>
            <a:xfrm>
              <a:off x="3590328" y="4946098"/>
              <a:ext cx="800226" cy="119446"/>
            </a:xfrm>
            <a:prstGeom prst="rect">
              <a:avLst/>
            </a:prstGeom>
            <a:noFill/>
            <a:ln>
              <a:noFill/>
            </a:ln>
          </p:spPr>
        </p:pic>
        <p:pic>
          <p:nvPicPr>
            <p:cNvPr id="1456" name="Google Shape;1456;p149" descr="Icon&#10;&#10;Description automatically generated"/>
            <p:cNvPicPr preferRelativeResize="0"/>
            <p:nvPr/>
          </p:nvPicPr>
          <p:blipFill rotWithShape="1">
            <a:blip r:embed="rId56">
              <a:alphaModFix/>
            </a:blip>
            <a:srcRect/>
            <a:stretch/>
          </p:blipFill>
          <p:spPr>
            <a:xfrm>
              <a:off x="6312192" y="4801644"/>
              <a:ext cx="434050" cy="434050"/>
            </a:xfrm>
            <a:prstGeom prst="rect">
              <a:avLst/>
            </a:prstGeom>
            <a:noFill/>
            <a:ln>
              <a:noFill/>
            </a:ln>
          </p:spPr>
        </p:pic>
        <p:pic>
          <p:nvPicPr>
            <p:cNvPr id="1457" name="Google Shape;1457;p149" descr="Logo&#10;&#10;Description automatically generated with medium confidence"/>
            <p:cNvPicPr preferRelativeResize="0"/>
            <p:nvPr/>
          </p:nvPicPr>
          <p:blipFill rotWithShape="1">
            <a:blip r:embed="rId57">
              <a:alphaModFix/>
            </a:blip>
            <a:srcRect/>
            <a:stretch/>
          </p:blipFill>
          <p:spPr>
            <a:xfrm>
              <a:off x="6925744" y="5065544"/>
              <a:ext cx="665186" cy="225146"/>
            </a:xfrm>
            <a:prstGeom prst="rect">
              <a:avLst/>
            </a:prstGeom>
            <a:noFill/>
            <a:ln>
              <a:noFill/>
            </a:ln>
          </p:spPr>
        </p:pic>
        <p:pic>
          <p:nvPicPr>
            <p:cNvPr id="1458" name="Google Shape;1458;p149" descr="Logo&#10;&#10;Description automatically generated"/>
            <p:cNvPicPr preferRelativeResize="0"/>
            <p:nvPr/>
          </p:nvPicPr>
          <p:blipFill rotWithShape="1">
            <a:blip r:embed="rId58">
              <a:alphaModFix/>
            </a:blip>
            <a:srcRect/>
            <a:stretch/>
          </p:blipFill>
          <p:spPr>
            <a:xfrm>
              <a:off x="6364471" y="4271571"/>
              <a:ext cx="978333" cy="236348"/>
            </a:xfrm>
            <a:prstGeom prst="rect">
              <a:avLst/>
            </a:prstGeom>
            <a:noFill/>
            <a:ln>
              <a:noFill/>
            </a:ln>
          </p:spPr>
        </p:pic>
        <p:pic>
          <p:nvPicPr>
            <p:cNvPr id="1459" name="Google Shape;1459;p149" descr="Logo&#10;&#10;Description automatically generated"/>
            <p:cNvPicPr preferRelativeResize="0"/>
            <p:nvPr/>
          </p:nvPicPr>
          <p:blipFill rotWithShape="1">
            <a:blip r:embed="rId59">
              <a:alphaModFix/>
            </a:blip>
            <a:srcRect/>
            <a:stretch/>
          </p:blipFill>
          <p:spPr>
            <a:xfrm>
              <a:off x="8475322" y="5069066"/>
              <a:ext cx="663814" cy="187272"/>
            </a:xfrm>
            <a:prstGeom prst="rect">
              <a:avLst/>
            </a:prstGeom>
            <a:noFill/>
            <a:ln>
              <a:noFill/>
            </a:ln>
          </p:spPr>
        </p:pic>
        <p:pic>
          <p:nvPicPr>
            <p:cNvPr id="1460" name="Google Shape;1460;p149" descr="Graphical user interface, logo&#10;&#10;Description automatically generated"/>
            <p:cNvPicPr preferRelativeResize="0"/>
            <p:nvPr/>
          </p:nvPicPr>
          <p:blipFill rotWithShape="1">
            <a:blip r:embed="rId60">
              <a:alphaModFix/>
            </a:blip>
            <a:srcRect/>
            <a:stretch/>
          </p:blipFill>
          <p:spPr>
            <a:xfrm>
              <a:off x="6278244" y="3735440"/>
              <a:ext cx="638248" cy="147282"/>
            </a:xfrm>
            <a:prstGeom prst="rect">
              <a:avLst/>
            </a:prstGeom>
            <a:noFill/>
            <a:ln>
              <a:noFill/>
            </a:ln>
          </p:spPr>
        </p:pic>
        <p:pic>
          <p:nvPicPr>
            <p:cNvPr id="1461" name="Google Shape;1461;p149" descr="Logo, company name&#10;&#10;Description automatically generated"/>
            <p:cNvPicPr preferRelativeResize="0"/>
            <p:nvPr/>
          </p:nvPicPr>
          <p:blipFill rotWithShape="1">
            <a:blip r:embed="rId61">
              <a:alphaModFix/>
            </a:blip>
            <a:srcRect/>
            <a:stretch/>
          </p:blipFill>
          <p:spPr>
            <a:xfrm>
              <a:off x="6274332" y="3184540"/>
              <a:ext cx="872426" cy="163025"/>
            </a:xfrm>
            <a:prstGeom prst="rect">
              <a:avLst/>
            </a:prstGeom>
            <a:noFill/>
            <a:ln>
              <a:noFill/>
            </a:ln>
          </p:spPr>
        </p:pic>
        <p:pic>
          <p:nvPicPr>
            <p:cNvPr id="1462" name="Google Shape;1462;p149" descr="Logo&#10;&#10;Description automatically generated with medium confidence"/>
            <p:cNvPicPr preferRelativeResize="0"/>
            <p:nvPr/>
          </p:nvPicPr>
          <p:blipFill rotWithShape="1">
            <a:blip r:embed="rId62">
              <a:alphaModFix/>
            </a:blip>
            <a:srcRect/>
            <a:stretch/>
          </p:blipFill>
          <p:spPr>
            <a:xfrm>
              <a:off x="3413814" y="1613941"/>
              <a:ext cx="1004628" cy="265547"/>
            </a:xfrm>
            <a:prstGeom prst="rect">
              <a:avLst/>
            </a:prstGeom>
            <a:noFill/>
            <a:ln>
              <a:noFill/>
            </a:ln>
          </p:spPr>
        </p:pic>
        <p:pic>
          <p:nvPicPr>
            <p:cNvPr id="1463" name="Google Shape;1463;p149" descr="Logo&#10;&#10;Description automatically generated"/>
            <p:cNvPicPr preferRelativeResize="0"/>
            <p:nvPr/>
          </p:nvPicPr>
          <p:blipFill rotWithShape="1">
            <a:blip r:embed="rId63">
              <a:alphaModFix/>
            </a:blip>
            <a:srcRect/>
            <a:stretch/>
          </p:blipFill>
          <p:spPr>
            <a:xfrm>
              <a:off x="3164643" y="1997877"/>
              <a:ext cx="627649" cy="232397"/>
            </a:xfrm>
            <a:prstGeom prst="rect">
              <a:avLst/>
            </a:prstGeom>
            <a:noFill/>
            <a:ln>
              <a:noFill/>
            </a:ln>
          </p:spPr>
        </p:pic>
        <p:pic>
          <p:nvPicPr>
            <p:cNvPr id="1464" name="Google Shape;1464;p149" descr="Icon&#10;&#10;Description automatically generated"/>
            <p:cNvPicPr preferRelativeResize="0"/>
            <p:nvPr/>
          </p:nvPicPr>
          <p:blipFill rotWithShape="1">
            <a:blip r:embed="rId64">
              <a:alphaModFix/>
            </a:blip>
            <a:srcRect/>
            <a:stretch/>
          </p:blipFill>
          <p:spPr>
            <a:xfrm>
              <a:off x="3935079" y="1996913"/>
              <a:ext cx="559957" cy="593962"/>
            </a:xfrm>
            <a:prstGeom prst="rect">
              <a:avLst/>
            </a:prstGeom>
            <a:noFill/>
            <a:ln>
              <a:noFill/>
            </a:ln>
          </p:spPr>
        </p:pic>
        <p:pic>
          <p:nvPicPr>
            <p:cNvPr id="1465" name="Google Shape;1465;p149" descr="Graphical user interface, application&#10;&#10;Description automatically generated with medium confidence"/>
            <p:cNvPicPr preferRelativeResize="0"/>
            <p:nvPr/>
          </p:nvPicPr>
          <p:blipFill rotWithShape="1">
            <a:blip r:embed="rId65">
              <a:alphaModFix/>
            </a:blip>
            <a:srcRect/>
            <a:stretch/>
          </p:blipFill>
          <p:spPr>
            <a:xfrm>
              <a:off x="3228765" y="2628375"/>
              <a:ext cx="631191" cy="438292"/>
            </a:xfrm>
            <a:prstGeom prst="rect">
              <a:avLst/>
            </a:prstGeom>
            <a:noFill/>
            <a:ln>
              <a:noFill/>
            </a:ln>
          </p:spPr>
        </p:pic>
        <p:pic>
          <p:nvPicPr>
            <p:cNvPr id="1466" name="Google Shape;1466;p149" descr="Logo&#10;&#10;Description automatically generated"/>
            <p:cNvPicPr preferRelativeResize="0"/>
            <p:nvPr/>
          </p:nvPicPr>
          <p:blipFill rotWithShape="1">
            <a:blip r:embed="rId66">
              <a:alphaModFix/>
            </a:blip>
            <a:srcRect/>
            <a:stretch/>
          </p:blipFill>
          <p:spPr>
            <a:xfrm>
              <a:off x="3013345" y="2278062"/>
              <a:ext cx="866574" cy="271360"/>
            </a:xfrm>
            <a:prstGeom prst="rect">
              <a:avLst/>
            </a:prstGeom>
            <a:noFill/>
            <a:ln>
              <a:noFill/>
            </a:ln>
          </p:spPr>
        </p:pic>
        <p:pic>
          <p:nvPicPr>
            <p:cNvPr id="1467" name="Google Shape;1467;p149" descr="Logo&#10;&#10;Description automatically generated"/>
            <p:cNvPicPr preferRelativeResize="0"/>
            <p:nvPr/>
          </p:nvPicPr>
          <p:blipFill rotWithShape="1">
            <a:blip r:embed="rId67">
              <a:alphaModFix/>
            </a:blip>
            <a:srcRect/>
            <a:stretch/>
          </p:blipFill>
          <p:spPr>
            <a:xfrm>
              <a:off x="3937398" y="2744617"/>
              <a:ext cx="558813" cy="260840"/>
            </a:xfrm>
            <a:prstGeom prst="rect">
              <a:avLst/>
            </a:prstGeom>
            <a:noFill/>
            <a:ln>
              <a:noFill/>
            </a:ln>
          </p:spPr>
        </p:pic>
        <p:pic>
          <p:nvPicPr>
            <p:cNvPr id="1468" name="Google Shape;1468;p149" descr="Logo&#10;&#10;Description automatically generated"/>
            <p:cNvPicPr preferRelativeResize="0"/>
            <p:nvPr/>
          </p:nvPicPr>
          <p:blipFill rotWithShape="1">
            <a:blip r:embed="rId68">
              <a:alphaModFix/>
            </a:blip>
            <a:srcRect/>
            <a:stretch/>
          </p:blipFill>
          <p:spPr>
            <a:xfrm>
              <a:off x="4557996" y="1837530"/>
              <a:ext cx="590381" cy="386509"/>
            </a:xfrm>
            <a:prstGeom prst="rect">
              <a:avLst/>
            </a:prstGeom>
            <a:noFill/>
            <a:ln>
              <a:noFill/>
            </a:ln>
          </p:spPr>
        </p:pic>
        <p:pic>
          <p:nvPicPr>
            <p:cNvPr id="1469" name="Google Shape;1469;p149" descr="Logo&#10;&#10;Description automatically generated with low confidence"/>
            <p:cNvPicPr preferRelativeResize="0"/>
            <p:nvPr/>
          </p:nvPicPr>
          <p:blipFill rotWithShape="1">
            <a:blip r:embed="rId69">
              <a:alphaModFix/>
            </a:blip>
            <a:srcRect/>
            <a:stretch/>
          </p:blipFill>
          <p:spPr>
            <a:xfrm>
              <a:off x="5109746" y="1506137"/>
              <a:ext cx="777708" cy="235284"/>
            </a:xfrm>
            <a:prstGeom prst="rect">
              <a:avLst/>
            </a:prstGeom>
            <a:noFill/>
            <a:ln>
              <a:noFill/>
            </a:ln>
          </p:spPr>
        </p:pic>
        <p:pic>
          <p:nvPicPr>
            <p:cNvPr id="1470" name="Google Shape;1470;p149" descr="Logo, company name&#10;&#10;Description automatically generated"/>
            <p:cNvPicPr preferRelativeResize="0"/>
            <p:nvPr/>
          </p:nvPicPr>
          <p:blipFill rotWithShape="1">
            <a:blip r:embed="rId70">
              <a:alphaModFix/>
            </a:blip>
            <a:srcRect/>
            <a:stretch/>
          </p:blipFill>
          <p:spPr>
            <a:xfrm>
              <a:off x="5846555" y="1534880"/>
              <a:ext cx="661069" cy="310381"/>
            </a:xfrm>
            <a:prstGeom prst="rect">
              <a:avLst/>
            </a:prstGeom>
            <a:noFill/>
            <a:ln>
              <a:noFill/>
            </a:ln>
          </p:spPr>
        </p:pic>
        <p:pic>
          <p:nvPicPr>
            <p:cNvPr id="1471" name="Google Shape;1471;p149" descr="Logo&#10;&#10;Description automatically generated"/>
            <p:cNvPicPr preferRelativeResize="0"/>
            <p:nvPr/>
          </p:nvPicPr>
          <p:blipFill rotWithShape="1">
            <a:blip r:embed="rId71">
              <a:alphaModFix/>
            </a:blip>
            <a:srcRect l="-426"/>
            <a:stretch/>
          </p:blipFill>
          <p:spPr>
            <a:xfrm>
              <a:off x="5219185" y="1856836"/>
              <a:ext cx="700025" cy="265509"/>
            </a:xfrm>
            <a:prstGeom prst="rect">
              <a:avLst/>
            </a:prstGeom>
            <a:noFill/>
            <a:ln>
              <a:noFill/>
            </a:ln>
          </p:spPr>
        </p:pic>
        <p:pic>
          <p:nvPicPr>
            <p:cNvPr id="1472" name="Google Shape;1472;p149" descr="Logo&#10;&#10;Description automatically generated"/>
            <p:cNvPicPr preferRelativeResize="0"/>
            <p:nvPr/>
          </p:nvPicPr>
          <p:blipFill rotWithShape="1">
            <a:blip r:embed="rId72">
              <a:alphaModFix/>
            </a:blip>
            <a:srcRect/>
            <a:stretch/>
          </p:blipFill>
          <p:spPr>
            <a:xfrm>
              <a:off x="6645641" y="2857915"/>
              <a:ext cx="721982" cy="212985"/>
            </a:xfrm>
            <a:prstGeom prst="rect">
              <a:avLst/>
            </a:prstGeom>
            <a:noFill/>
            <a:ln>
              <a:noFill/>
            </a:ln>
          </p:spPr>
        </p:pic>
        <p:pic>
          <p:nvPicPr>
            <p:cNvPr id="1473" name="Google Shape;1473;p149"/>
            <p:cNvPicPr preferRelativeResize="0"/>
            <p:nvPr/>
          </p:nvPicPr>
          <p:blipFill rotWithShape="1">
            <a:blip r:embed="rId73">
              <a:alphaModFix/>
            </a:blip>
            <a:srcRect/>
            <a:stretch/>
          </p:blipFill>
          <p:spPr>
            <a:xfrm>
              <a:off x="7139348" y="2429579"/>
              <a:ext cx="607982" cy="161314"/>
            </a:xfrm>
            <a:prstGeom prst="rect">
              <a:avLst/>
            </a:prstGeom>
            <a:noFill/>
            <a:ln>
              <a:noFill/>
            </a:ln>
          </p:spPr>
        </p:pic>
        <p:pic>
          <p:nvPicPr>
            <p:cNvPr id="1474" name="Google Shape;1474;p149" descr="Logo&#10;&#10;Description automatically generated"/>
            <p:cNvPicPr preferRelativeResize="0"/>
            <p:nvPr/>
          </p:nvPicPr>
          <p:blipFill rotWithShape="1">
            <a:blip r:embed="rId74">
              <a:alphaModFix/>
            </a:blip>
            <a:srcRect/>
            <a:stretch/>
          </p:blipFill>
          <p:spPr>
            <a:xfrm>
              <a:off x="6029834" y="2421518"/>
              <a:ext cx="495974" cy="196427"/>
            </a:xfrm>
            <a:prstGeom prst="rect">
              <a:avLst/>
            </a:prstGeom>
            <a:noFill/>
            <a:ln>
              <a:noFill/>
            </a:ln>
          </p:spPr>
        </p:pic>
        <p:grpSp>
          <p:nvGrpSpPr>
            <p:cNvPr id="1475" name="Google Shape;1475;p149"/>
            <p:cNvGrpSpPr/>
            <p:nvPr/>
          </p:nvGrpSpPr>
          <p:grpSpPr>
            <a:xfrm>
              <a:off x="6018246" y="1939271"/>
              <a:ext cx="494715" cy="351970"/>
              <a:chOff x="6018246" y="1939271"/>
              <a:chExt cx="494715" cy="351970"/>
            </a:xfrm>
          </p:grpSpPr>
          <p:pic>
            <p:nvPicPr>
              <p:cNvPr id="1476" name="Google Shape;1476;p149" descr="A picture containing shape&#10;&#10;Description automatically generated"/>
              <p:cNvPicPr preferRelativeResize="0"/>
              <p:nvPr/>
            </p:nvPicPr>
            <p:blipFill rotWithShape="1">
              <a:blip r:embed="rId75">
                <a:alphaModFix/>
              </a:blip>
              <a:srcRect/>
              <a:stretch/>
            </p:blipFill>
            <p:spPr>
              <a:xfrm>
                <a:off x="6018246" y="2200386"/>
                <a:ext cx="494715" cy="90855"/>
              </a:xfrm>
              <a:prstGeom prst="rect">
                <a:avLst/>
              </a:prstGeom>
              <a:noFill/>
              <a:ln>
                <a:noFill/>
              </a:ln>
            </p:spPr>
          </p:pic>
          <p:pic>
            <p:nvPicPr>
              <p:cNvPr id="1477" name="Google Shape;1477;p149" descr="A picture containing shape&#10;&#10;Description automatically generated"/>
              <p:cNvPicPr preferRelativeResize="0"/>
              <p:nvPr/>
            </p:nvPicPr>
            <p:blipFill rotWithShape="1">
              <a:blip r:embed="rId76">
                <a:alphaModFix/>
              </a:blip>
              <a:srcRect/>
              <a:stretch/>
            </p:blipFill>
            <p:spPr>
              <a:xfrm>
                <a:off x="6123335" y="1939271"/>
                <a:ext cx="267237" cy="237719"/>
              </a:xfrm>
              <a:prstGeom prst="rect">
                <a:avLst/>
              </a:prstGeom>
              <a:noFill/>
              <a:ln>
                <a:noFill/>
              </a:ln>
            </p:spPr>
          </p:pic>
        </p:grpSp>
        <p:sp>
          <p:nvSpPr>
            <p:cNvPr id="1478" name="Google Shape;1478;p149"/>
            <p:cNvSpPr/>
            <p:nvPr/>
          </p:nvSpPr>
          <p:spPr>
            <a:xfrm>
              <a:off x="5007106" y="2264318"/>
              <a:ext cx="68400" cy="69900"/>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07E14A-977F-62C7-E696-E2F76CEFD049}"/>
              </a:ext>
            </a:extLst>
          </p:cNvPr>
          <p:cNvGraphicFramePr>
            <a:graphicFrameLocks noChangeAspect="1"/>
          </p:cNvGraphicFramePr>
          <p:nvPr>
            <p:custDataLst>
              <p:tags r:id="rId1"/>
            </p:custDataLst>
            <p:extLst>
              <p:ext uri="{D42A27DB-BD31-4B8C-83A1-F6EECF244321}">
                <p14:modId xmlns:p14="http://schemas.microsoft.com/office/powerpoint/2010/main" val="724530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A07E14A-977F-62C7-E696-E2F76CEFD0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33" name="Google Shape;1633;p78"/>
          <p:cNvSpPr txBox="1">
            <a:spLocks noGrp="1"/>
          </p:cNvSpPr>
          <p:nvPr>
            <p:ph type="title"/>
          </p:nvPr>
        </p:nvSpPr>
        <p:spPr>
          <a:xfrm>
            <a:off x="992390" y="3980730"/>
            <a:ext cx="6785798" cy="1661993"/>
          </a:xfrm>
          <a:prstGeom prst="rect">
            <a:avLst/>
          </a:prstGeom>
          <a:noFill/>
          <a:ln>
            <a:noFill/>
          </a:ln>
          <a:effectLst>
            <a:outerShdw blurRad="190500" algn="tl" rotWithShape="0">
              <a:srgbClr val="000000">
                <a:alpha val="27058"/>
              </a:srgbClr>
            </a:outerShdw>
          </a:effectLst>
        </p:spPr>
        <p:txBody>
          <a:bodyPr spcFirstLastPara="1" wrap="square" lIns="0" tIns="0" rIns="0" bIns="0" anchor="ctr" anchorCtr="0">
            <a:spAutoFit/>
          </a:bodyPr>
          <a:lstStyle/>
          <a:p>
            <a:pPr marL="0" lvl="0" indent="0" algn="l" rtl="0">
              <a:lnSpc>
                <a:spcPct val="90000"/>
              </a:lnSpc>
              <a:spcBef>
                <a:spcPts val="0"/>
              </a:spcBef>
              <a:spcAft>
                <a:spcPts val="0"/>
              </a:spcAft>
              <a:buSzPts val="6000"/>
              <a:buNone/>
            </a:pPr>
            <a:r>
              <a:rPr lang="en-US" dirty="0"/>
              <a:t>Data Analytics Uses Cases</a:t>
            </a:r>
            <a:endParaRPr dirty="0"/>
          </a:p>
        </p:txBody>
      </p:sp>
      <p:sp>
        <p:nvSpPr>
          <p:cNvPr id="1634" name="Google Shape;1634;p7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12</a:t>
            </a:fld>
            <a:endParaRPr/>
          </a:p>
        </p:txBody>
      </p:sp>
    </p:spTree>
    <p:extLst>
      <p:ext uri="{BB962C8B-B14F-4D97-AF65-F5344CB8AC3E}">
        <p14:creationId xmlns:p14="http://schemas.microsoft.com/office/powerpoint/2010/main" val="2993092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2164B08-C9C4-AF04-938F-225C2F5D504B}"/>
              </a:ext>
            </a:extLst>
          </p:cNvPr>
          <p:cNvGraphicFramePr>
            <a:graphicFrameLocks noChangeAspect="1"/>
          </p:cNvGraphicFramePr>
          <p:nvPr>
            <p:custDataLst>
              <p:tags r:id="rId1"/>
            </p:custDataLst>
            <p:extLst>
              <p:ext uri="{D42A27DB-BD31-4B8C-83A1-F6EECF244321}">
                <p14:modId xmlns:p14="http://schemas.microsoft.com/office/powerpoint/2010/main" val="671805487"/>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32164B08-C9C4-AF04-938F-225C2F5D504B}"/>
                          </a:ext>
                        </a:extLst>
                      </p:cNvPr>
                      <p:cNvPicPr/>
                      <p:nvPr/>
                    </p:nvPicPr>
                    <p:blipFill>
                      <a:blip r:embed="rId5"/>
                      <a:stretch>
                        <a:fillRect/>
                      </a:stretch>
                    </p:blipFill>
                    <p:spPr>
                      <a:xfrm>
                        <a:off x="1441" y="1531"/>
                        <a:ext cx="1441" cy="1441"/>
                      </a:xfrm>
                      <a:prstGeom prst="rect">
                        <a:avLst/>
                      </a:prstGeom>
                    </p:spPr>
                  </p:pic>
                </p:oleObj>
              </mc:Fallback>
            </mc:AlternateContent>
          </a:graphicData>
        </a:graphic>
      </p:graphicFrame>
      <p:pic>
        <p:nvPicPr>
          <p:cNvPr id="3" name="Picture 2" descr="A person sitting at a table with a computer&#10;&#10;Description automatically generated with medium confidence">
            <a:extLst>
              <a:ext uri="{FF2B5EF4-FFF2-40B4-BE49-F238E27FC236}">
                <a16:creationId xmlns:a16="http://schemas.microsoft.com/office/drawing/2014/main" id="{E89F555F-A222-9F85-BC78-E71BD3A3D3F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9413" t="8265" r="2520" b="20883"/>
          <a:stretch/>
        </p:blipFill>
        <p:spPr>
          <a:xfrm>
            <a:off x="6375147" y="498370"/>
            <a:ext cx="5269899" cy="6359541"/>
          </a:xfrm>
          <a:prstGeom prst="rect">
            <a:avLst/>
          </a:prstGeom>
        </p:spPr>
      </p:pic>
      <p:sp>
        <p:nvSpPr>
          <p:cNvPr id="365" name="Google Shape;365;p3"/>
          <p:cNvSpPr/>
          <p:nvPr/>
        </p:nvSpPr>
        <p:spPr>
          <a:xfrm>
            <a:off x="499720" y="2255509"/>
            <a:ext cx="4960035" cy="3467592"/>
          </a:xfrm>
          <a:prstGeom prst="rect">
            <a:avLst/>
          </a:prstGeom>
          <a:noFill/>
          <a:ln>
            <a:noFill/>
          </a:ln>
        </p:spPr>
        <p:txBody>
          <a:bodyPr spcFirstLastPara="1" wrap="square" lIns="0" tIns="0" rIns="0" bIns="0" anchor="t" anchorCtr="0">
            <a:noAutofit/>
          </a:bodyPr>
          <a:lstStyle/>
          <a:p>
            <a:pPr marL="457200" indent="-457200" defTabSz="829544">
              <a:spcBef>
                <a:spcPts val="1633"/>
              </a:spcBef>
              <a:buClr>
                <a:srgbClr val="45E1D2"/>
              </a:buClr>
              <a:buFont typeface="+mj-lt"/>
              <a:buAutoNum type="arabicPeriod"/>
            </a:pPr>
            <a:r>
              <a:rPr lang="en-US" sz="1814" b="1" dirty="0">
                <a:solidFill>
                  <a:srgbClr val="FFFFFF"/>
                </a:solidFill>
                <a:latin typeface="Calibri"/>
                <a:ea typeface="Calibri"/>
                <a:cs typeface="Calibri"/>
                <a:sym typeface="Calibri"/>
              </a:rPr>
              <a:t>A Comprehensive Dashboard of Key HR Metrics and Performance Indicators</a:t>
            </a:r>
          </a:p>
          <a:p>
            <a:pPr marL="457200" indent="-457200" defTabSz="829544">
              <a:spcBef>
                <a:spcPts val="1633"/>
              </a:spcBef>
              <a:buClr>
                <a:srgbClr val="45E1D2"/>
              </a:buClr>
              <a:buFont typeface="+mj-lt"/>
              <a:buAutoNum type="arabicPeriod"/>
            </a:pPr>
            <a:r>
              <a:rPr lang="en-US" sz="1814" b="1" dirty="0">
                <a:solidFill>
                  <a:srgbClr val="FFFFFF"/>
                </a:solidFill>
                <a:latin typeface="Calibri"/>
                <a:ea typeface="Calibri"/>
                <a:cs typeface="Calibri"/>
                <a:sym typeface="Calibri"/>
              </a:rPr>
              <a:t>Web Scraping Tool for Second-Hand Car Sales</a:t>
            </a:r>
          </a:p>
          <a:p>
            <a:pPr marL="457200" indent="-457200" defTabSz="829544">
              <a:spcBef>
                <a:spcPts val="1633"/>
              </a:spcBef>
              <a:buClr>
                <a:srgbClr val="45E1D2"/>
              </a:buClr>
              <a:buFont typeface="+mj-lt"/>
              <a:buAutoNum type="arabicPeriod"/>
            </a:pPr>
            <a:r>
              <a:rPr lang="en-US" sz="1814" b="1" dirty="0">
                <a:solidFill>
                  <a:srgbClr val="43E1D3"/>
                </a:solidFill>
                <a:latin typeface="Calibri"/>
                <a:ea typeface="Calibri"/>
                <a:cs typeface="Calibri"/>
                <a:sym typeface="Calibri"/>
              </a:rPr>
              <a:t> </a:t>
            </a:r>
            <a:r>
              <a:rPr lang="en-US" sz="1814" b="1" dirty="0">
                <a:solidFill>
                  <a:srgbClr val="FFFFFF"/>
                </a:solidFill>
                <a:latin typeface="Calibri"/>
                <a:ea typeface="Calibri"/>
                <a:cs typeface="Calibri"/>
                <a:sym typeface="Calibri"/>
              </a:rPr>
              <a:t>Mapping Banking Services: An Analysis of Branch Locations and Demographics</a:t>
            </a:r>
          </a:p>
          <a:p>
            <a:pPr marL="457200" indent="-457200" defTabSz="829544">
              <a:spcBef>
                <a:spcPts val="1633"/>
              </a:spcBef>
              <a:buClr>
                <a:srgbClr val="45E1D2"/>
              </a:buClr>
              <a:buFont typeface="+mj-lt"/>
              <a:buAutoNum type="arabicPeriod"/>
            </a:pPr>
            <a:r>
              <a:rPr lang="en-US" sz="1814" b="1" dirty="0">
                <a:solidFill>
                  <a:srgbClr val="FFFFFF"/>
                </a:solidFill>
                <a:latin typeface="Calibri"/>
                <a:ea typeface="Calibri"/>
                <a:cs typeface="Calibri"/>
                <a:sym typeface="Calibri"/>
              </a:rPr>
              <a:t>Assessing Candidates’ Experience through </a:t>
            </a:r>
            <a:br>
              <a:rPr lang="en-US" sz="1814" b="1" dirty="0">
                <a:solidFill>
                  <a:srgbClr val="FFFFFF"/>
                </a:solidFill>
                <a:latin typeface="Calibri"/>
                <a:ea typeface="Calibri"/>
                <a:cs typeface="Calibri"/>
                <a:sym typeface="Calibri"/>
              </a:rPr>
            </a:br>
            <a:r>
              <a:rPr lang="en-US" sz="1814" b="1" dirty="0">
                <a:solidFill>
                  <a:srgbClr val="FFFFFF"/>
                </a:solidFill>
                <a:latin typeface="Calibri"/>
                <a:ea typeface="Calibri"/>
                <a:cs typeface="Calibri"/>
                <a:sym typeface="Calibri"/>
              </a:rPr>
              <a:t>Sentiment Analysis</a:t>
            </a:r>
          </a:p>
          <a:p>
            <a:pPr marL="457200" indent="-457200" defTabSz="829544">
              <a:spcBef>
                <a:spcPts val="1633"/>
              </a:spcBef>
              <a:buClr>
                <a:srgbClr val="45E1D2"/>
              </a:buClr>
              <a:buFont typeface="+mj-lt"/>
              <a:buAutoNum type="arabicPeriod"/>
            </a:pPr>
            <a:r>
              <a:rPr lang="en-US" sz="1814" b="1" dirty="0">
                <a:solidFill>
                  <a:srgbClr val="FFFFFF"/>
                </a:solidFill>
                <a:latin typeface="Calibri"/>
                <a:ea typeface="Calibri"/>
                <a:cs typeface="Calibri"/>
                <a:sym typeface="Calibri"/>
              </a:rPr>
              <a:t>Geospatial Analysis of Labor Catchment: </a:t>
            </a:r>
            <a:br>
              <a:rPr lang="en-US" sz="1814" b="1" dirty="0">
                <a:solidFill>
                  <a:srgbClr val="FFFFFF"/>
                </a:solidFill>
                <a:latin typeface="Calibri"/>
                <a:ea typeface="Calibri"/>
                <a:cs typeface="Calibri"/>
                <a:sym typeface="Calibri"/>
              </a:rPr>
            </a:br>
            <a:r>
              <a:rPr lang="en-US" sz="1814" b="1" dirty="0">
                <a:solidFill>
                  <a:srgbClr val="FFFFFF"/>
                </a:solidFill>
                <a:latin typeface="Calibri"/>
                <a:ea typeface="Calibri"/>
                <a:cs typeface="Calibri"/>
                <a:sym typeface="Calibri"/>
              </a:rPr>
              <a:t>Assessing Employment and Demographic Patterns</a:t>
            </a:r>
          </a:p>
        </p:txBody>
      </p:sp>
      <p:sp>
        <p:nvSpPr>
          <p:cNvPr id="8" name="Rectangle 7">
            <a:extLst>
              <a:ext uri="{FF2B5EF4-FFF2-40B4-BE49-F238E27FC236}">
                <a16:creationId xmlns:a16="http://schemas.microsoft.com/office/drawing/2014/main" id="{A05AB88F-3785-6B5F-2B31-89290E1D8BC8}"/>
              </a:ext>
            </a:extLst>
          </p:cNvPr>
          <p:cNvSpPr/>
          <p:nvPr/>
        </p:nvSpPr>
        <p:spPr>
          <a:xfrm>
            <a:off x="499719" y="1352731"/>
            <a:ext cx="5596281" cy="861774"/>
          </a:xfrm>
          <a:prstGeom prst="rect">
            <a:avLst/>
          </a:prstGeom>
        </p:spPr>
        <p:txBody>
          <a:bodyPr wrap="square" lIns="0" tIns="0" rIns="0" bIns="0">
            <a:spAutoFit/>
          </a:bodyPr>
          <a:lstStyle/>
          <a:p>
            <a:pPr defTabSz="829544"/>
            <a:r>
              <a:rPr lang="en-US" sz="3600" dirty="0">
                <a:solidFill>
                  <a:srgbClr val="45E1D2"/>
                </a:solidFill>
                <a:latin typeface="Franklin Gothic Demi" panose="020B0703020102020204" pitchFamily="34" charset="0"/>
              </a:rPr>
              <a:t>Data</a:t>
            </a:r>
            <a:r>
              <a:rPr lang="en-US" sz="3600" dirty="0">
                <a:solidFill>
                  <a:srgbClr val="158177">
                    <a:lumMod val="60000"/>
                    <a:lumOff val="40000"/>
                  </a:srgbClr>
                </a:solidFill>
                <a:latin typeface="Franklin Gothic Demi" panose="020B0703020102020204" pitchFamily="34" charset="0"/>
              </a:rPr>
              <a:t> Use Case Examples</a:t>
            </a:r>
          </a:p>
          <a:p>
            <a:pPr defTabSz="829544"/>
            <a:r>
              <a:rPr lang="en-US" sz="2000" i="1" dirty="0">
                <a:solidFill>
                  <a:srgbClr val="158177">
                    <a:lumMod val="60000"/>
                    <a:lumOff val="40000"/>
                  </a:srgbClr>
                </a:solidFill>
                <a:latin typeface="Franklin Gothic Demi" panose="020B0703020102020204" pitchFamily="34" charset="0"/>
              </a:rPr>
              <a:t>(Non exhaustive)</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9B19D4-721A-1E3B-3109-B9E7D5208CE4}"/>
              </a:ext>
            </a:extLst>
          </p:cNvPr>
          <p:cNvGraphicFramePr>
            <a:graphicFrameLocks noChangeAspect="1"/>
          </p:cNvGraphicFramePr>
          <p:nvPr>
            <p:custDataLst>
              <p:tags r:id="rId1"/>
            </p:custDataLst>
            <p:extLst>
              <p:ext uri="{D42A27DB-BD31-4B8C-83A1-F6EECF244321}">
                <p14:modId xmlns:p14="http://schemas.microsoft.com/office/powerpoint/2010/main" val="1766437984"/>
              </p:ext>
            </p:extLst>
          </p:nvPr>
        </p:nvGraphicFramePr>
        <p:xfrm>
          <a:off x="1601" y="1622"/>
          <a:ext cx="1441" cy="1441"/>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B29B19D4-721A-1E3B-3109-B9E7D5208CE4}"/>
                          </a:ext>
                        </a:extLst>
                      </p:cNvPr>
                      <p:cNvPicPr/>
                      <p:nvPr/>
                    </p:nvPicPr>
                    <p:blipFill>
                      <a:blip r:embed="rId5"/>
                      <a:stretch>
                        <a:fillRect/>
                      </a:stretch>
                    </p:blipFill>
                    <p:spPr>
                      <a:xfrm>
                        <a:off x="1601" y="1622"/>
                        <a:ext cx="1441" cy="144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70F8A52-34A2-E5E1-1B79-682E413E1527}"/>
              </a:ext>
            </a:extLst>
          </p:cNvPr>
          <p:cNvSpPr>
            <a:spLocks noGrp="1"/>
          </p:cNvSpPr>
          <p:nvPr>
            <p:ph type="title"/>
          </p:nvPr>
        </p:nvSpPr>
        <p:spPr>
          <a:xfrm>
            <a:off x="531960" y="560740"/>
            <a:ext cx="11089681" cy="830997"/>
          </a:xfrm>
        </p:spPr>
        <p:txBody>
          <a:bodyPr vert="horz"/>
          <a:lstStyle/>
          <a:p>
            <a:r>
              <a:rPr lang="en-US" sz="3000" kern="1200" dirty="0">
                <a:solidFill>
                  <a:schemeClr val="bg2"/>
                </a:solidFill>
                <a:latin typeface="Franklin Gothic" panose="020B0604020202020204" charset="0"/>
                <a:ea typeface="+mj-ea"/>
                <a:cs typeface="Calibri" panose="020F0502020204030204" pitchFamily="34" charset="0"/>
              </a:rPr>
              <a:t>A Comprehensive Dashboard of Key HR Metrics </a:t>
            </a:r>
            <a:br>
              <a:rPr lang="en-US" sz="3000" kern="1200" dirty="0">
                <a:solidFill>
                  <a:schemeClr val="bg2"/>
                </a:solidFill>
                <a:latin typeface="Franklin Gothic" panose="020B0604020202020204" charset="0"/>
                <a:ea typeface="+mj-ea"/>
                <a:cs typeface="Calibri" panose="020F0502020204030204" pitchFamily="34" charset="0"/>
              </a:rPr>
            </a:br>
            <a:r>
              <a:rPr lang="en-US" sz="3000" kern="1200" dirty="0">
                <a:solidFill>
                  <a:schemeClr val="bg2"/>
                </a:solidFill>
                <a:latin typeface="Franklin Gothic" panose="020B0604020202020204" charset="0"/>
                <a:ea typeface="+mj-ea"/>
                <a:cs typeface="Calibri" panose="020F0502020204030204" pitchFamily="34" charset="0"/>
              </a:rPr>
              <a:t>and Performance Indicators</a:t>
            </a:r>
          </a:p>
        </p:txBody>
      </p:sp>
      <p:sp>
        <p:nvSpPr>
          <p:cNvPr id="117" name="Arrow: Pentagon 116">
            <a:extLst>
              <a:ext uri="{FF2B5EF4-FFF2-40B4-BE49-F238E27FC236}">
                <a16:creationId xmlns:a16="http://schemas.microsoft.com/office/drawing/2014/main" id="{F60E6805-D191-AAAC-721D-97766D150312}"/>
              </a:ext>
            </a:extLst>
          </p:cNvPr>
          <p:cNvSpPr>
            <a:spLocks/>
          </p:cNvSpPr>
          <p:nvPr/>
        </p:nvSpPr>
        <p:spPr>
          <a:xfrm flipH="1">
            <a:off x="10346878" y="560740"/>
            <a:ext cx="1844964" cy="886327"/>
          </a:xfrm>
          <a:prstGeom prst="homePlate">
            <a:avLst>
              <a:gd name="adj" fmla="val 1507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9"/>
            <a:endParaRPr lang="en-US" sz="1270" dirty="0">
              <a:solidFill>
                <a:srgbClr val="FFFFFF"/>
              </a:solidFill>
              <a:latin typeface="Calibri" panose="020F0502020204030204"/>
            </a:endParaRPr>
          </a:p>
        </p:txBody>
      </p:sp>
      <p:sp>
        <p:nvSpPr>
          <p:cNvPr id="63" name="Google Shape;831;p25">
            <a:extLst>
              <a:ext uri="{FF2B5EF4-FFF2-40B4-BE49-F238E27FC236}">
                <a16:creationId xmlns:a16="http://schemas.microsoft.com/office/drawing/2014/main" id="{D79C79E1-9FD4-A584-4F44-463E677B2BE6}"/>
              </a:ext>
            </a:extLst>
          </p:cNvPr>
          <p:cNvSpPr>
            <a:spLocks/>
          </p:cNvSpPr>
          <p:nvPr/>
        </p:nvSpPr>
        <p:spPr>
          <a:xfrm>
            <a:off x="499868" y="2096819"/>
            <a:ext cx="3654797" cy="4200443"/>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lang="en-US" sz="1270" dirty="0">
              <a:ea typeface="+mn-ea"/>
            </a:endParaRPr>
          </a:p>
        </p:txBody>
      </p:sp>
      <p:sp>
        <p:nvSpPr>
          <p:cNvPr id="64" name="Google Shape;831;p25">
            <a:extLst>
              <a:ext uri="{FF2B5EF4-FFF2-40B4-BE49-F238E27FC236}">
                <a16:creationId xmlns:a16="http://schemas.microsoft.com/office/drawing/2014/main" id="{D95811C9-B676-7005-593A-F3C2E0DF10B2}"/>
              </a:ext>
            </a:extLst>
          </p:cNvPr>
          <p:cNvSpPr>
            <a:spLocks/>
          </p:cNvSpPr>
          <p:nvPr/>
        </p:nvSpPr>
        <p:spPr>
          <a:xfrm>
            <a:off x="8035632" y="2096820"/>
            <a:ext cx="3654797" cy="4200444"/>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sz="1270" dirty="0">
              <a:ea typeface="+mn-ea"/>
            </a:endParaRPr>
          </a:p>
        </p:txBody>
      </p:sp>
      <p:sp>
        <p:nvSpPr>
          <p:cNvPr id="65" name="Google Shape;831;p25">
            <a:extLst>
              <a:ext uri="{FF2B5EF4-FFF2-40B4-BE49-F238E27FC236}">
                <a16:creationId xmlns:a16="http://schemas.microsoft.com/office/drawing/2014/main" id="{7BA4A2F5-B9EF-10F4-13B0-86B15FA65BDC}"/>
              </a:ext>
            </a:extLst>
          </p:cNvPr>
          <p:cNvSpPr>
            <a:spLocks/>
          </p:cNvSpPr>
          <p:nvPr/>
        </p:nvSpPr>
        <p:spPr>
          <a:xfrm>
            <a:off x="4267750" y="2096819"/>
            <a:ext cx="3654797" cy="4200443"/>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sz="1270" dirty="0">
              <a:ea typeface="+mn-ea"/>
            </a:endParaRPr>
          </a:p>
        </p:txBody>
      </p:sp>
      <p:sp>
        <p:nvSpPr>
          <p:cNvPr id="46" name="Google Shape;563;p30">
            <a:extLst>
              <a:ext uri="{FF2B5EF4-FFF2-40B4-BE49-F238E27FC236}">
                <a16:creationId xmlns:a16="http://schemas.microsoft.com/office/drawing/2014/main" id="{6604BE4A-F4BF-28A9-9640-54ABD8289778}"/>
              </a:ext>
            </a:extLst>
          </p:cNvPr>
          <p:cNvSpPr txBox="1">
            <a:spLocks/>
          </p:cNvSpPr>
          <p:nvPr/>
        </p:nvSpPr>
        <p:spPr>
          <a:xfrm>
            <a:off x="8177589" y="2511562"/>
            <a:ext cx="3444051" cy="3680810"/>
          </a:xfrm>
          <a:prstGeom prst="rect">
            <a:avLst/>
          </a:prstGeom>
          <a:noFill/>
          <a:ln>
            <a:noFill/>
          </a:ln>
        </p:spPr>
        <p:txBody>
          <a:bodyPr spcFirstLastPara="1" wrap="square" lIns="0" tIns="0" rIns="0" bIns="0" anchor="t" anchorCtr="0">
            <a:noAutofit/>
          </a:bodyPr>
          <a:lstStyle/>
          <a:p>
            <a:pPr lvl="3" defTabSz="829549">
              <a:lnSpc>
                <a:spcPts val="1814"/>
              </a:lnSpc>
            </a:pPr>
            <a:r>
              <a:rPr lang="en-IN" sz="1452" dirty="0">
                <a:solidFill>
                  <a:srgbClr val="222222"/>
                </a:solidFill>
                <a:latin typeface="Calibri" panose="020F0502020204030204"/>
                <a:ea typeface="Calibri"/>
                <a:cs typeface="Calibri"/>
                <a:sym typeface="Calibri"/>
              </a:rPr>
              <a:t>The client benefited from Infomineo Data Analytics service on multiple fronts: </a:t>
            </a:r>
            <a:endParaRPr sz="1452" dirty="0">
              <a:solidFill>
                <a:srgbClr val="222222"/>
              </a:solidFill>
              <a:latin typeface="Calibri" panose="020F0502020204030204"/>
              <a:ea typeface="Calibri"/>
              <a:cs typeface="Calibri"/>
              <a:sym typeface="Calibri"/>
            </a:endParaRPr>
          </a:p>
          <a:p>
            <a:pPr marL="259233" lvl="3" indent="-259233" defTabSz="829549">
              <a:lnSpc>
                <a:spcPts val="1814"/>
              </a:lnSpc>
              <a:spcBef>
                <a:spcPts val="544"/>
              </a:spcBef>
              <a:buClr>
                <a:srgbClr val="00B9FF"/>
              </a:buClr>
              <a:buFont typeface="Wingdings" panose="05000000000000000000" pitchFamily="2" charset="2"/>
              <a:buChar char="§"/>
            </a:pPr>
            <a:r>
              <a:rPr lang="en-IN" sz="1452" b="1" dirty="0">
                <a:solidFill>
                  <a:srgbClr val="00B9FF"/>
                </a:solidFill>
                <a:latin typeface="Calibri" panose="020F0502020204030204"/>
                <a:ea typeface="Calibri"/>
                <a:cs typeface="Calibri"/>
                <a:sym typeface="Calibri"/>
              </a:rPr>
              <a:t>Stable and Reliable Data:</a:t>
            </a:r>
          </a:p>
          <a:p>
            <a:pPr marL="259233" lvl="5" indent="-259233" defTabSz="829549">
              <a:lnSpc>
                <a:spcPts val="1814"/>
              </a:lnSpc>
              <a:buClrTx/>
              <a:buFont typeface="Calibri" panose="020F0502020204030204" pitchFamily="34" charset="0"/>
              <a:buChar char="⁻"/>
            </a:pPr>
            <a:r>
              <a:rPr lang="en-US" sz="1270" dirty="0">
                <a:solidFill>
                  <a:srgbClr val="222222"/>
                </a:solidFill>
                <a:latin typeface="Calibri" panose="020F0502020204030204"/>
                <a:ea typeface="Calibri"/>
                <a:cs typeface="Calibri"/>
                <a:sym typeface="Calibri"/>
              </a:rPr>
              <a:t>Correction &amp; Standardization of ERP data, </a:t>
            </a:r>
            <a:r>
              <a:rPr lang="en-US" sz="1270" b="1" dirty="0">
                <a:solidFill>
                  <a:srgbClr val="222222"/>
                </a:solidFill>
                <a:latin typeface="Calibri" panose="020F0502020204030204"/>
                <a:ea typeface="Calibri"/>
                <a:cs typeface="Calibri"/>
                <a:sym typeface="Calibri"/>
              </a:rPr>
              <a:t>eliminating manual file usage</a:t>
            </a:r>
          </a:p>
          <a:p>
            <a:pPr marL="259233" lvl="5" indent="-259233" defTabSz="829549">
              <a:lnSpc>
                <a:spcPts val="1814"/>
              </a:lnSpc>
              <a:buClrTx/>
              <a:buFont typeface="Calibri" panose="020F0502020204030204" pitchFamily="34" charset="0"/>
              <a:buChar char="⁻"/>
            </a:pPr>
            <a:r>
              <a:rPr lang="en-US" sz="1270" dirty="0">
                <a:solidFill>
                  <a:srgbClr val="222222"/>
                </a:solidFill>
                <a:latin typeface="Calibri" panose="020F0502020204030204"/>
                <a:ea typeface="Calibri"/>
                <a:cs typeface="Calibri"/>
                <a:sym typeface="Calibri"/>
              </a:rPr>
              <a:t>Significant enhancement in </a:t>
            </a:r>
            <a:r>
              <a:rPr lang="en-US" sz="1270" b="1" dirty="0">
                <a:solidFill>
                  <a:srgbClr val="222222"/>
                </a:solidFill>
                <a:latin typeface="Calibri" panose="020F0502020204030204"/>
                <a:ea typeface="Calibri"/>
                <a:cs typeface="Calibri"/>
                <a:sym typeface="Calibri"/>
              </a:rPr>
              <a:t>accuracy</a:t>
            </a:r>
            <a:r>
              <a:rPr lang="en-US" sz="1452" b="1" dirty="0">
                <a:solidFill>
                  <a:srgbClr val="222222"/>
                </a:solidFill>
                <a:latin typeface="Calibri" panose="020F0502020204030204"/>
                <a:ea typeface="Calibri"/>
                <a:cs typeface="Calibri"/>
                <a:sym typeface="Calibri"/>
              </a:rPr>
              <a:t> +75% </a:t>
            </a:r>
            <a:r>
              <a:rPr lang="en-US" sz="1270" dirty="0">
                <a:solidFill>
                  <a:srgbClr val="222222"/>
                </a:solidFill>
                <a:latin typeface="Calibri" panose="020F0502020204030204"/>
                <a:ea typeface="Calibri"/>
                <a:cs typeface="Calibri"/>
                <a:sym typeface="Calibri"/>
              </a:rPr>
              <a:t>for Critical Data Elements</a:t>
            </a:r>
          </a:p>
          <a:p>
            <a:pPr marL="259233" lvl="3" indent="-259233" defTabSz="829549">
              <a:lnSpc>
                <a:spcPts val="1814"/>
              </a:lnSpc>
              <a:spcBef>
                <a:spcPts val="544"/>
              </a:spcBef>
              <a:buClr>
                <a:srgbClr val="00B9FF"/>
              </a:buClr>
              <a:buFont typeface="Wingdings" panose="05000000000000000000" pitchFamily="2" charset="2"/>
              <a:buChar char="§"/>
            </a:pPr>
            <a:r>
              <a:rPr lang="en-US" sz="1452" b="1" dirty="0">
                <a:solidFill>
                  <a:srgbClr val="00B9FF"/>
                </a:solidFill>
                <a:latin typeface="Calibri" panose="020F0502020204030204"/>
                <a:ea typeface="Calibri"/>
                <a:cs typeface="Calibri"/>
                <a:sym typeface="Calibri"/>
              </a:rPr>
              <a:t>Organizational Efficiency:</a:t>
            </a:r>
            <a:r>
              <a:rPr lang="en-US" sz="1452" b="1" dirty="0">
                <a:solidFill>
                  <a:srgbClr val="0F47F2"/>
                </a:solidFill>
                <a:latin typeface="Calibri" panose="020F0502020204030204"/>
                <a:ea typeface="Calibri"/>
                <a:cs typeface="Calibri"/>
                <a:sym typeface="Calibri"/>
              </a:rPr>
              <a:t> </a:t>
            </a:r>
            <a:r>
              <a:rPr lang="en-US" sz="1270" b="1" dirty="0">
                <a:solidFill>
                  <a:srgbClr val="222222"/>
                </a:solidFill>
                <a:latin typeface="Calibri" panose="020F0502020204030204"/>
                <a:ea typeface="Calibri"/>
                <a:cs typeface="Calibri"/>
                <a:sym typeface="Calibri"/>
              </a:rPr>
              <a:t>1 HR FTE </a:t>
            </a:r>
            <a:r>
              <a:rPr lang="en-US" sz="1270" dirty="0">
                <a:solidFill>
                  <a:srgbClr val="222222"/>
                </a:solidFill>
                <a:latin typeface="Calibri" panose="020F0502020204030204"/>
                <a:ea typeface="Calibri"/>
                <a:cs typeface="Calibri"/>
                <a:sym typeface="Calibri"/>
              </a:rPr>
              <a:t>reallocated to other tasks due to streamlined data processes.</a:t>
            </a:r>
          </a:p>
          <a:p>
            <a:pPr marL="259233" lvl="3" indent="-259233" defTabSz="829549">
              <a:lnSpc>
                <a:spcPts val="1814"/>
              </a:lnSpc>
              <a:spcBef>
                <a:spcPts val="544"/>
              </a:spcBef>
              <a:buClr>
                <a:srgbClr val="00B9FF"/>
              </a:buClr>
              <a:buFont typeface="Wingdings" panose="05000000000000000000" pitchFamily="2" charset="2"/>
              <a:buChar char="§"/>
            </a:pPr>
            <a:r>
              <a:rPr lang="en-US" sz="1452" b="1" dirty="0">
                <a:solidFill>
                  <a:srgbClr val="00B9FF"/>
                </a:solidFill>
                <a:latin typeface="Calibri" panose="020F0502020204030204"/>
                <a:ea typeface="Calibri"/>
                <a:cs typeface="Calibri"/>
                <a:sym typeface="Calibri"/>
              </a:rPr>
              <a:t>Companywide Transformation</a:t>
            </a:r>
            <a:r>
              <a:rPr lang="en-US" sz="1452" dirty="0">
                <a:solidFill>
                  <a:srgbClr val="00B9FF"/>
                </a:solidFill>
                <a:latin typeface="Calibri" panose="020F0502020204030204"/>
                <a:ea typeface="Calibri"/>
                <a:cs typeface="Calibri"/>
                <a:sym typeface="Calibri"/>
              </a:rPr>
              <a:t>: </a:t>
            </a:r>
            <a:r>
              <a:rPr lang="en-US" sz="1270" dirty="0">
                <a:solidFill>
                  <a:srgbClr val="222222"/>
                </a:solidFill>
                <a:latin typeface="Calibri" panose="020F0502020204030204"/>
                <a:ea typeface="Calibri"/>
                <a:cs typeface="Calibri"/>
                <a:sym typeface="Calibri"/>
              </a:rPr>
              <a:t>The client embarked on a </a:t>
            </a:r>
            <a:r>
              <a:rPr lang="en-US" sz="1270" b="1" dirty="0">
                <a:solidFill>
                  <a:srgbClr val="222222"/>
                </a:solidFill>
                <a:latin typeface="Calibri" panose="020F0502020204030204"/>
                <a:ea typeface="Calibri"/>
                <a:cs typeface="Calibri"/>
                <a:sym typeface="Calibri"/>
              </a:rPr>
              <a:t>data transformation journey</a:t>
            </a:r>
            <a:r>
              <a:rPr lang="en-US" sz="1270" dirty="0">
                <a:solidFill>
                  <a:srgbClr val="222222"/>
                </a:solidFill>
                <a:latin typeface="Calibri" panose="020F0502020204030204"/>
                <a:ea typeface="Calibri"/>
                <a:cs typeface="Calibri"/>
                <a:sym typeface="Calibri"/>
              </a:rPr>
              <a:t>, partnering with Infomineo to create </a:t>
            </a:r>
            <a:r>
              <a:rPr lang="en-US" sz="1270" dirty="0" err="1">
                <a:solidFill>
                  <a:srgbClr val="222222"/>
                </a:solidFill>
                <a:latin typeface="Calibri" panose="020F0502020204030204"/>
                <a:ea typeface="Calibri"/>
                <a:cs typeface="Calibri"/>
                <a:sym typeface="Calibri"/>
              </a:rPr>
              <a:t>alsol</a:t>
            </a:r>
            <a:r>
              <a:rPr lang="en-US" sz="1270" dirty="0">
                <a:solidFill>
                  <a:srgbClr val="222222"/>
                </a:solidFill>
                <a:latin typeface="Calibri" panose="020F0502020204030204"/>
                <a:ea typeface="Calibri"/>
                <a:cs typeface="Calibri"/>
                <a:sym typeface="Calibri"/>
              </a:rPr>
              <a:t> </a:t>
            </a:r>
            <a:r>
              <a:rPr lang="en-US" sz="1270" b="1" dirty="0">
                <a:solidFill>
                  <a:srgbClr val="222222"/>
                </a:solidFill>
                <a:latin typeface="Calibri" panose="020F0502020204030204"/>
                <a:ea typeface="Calibri"/>
                <a:cs typeface="Calibri"/>
                <a:sym typeface="Calibri"/>
              </a:rPr>
              <a:t>financial dashboards</a:t>
            </a:r>
            <a:endParaRPr sz="1452" b="1" dirty="0">
              <a:solidFill>
                <a:srgbClr val="222222"/>
              </a:solidFill>
              <a:latin typeface="Calibri" panose="020F0502020204030204"/>
              <a:ea typeface="Calibri"/>
              <a:cs typeface="Calibri"/>
              <a:sym typeface="Calibri"/>
            </a:endParaRPr>
          </a:p>
        </p:txBody>
      </p:sp>
      <p:sp>
        <p:nvSpPr>
          <p:cNvPr id="35" name="Google Shape;543;p30">
            <a:extLst>
              <a:ext uri="{FF2B5EF4-FFF2-40B4-BE49-F238E27FC236}">
                <a16:creationId xmlns:a16="http://schemas.microsoft.com/office/drawing/2014/main" id="{965346D9-9F85-F85E-25C0-97943DF282ED}"/>
              </a:ext>
            </a:extLst>
          </p:cNvPr>
          <p:cNvSpPr txBox="1">
            <a:spLocks/>
          </p:cNvSpPr>
          <p:nvPr/>
        </p:nvSpPr>
        <p:spPr>
          <a:xfrm>
            <a:off x="727047" y="2511561"/>
            <a:ext cx="3200439" cy="1025922"/>
          </a:xfrm>
          <a:prstGeom prst="rect">
            <a:avLst/>
          </a:prstGeom>
          <a:noFill/>
          <a:ln>
            <a:noFill/>
          </a:ln>
        </p:spPr>
        <p:txBody>
          <a:bodyPr spcFirstLastPara="1" wrap="square" lIns="0" tIns="0" rIns="0" bIns="0" anchor="t" anchorCtr="0">
            <a:spAutoFit/>
          </a:bodyPr>
          <a:lstStyle/>
          <a:p>
            <a:pPr defTabSz="829549">
              <a:lnSpc>
                <a:spcPts val="1633"/>
              </a:lnSpc>
            </a:pPr>
            <a:r>
              <a:rPr lang="en-IN" sz="1452" dirty="0">
                <a:solidFill>
                  <a:srgbClr val="444444"/>
                </a:solidFill>
                <a:latin typeface="Calibri" panose="020F0502020204030204"/>
                <a:ea typeface="Calibri"/>
                <a:cs typeface="Calibri"/>
                <a:sym typeface="Calibri"/>
              </a:rPr>
              <a:t>The client wanted to have an automated Human Resource Dashboard to track, </a:t>
            </a:r>
            <a:r>
              <a:rPr lang="en-US" sz="1452" dirty="0">
                <a:solidFill>
                  <a:srgbClr val="444444"/>
                </a:solidFill>
                <a:latin typeface="Calibri" panose="020F0502020204030204"/>
                <a:ea typeface="Calibri"/>
                <a:cs typeface="Calibri"/>
                <a:sym typeface="Calibri"/>
              </a:rPr>
              <a:t>analyze</a:t>
            </a:r>
            <a:r>
              <a:rPr lang="en-IN" sz="1452" dirty="0">
                <a:solidFill>
                  <a:srgbClr val="444444"/>
                </a:solidFill>
                <a:latin typeface="Calibri" panose="020F0502020204030204"/>
                <a:ea typeface="Calibri"/>
                <a:cs typeface="Calibri"/>
                <a:sym typeface="Calibri"/>
              </a:rPr>
              <a:t> and report on HR KPIs.</a:t>
            </a:r>
            <a:endParaRPr sz="1452" dirty="0">
              <a:latin typeface="Calibri" panose="020F0502020204030204"/>
              <a:ea typeface="+mn-ea"/>
            </a:endParaRPr>
          </a:p>
          <a:p>
            <a:pPr defTabSz="829549">
              <a:lnSpc>
                <a:spcPts val="1633"/>
              </a:lnSpc>
            </a:pPr>
            <a:endParaRPr sz="1452" dirty="0">
              <a:solidFill>
                <a:srgbClr val="444444"/>
              </a:solidFill>
              <a:latin typeface="Calibri" panose="020F0502020204030204"/>
              <a:ea typeface="Calibri"/>
              <a:cs typeface="Calibri"/>
              <a:sym typeface="Calibri"/>
            </a:endParaRPr>
          </a:p>
          <a:p>
            <a:pPr defTabSz="829549">
              <a:lnSpc>
                <a:spcPts val="1633"/>
              </a:lnSpc>
            </a:pPr>
            <a:r>
              <a:rPr lang="en-IN" sz="1452" dirty="0">
                <a:solidFill>
                  <a:srgbClr val="444444"/>
                </a:solidFill>
                <a:latin typeface="Calibri" panose="020F0502020204030204"/>
                <a:ea typeface="Calibri"/>
                <a:cs typeface="Calibri"/>
                <a:sym typeface="Calibri"/>
              </a:rPr>
              <a:t>The firm was looking for: </a:t>
            </a:r>
            <a:endParaRPr sz="1452" dirty="0">
              <a:solidFill>
                <a:srgbClr val="444444"/>
              </a:solidFill>
              <a:latin typeface="Calibri" panose="020F0502020204030204"/>
              <a:ea typeface="Calibri"/>
              <a:cs typeface="Calibri"/>
              <a:sym typeface="Calibri"/>
            </a:endParaRPr>
          </a:p>
        </p:txBody>
      </p:sp>
      <p:sp>
        <p:nvSpPr>
          <p:cNvPr id="47" name="Google Shape;565;p30">
            <a:extLst>
              <a:ext uri="{FF2B5EF4-FFF2-40B4-BE49-F238E27FC236}">
                <a16:creationId xmlns:a16="http://schemas.microsoft.com/office/drawing/2014/main" id="{3DED97C6-99D7-87EC-3609-03E131EE28F4}"/>
              </a:ext>
            </a:extLst>
          </p:cNvPr>
          <p:cNvSpPr txBox="1">
            <a:spLocks/>
          </p:cNvSpPr>
          <p:nvPr/>
        </p:nvSpPr>
        <p:spPr>
          <a:xfrm>
            <a:off x="4490020" y="2511562"/>
            <a:ext cx="3200439" cy="654635"/>
          </a:xfrm>
          <a:prstGeom prst="rect">
            <a:avLst/>
          </a:prstGeom>
          <a:noFill/>
          <a:ln>
            <a:noFill/>
          </a:ln>
        </p:spPr>
        <p:txBody>
          <a:bodyPr spcFirstLastPara="1" wrap="square" lIns="0" tIns="0" rIns="0" bIns="0" anchor="t" anchorCtr="0">
            <a:noAutofit/>
          </a:bodyPr>
          <a:lstStyle/>
          <a:p>
            <a:pPr defTabSz="829549">
              <a:lnSpc>
                <a:spcPts val="1633"/>
              </a:lnSpc>
            </a:pPr>
            <a:r>
              <a:rPr lang="en-IN" sz="1452" dirty="0">
                <a:solidFill>
                  <a:srgbClr val="222222"/>
                </a:solidFill>
                <a:latin typeface="Calibri" panose="020F0502020204030204"/>
                <a:ea typeface="Calibri"/>
                <a:cs typeface="Calibri"/>
                <a:sym typeface="Calibri"/>
              </a:rPr>
              <a:t>The company decided to use</a:t>
            </a:r>
            <a:r>
              <a:rPr lang="en-IN" sz="1452" b="1" dirty="0">
                <a:solidFill>
                  <a:srgbClr val="222222"/>
                </a:solidFill>
                <a:latin typeface="Calibri" panose="020F0502020204030204"/>
                <a:ea typeface="Calibri"/>
                <a:cs typeface="Calibri"/>
                <a:sym typeface="Calibri"/>
              </a:rPr>
              <a:t> Infomineo’ Data Analytics service as a solution </a:t>
            </a:r>
            <a:r>
              <a:rPr lang="en-IN" sz="1452" dirty="0">
                <a:solidFill>
                  <a:srgbClr val="222222"/>
                </a:solidFill>
                <a:latin typeface="Calibri" panose="020F0502020204030204"/>
                <a:ea typeface="Calibri"/>
                <a:cs typeface="Calibri"/>
                <a:sym typeface="Calibri"/>
              </a:rPr>
              <a:t>to cover</a:t>
            </a:r>
            <a:r>
              <a:rPr lang="en-IN" sz="1452" b="1" dirty="0">
                <a:solidFill>
                  <a:srgbClr val="222222"/>
                </a:solidFill>
                <a:latin typeface="Calibri" panose="020F0502020204030204"/>
                <a:ea typeface="Calibri"/>
                <a:cs typeface="Calibri"/>
                <a:sym typeface="Calibri"/>
              </a:rPr>
              <a:t>:</a:t>
            </a:r>
            <a:endParaRPr sz="1452" dirty="0">
              <a:solidFill>
                <a:srgbClr val="222222"/>
              </a:solidFill>
              <a:latin typeface="Calibri" panose="020F0502020204030204"/>
              <a:ea typeface="Calibri"/>
              <a:cs typeface="Calibri"/>
              <a:sym typeface="Calibri"/>
            </a:endParaRPr>
          </a:p>
        </p:txBody>
      </p:sp>
      <p:sp>
        <p:nvSpPr>
          <p:cNvPr id="67" name="Google Shape;540;p30">
            <a:extLst>
              <a:ext uri="{FF2B5EF4-FFF2-40B4-BE49-F238E27FC236}">
                <a16:creationId xmlns:a16="http://schemas.microsoft.com/office/drawing/2014/main" id="{27BA0A68-6DC4-A5AE-D93D-DDEDE497CB4B}"/>
              </a:ext>
            </a:extLst>
          </p:cNvPr>
          <p:cNvSpPr>
            <a:spLocks/>
          </p:cNvSpPr>
          <p:nvPr/>
        </p:nvSpPr>
        <p:spPr>
          <a:xfrm>
            <a:off x="8025818" y="1686574"/>
            <a:ext cx="3654797" cy="713844"/>
          </a:xfrm>
          <a:prstGeom prst="round2SameRect">
            <a:avLst/>
          </a:prstGeom>
          <a:gradFill flip="none" rotWithShape="1">
            <a:gsLst>
              <a:gs pos="16000">
                <a:srgbClr val="13349A"/>
              </a:gs>
              <a:gs pos="46000">
                <a:srgbClr val="183BA6"/>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endParaRPr b="1" kern="1200" dirty="0">
              <a:solidFill>
                <a:srgbClr val="FFFFFF"/>
              </a:solidFill>
              <a:latin typeface="Calibri" panose="020F0502020204030204" pitchFamily="34" charset="0"/>
              <a:cs typeface="Calibri" panose="020F0502020204030204" pitchFamily="34" charset="0"/>
            </a:endParaRPr>
          </a:p>
        </p:txBody>
      </p:sp>
      <p:sp>
        <p:nvSpPr>
          <p:cNvPr id="68" name="Google Shape;541;p30">
            <a:extLst>
              <a:ext uri="{FF2B5EF4-FFF2-40B4-BE49-F238E27FC236}">
                <a16:creationId xmlns:a16="http://schemas.microsoft.com/office/drawing/2014/main" id="{497A69E6-D1A5-6AF9-EE29-8EE6DF2963C4}"/>
              </a:ext>
            </a:extLst>
          </p:cNvPr>
          <p:cNvSpPr txBox="1"/>
          <p:nvPr/>
        </p:nvSpPr>
        <p:spPr>
          <a:xfrm>
            <a:off x="8998176" y="1901105"/>
            <a:ext cx="1710080" cy="284758"/>
          </a:xfrm>
          <a:prstGeom prst="rect">
            <a:avLst/>
          </a:prstGeom>
          <a:noFill/>
          <a:ln>
            <a:noFill/>
          </a:ln>
        </p:spPr>
        <p:txBody>
          <a:bodyPr spcFirstLastPara="1" wrap="square" lIns="0" tIns="0" rIns="0" bIns="0" anchor="t" anchorCtr="0">
            <a:spAutoFit/>
          </a:bodyPr>
          <a:lstStyle/>
          <a:p>
            <a:pPr algn="ctr" defTabSz="829549">
              <a:lnSpc>
                <a:spcPct val="85000"/>
              </a:lnSpc>
            </a:pPr>
            <a:r>
              <a:rPr lang="en-IN" sz="2177" b="1" dirty="0">
                <a:solidFill>
                  <a:srgbClr val="FFFFFF"/>
                </a:solidFill>
                <a:latin typeface="Calibri" panose="020F0502020204030204"/>
                <a:ea typeface="Franklin Gothic"/>
                <a:cs typeface="Franklin Gothic"/>
                <a:sym typeface="Franklin Gothic"/>
              </a:rPr>
              <a:t>Outcome</a:t>
            </a:r>
            <a:endParaRPr sz="2177" b="1" dirty="0">
              <a:latin typeface="Calibri" panose="020F0502020204030204"/>
              <a:ea typeface="+mn-ea"/>
            </a:endParaRPr>
          </a:p>
        </p:txBody>
      </p:sp>
      <p:sp>
        <p:nvSpPr>
          <p:cNvPr id="69" name="Google Shape;545;p30">
            <a:extLst>
              <a:ext uri="{FF2B5EF4-FFF2-40B4-BE49-F238E27FC236}">
                <a16:creationId xmlns:a16="http://schemas.microsoft.com/office/drawing/2014/main" id="{C7D9A90D-1786-4187-F2C5-3576731906F5}"/>
              </a:ext>
            </a:extLst>
          </p:cNvPr>
          <p:cNvSpPr>
            <a:spLocks/>
          </p:cNvSpPr>
          <p:nvPr/>
        </p:nvSpPr>
        <p:spPr>
          <a:xfrm>
            <a:off x="499868" y="1685069"/>
            <a:ext cx="3654797" cy="716854"/>
          </a:xfrm>
          <a:prstGeom prst="round2SameRect">
            <a:avLst/>
          </a:prstGeom>
          <a:gradFill flip="none" rotWithShape="1">
            <a:gsLst>
              <a:gs pos="16000">
                <a:srgbClr val="13349A"/>
              </a:gs>
              <a:gs pos="46000">
                <a:srgbClr val="183BA6"/>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endParaRPr b="1" kern="1200" dirty="0">
              <a:solidFill>
                <a:srgbClr val="FFFFFF"/>
              </a:solidFill>
              <a:latin typeface="Calibri" panose="020F0502020204030204" pitchFamily="34" charset="0"/>
              <a:cs typeface="Calibri" panose="020F0502020204030204" pitchFamily="34" charset="0"/>
            </a:endParaRPr>
          </a:p>
        </p:txBody>
      </p:sp>
      <p:sp>
        <p:nvSpPr>
          <p:cNvPr id="70" name="Google Shape;546;p30">
            <a:extLst>
              <a:ext uri="{FF2B5EF4-FFF2-40B4-BE49-F238E27FC236}">
                <a16:creationId xmlns:a16="http://schemas.microsoft.com/office/drawing/2014/main" id="{8EC7BB4B-5745-B640-5ECF-CD5AAC1D117C}"/>
              </a:ext>
            </a:extLst>
          </p:cNvPr>
          <p:cNvSpPr txBox="1"/>
          <p:nvPr/>
        </p:nvSpPr>
        <p:spPr>
          <a:xfrm>
            <a:off x="1218521" y="1901105"/>
            <a:ext cx="2217491" cy="284758"/>
          </a:xfrm>
          <a:prstGeom prst="rect">
            <a:avLst/>
          </a:prstGeom>
          <a:noFill/>
          <a:ln>
            <a:noFill/>
          </a:ln>
        </p:spPr>
        <p:txBody>
          <a:bodyPr spcFirstLastPara="1" wrap="square" lIns="0" tIns="0" rIns="0" bIns="0" anchor="t" anchorCtr="0">
            <a:spAutoFit/>
          </a:bodyPr>
          <a:lstStyle/>
          <a:p>
            <a:pPr algn="ctr" defTabSz="829549">
              <a:lnSpc>
                <a:spcPct val="85000"/>
              </a:lnSpc>
            </a:pPr>
            <a:r>
              <a:rPr lang="en-IN" sz="2177" b="1" dirty="0">
                <a:solidFill>
                  <a:srgbClr val="FFFFFF"/>
                </a:solidFill>
                <a:latin typeface="Calibri" panose="020F0502020204030204"/>
                <a:ea typeface="Franklin Gothic"/>
                <a:cs typeface="Franklin Gothic"/>
                <a:sym typeface="Franklin Gothic"/>
              </a:rPr>
              <a:t>Client Challenge</a:t>
            </a:r>
            <a:endParaRPr sz="2177" b="1" dirty="0">
              <a:latin typeface="Calibri" panose="020F0502020204030204"/>
              <a:ea typeface="+mn-ea"/>
            </a:endParaRPr>
          </a:p>
        </p:txBody>
      </p:sp>
      <p:grpSp>
        <p:nvGrpSpPr>
          <p:cNvPr id="84" name="Group 83">
            <a:extLst>
              <a:ext uri="{FF2B5EF4-FFF2-40B4-BE49-F238E27FC236}">
                <a16:creationId xmlns:a16="http://schemas.microsoft.com/office/drawing/2014/main" id="{CFE9919F-15F4-023E-0988-74C0DB7A8D3A}"/>
              </a:ext>
            </a:extLst>
          </p:cNvPr>
          <p:cNvGrpSpPr/>
          <p:nvPr/>
        </p:nvGrpSpPr>
        <p:grpSpPr>
          <a:xfrm>
            <a:off x="3466060" y="1746839"/>
            <a:ext cx="592175" cy="593316"/>
            <a:chOff x="3416568" y="1395569"/>
            <a:chExt cx="955760" cy="957600"/>
          </a:xfrm>
        </p:grpSpPr>
        <p:sp>
          <p:nvSpPr>
            <p:cNvPr id="72" name="Google Shape;551;p30">
              <a:extLst>
                <a:ext uri="{FF2B5EF4-FFF2-40B4-BE49-F238E27FC236}">
                  <a16:creationId xmlns:a16="http://schemas.microsoft.com/office/drawing/2014/main" id="{7AC567B8-CB2C-7B6B-00F2-D43D8D9EE06E}"/>
                </a:ext>
              </a:extLst>
            </p:cNvPr>
            <p:cNvSpPr/>
            <p:nvPr/>
          </p:nvSpPr>
          <p:spPr>
            <a:xfrm>
              <a:off x="3416568"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401" dirty="0">
                <a:solidFill>
                  <a:srgbClr val="FFFFFF"/>
                </a:solidFill>
                <a:ea typeface="+mn-ea"/>
              </a:endParaRPr>
            </a:p>
          </p:txBody>
        </p:sp>
        <p:pic>
          <p:nvPicPr>
            <p:cNvPr id="73" name="Google Shape;552;p30">
              <a:extLst>
                <a:ext uri="{FF2B5EF4-FFF2-40B4-BE49-F238E27FC236}">
                  <a16:creationId xmlns:a16="http://schemas.microsoft.com/office/drawing/2014/main" id="{E9D8B212-377A-4B1C-FE1F-44BBDA09FC1F}"/>
                </a:ext>
              </a:extLst>
            </p:cNvPr>
            <p:cNvPicPr preferRelativeResize="0"/>
            <p:nvPr/>
          </p:nvPicPr>
          <p:blipFill rotWithShape="1">
            <a:blip r:embed="rId6" cstate="print">
              <a:alphaModFix/>
              <a:extLst>
                <a:ext uri="{28A0092B-C50C-407E-A947-70E740481C1C}">
                  <a14:useLocalDpi xmlns:a14="http://schemas.microsoft.com/office/drawing/2010/main" val="0"/>
                </a:ext>
              </a:extLst>
            </a:blip>
            <a:srcRect/>
            <a:stretch/>
          </p:blipFill>
          <p:spPr>
            <a:xfrm>
              <a:off x="3568608" y="1548529"/>
              <a:ext cx="651681" cy="651681"/>
            </a:xfrm>
            <a:prstGeom prst="rect">
              <a:avLst/>
            </a:prstGeom>
            <a:noFill/>
            <a:ln>
              <a:noFill/>
            </a:ln>
          </p:spPr>
        </p:pic>
      </p:grpSp>
      <p:sp>
        <p:nvSpPr>
          <p:cNvPr id="74" name="Google Shape;566;p30">
            <a:extLst>
              <a:ext uri="{FF2B5EF4-FFF2-40B4-BE49-F238E27FC236}">
                <a16:creationId xmlns:a16="http://schemas.microsoft.com/office/drawing/2014/main" id="{FA21B87D-2D31-A065-F658-8E483CBC1C78}"/>
              </a:ext>
            </a:extLst>
          </p:cNvPr>
          <p:cNvSpPr>
            <a:spLocks/>
          </p:cNvSpPr>
          <p:nvPr/>
        </p:nvSpPr>
        <p:spPr>
          <a:xfrm>
            <a:off x="4262843" y="1685069"/>
            <a:ext cx="3654797" cy="716854"/>
          </a:xfrm>
          <a:prstGeom prst="round2SameRect">
            <a:avLst/>
          </a:prstGeom>
          <a:gradFill flip="none" rotWithShape="1">
            <a:gsLst>
              <a:gs pos="16000">
                <a:srgbClr val="13349A"/>
              </a:gs>
              <a:gs pos="46000">
                <a:srgbClr val="183BA6"/>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endParaRPr b="1" kern="1200" dirty="0">
              <a:solidFill>
                <a:srgbClr val="FFFFFF"/>
              </a:solidFill>
              <a:latin typeface="Calibri" panose="020F0502020204030204" pitchFamily="34" charset="0"/>
              <a:cs typeface="Calibri" panose="020F0502020204030204" pitchFamily="34" charset="0"/>
            </a:endParaRPr>
          </a:p>
        </p:txBody>
      </p:sp>
      <p:sp>
        <p:nvSpPr>
          <p:cNvPr id="75" name="Google Shape;567;p30">
            <a:extLst>
              <a:ext uri="{FF2B5EF4-FFF2-40B4-BE49-F238E27FC236}">
                <a16:creationId xmlns:a16="http://schemas.microsoft.com/office/drawing/2014/main" id="{02BEBACB-D89C-DE2E-ECB3-DEBD3F1B6A68}"/>
              </a:ext>
            </a:extLst>
          </p:cNvPr>
          <p:cNvSpPr txBox="1"/>
          <p:nvPr/>
        </p:nvSpPr>
        <p:spPr>
          <a:xfrm>
            <a:off x="5210256" y="1901105"/>
            <a:ext cx="1759969" cy="284758"/>
          </a:xfrm>
          <a:prstGeom prst="rect">
            <a:avLst/>
          </a:prstGeom>
          <a:noFill/>
          <a:ln>
            <a:noFill/>
          </a:ln>
        </p:spPr>
        <p:txBody>
          <a:bodyPr spcFirstLastPara="1" wrap="square" lIns="0" tIns="0" rIns="0" bIns="0" anchor="t" anchorCtr="0">
            <a:spAutoFit/>
          </a:bodyPr>
          <a:lstStyle/>
          <a:p>
            <a:pPr algn="ctr" defTabSz="829549">
              <a:lnSpc>
                <a:spcPct val="85000"/>
              </a:lnSpc>
            </a:pPr>
            <a:r>
              <a:rPr lang="en-IN" sz="2177" b="1" dirty="0">
                <a:solidFill>
                  <a:srgbClr val="FFFFFF"/>
                </a:solidFill>
                <a:latin typeface="Calibri" panose="020F0502020204030204"/>
                <a:ea typeface="Franklin Gothic"/>
                <a:cs typeface="Franklin Gothic"/>
                <a:sym typeface="Franklin Gothic"/>
              </a:rPr>
              <a:t>Our Solution</a:t>
            </a:r>
            <a:endParaRPr sz="2177" b="1" dirty="0">
              <a:latin typeface="Calibri" panose="020F0502020204030204"/>
              <a:ea typeface="+mn-ea"/>
            </a:endParaRPr>
          </a:p>
        </p:txBody>
      </p:sp>
      <p:grpSp>
        <p:nvGrpSpPr>
          <p:cNvPr id="85" name="Group 84">
            <a:extLst>
              <a:ext uri="{FF2B5EF4-FFF2-40B4-BE49-F238E27FC236}">
                <a16:creationId xmlns:a16="http://schemas.microsoft.com/office/drawing/2014/main" id="{C9087BB1-2562-AC83-FF1C-CB4ADD670F58}"/>
              </a:ext>
            </a:extLst>
          </p:cNvPr>
          <p:cNvGrpSpPr/>
          <p:nvPr/>
        </p:nvGrpSpPr>
        <p:grpSpPr>
          <a:xfrm>
            <a:off x="7222928" y="1746839"/>
            <a:ext cx="592175" cy="593316"/>
            <a:chOff x="7762572" y="1395569"/>
            <a:chExt cx="955760" cy="957600"/>
          </a:xfrm>
        </p:grpSpPr>
        <p:sp>
          <p:nvSpPr>
            <p:cNvPr id="76" name="Google Shape;568;p30">
              <a:extLst>
                <a:ext uri="{FF2B5EF4-FFF2-40B4-BE49-F238E27FC236}">
                  <a16:creationId xmlns:a16="http://schemas.microsoft.com/office/drawing/2014/main" id="{483098E1-C41C-B52A-2C2A-B7DEF91693DA}"/>
                </a:ext>
              </a:extLst>
            </p:cNvPr>
            <p:cNvSpPr/>
            <p:nvPr/>
          </p:nvSpPr>
          <p:spPr>
            <a:xfrm>
              <a:off x="7762572"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597" dirty="0">
                <a:solidFill>
                  <a:srgbClr val="FFFFFF"/>
                </a:solidFill>
                <a:ea typeface="+mn-ea"/>
              </a:endParaRPr>
            </a:p>
          </p:txBody>
        </p:sp>
        <p:pic>
          <p:nvPicPr>
            <p:cNvPr id="77" name="Google Shape;569;p30">
              <a:extLst>
                <a:ext uri="{FF2B5EF4-FFF2-40B4-BE49-F238E27FC236}">
                  <a16:creationId xmlns:a16="http://schemas.microsoft.com/office/drawing/2014/main" id="{DDBEE1B2-2558-37C2-F7C8-217F1E77F8D8}"/>
                </a:ext>
              </a:extLst>
            </p:cNvPr>
            <p:cNvPicPr preferRelativeResize="0"/>
            <p:nvPr/>
          </p:nvPicPr>
          <p:blipFill rotWithShape="1">
            <a:blip r:embed="rId7" cstate="print">
              <a:alphaModFix/>
              <a:extLst>
                <a:ext uri="{28A0092B-C50C-407E-A947-70E740481C1C}">
                  <a14:useLocalDpi xmlns:a14="http://schemas.microsoft.com/office/drawing/2010/main" val="0"/>
                </a:ext>
              </a:extLst>
            </a:blip>
            <a:srcRect/>
            <a:stretch/>
          </p:blipFill>
          <p:spPr>
            <a:xfrm>
              <a:off x="7909107" y="1543024"/>
              <a:ext cx="662691" cy="662691"/>
            </a:xfrm>
            <a:prstGeom prst="rect">
              <a:avLst/>
            </a:prstGeom>
            <a:noFill/>
            <a:ln>
              <a:noFill/>
            </a:ln>
          </p:spPr>
        </p:pic>
      </p:grpSp>
      <p:grpSp>
        <p:nvGrpSpPr>
          <p:cNvPr id="86" name="Group 85">
            <a:extLst>
              <a:ext uri="{FF2B5EF4-FFF2-40B4-BE49-F238E27FC236}">
                <a16:creationId xmlns:a16="http://schemas.microsoft.com/office/drawing/2014/main" id="{6CF3BF89-D5CB-F433-CD46-1D9D5B64E278}"/>
              </a:ext>
            </a:extLst>
          </p:cNvPr>
          <p:cNvGrpSpPr/>
          <p:nvPr/>
        </p:nvGrpSpPr>
        <p:grpSpPr>
          <a:xfrm>
            <a:off x="10997607" y="1746839"/>
            <a:ext cx="592175" cy="593316"/>
            <a:chOff x="12019931" y="1366765"/>
            <a:chExt cx="955760" cy="957600"/>
          </a:xfrm>
        </p:grpSpPr>
        <p:sp>
          <p:nvSpPr>
            <p:cNvPr id="79" name="Google Shape;583;p30">
              <a:extLst>
                <a:ext uri="{FF2B5EF4-FFF2-40B4-BE49-F238E27FC236}">
                  <a16:creationId xmlns:a16="http://schemas.microsoft.com/office/drawing/2014/main" id="{48B8D64B-B2F4-F87A-15EE-E731299D19AB}"/>
                </a:ext>
              </a:extLst>
            </p:cNvPr>
            <p:cNvSpPr/>
            <p:nvPr/>
          </p:nvSpPr>
          <p:spPr>
            <a:xfrm>
              <a:off x="12019931" y="1366765"/>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401" dirty="0">
                <a:solidFill>
                  <a:srgbClr val="FFFFFF"/>
                </a:solidFill>
                <a:highlight>
                  <a:srgbClr val="FFFF00"/>
                </a:highlight>
                <a:ea typeface="+mn-ea"/>
              </a:endParaRPr>
            </a:p>
          </p:txBody>
        </p:sp>
        <p:grpSp>
          <p:nvGrpSpPr>
            <p:cNvPr id="80" name="Google Shape;584;p30">
              <a:extLst>
                <a:ext uri="{FF2B5EF4-FFF2-40B4-BE49-F238E27FC236}">
                  <a16:creationId xmlns:a16="http://schemas.microsoft.com/office/drawing/2014/main" id="{EE262A71-A3A2-01C0-F4DA-72E751BCB797}"/>
                </a:ext>
              </a:extLst>
            </p:cNvPr>
            <p:cNvGrpSpPr/>
            <p:nvPr/>
          </p:nvGrpSpPr>
          <p:grpSpPr>
            <a:xfrm>
              <a:off x="12226115" y="1593618"/>
              <a:ext cx="543392" cy="503895"/>
              <a:chOff x="10915170" y="2075424"/>
              <a:chExt cx="432288" cy="400866"/>
            </a:xfrm>
          </p:grpSpPr>
          <p:sp>
            <p:nvSpPr>
              <p:cNvPr id="81" name="Google Shape;585;p30">
                <a:extLst>
                  <a:ext uri="{FF2B5EF4-FFF2-40B4-BE49-F238E27FC236}">
                    <a16:creationId xmlns:a16="http://schemas.microsoft.com/office/drawing/2014/main" id="{4A9FC926-2B21-D840-8C6F-64FF1A5DFBA9}"/>
                  </a:ext>
                </a:extLst>
              </p:cNvPr>
              <p:cNvSpPr/>
              <p:nvPr/>
            </p:nvSpPr>
            <p:spPr>
              <a:xfrm>
                <a:off x="10915170" y="2075424"/>
                <a:ext cx="432288" cy="400866"/>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noFill/>
              <a:ln w="6350" cap="flat" cmpd="sng">
                <a:solidFill>
                  <a:schemeClr val="accent1"/>
                </a:solidFill>
                <a:prstDash val="solid"/>
                <a:round/>
                <a:headEnd type="none" w="sm" len="sm"/>
                <a:tailEnd type="none" w="sm" len="sm"/>
              </a:ln>
            </p:spPr>
            <p:txBody>
              <a:bodyPr spcFirstLastPara="1" wrap="square" lIns="91422" tIns="45697" rIns="91422" bIns="45697" anchor="t" anchorCtr="0">
                <a:noAutofit/>
              </a:bodyPr>
              <a:lstStyle/>
              <a:p>
                <a:pPr defTabSz="829549"/>
                <a:endParaRPr sz="1801" dirty="0">
                  <a:solidFill>
                    <a:srgbClr val="444444"/>
                  </a:solidFill>
                  <a:highlight>
                    <a:srgbClr val="FFFF00"/>
                  </a:highlight>
                  <a:latin typeface="Calibri"/>
                  <a:ea typeface="Calibri"/>
                  <a:cs typeface="Calibri"/>
                  <a:sym typeface="Calibri"/>
                </a:endParaRPr>
              </a:p>
            </p:txBody>
          </p:sp>
          <p:sp>
            <p:nvSpPr>
              <p:cNvPr id="82" name="Google Shape;586;p30">
                <a:extLst>
                  <a:ext uri="{FF2B5EF4-FFF2-40B4-BE49-F238E27FC236}">
                    <a16:creationId xmlns:a16="http://schemas.microsoft.com/office/drawing/2014/main" id="{DD05F787-065E-1133-86E6-3AF1EDEE739F}"/>
                  </a:ext>
                </a:extLst>
              </p:cNvPr>
              <p:cNvSpPr/>
              <p:nvPr/>
            </p:nvSpPr>
            <p:spPr>
              <a:xfrm>
                <a:off x="11005647" y="2167089"/>
                <a:ext cx="282550" cy="266407"/>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3175" cap="flat" cmpd="sng">
                <a:solidFill>
                  <a:schemeClr val="accent1"/>
                </a:solidFill>
                <a:prstDash val="solid"/>
                <a:round/>
                <a:headEnd type="none" w="sm" len="sm"/>
                <a:tailEnd type="none" w="sm" len="sm"/>
              </a:ln>
            </p:spPr>
            <p:txBody>
              <a:bodyPr spcFirstLastPara="1" wrap="square" lIns="91422" tIns="45697" rIns="91422" bIns="45697" anchor="t" anchorCtr="0">
                <a:noAutofit/>
              </a:bodyPr>
              <a:lstStyle/>
              <a:p>
                <a:pPr defTabSz="829549"/>
                <a:endParaRPr sz="1801" dirty="0">
                  <a:solidFill>
                    <a:srgbClr val="444444"/>
                  </a:solidFill>
                  <a:highlight>
                    <a:srgbClr val="FFFF00"/>
                  </a:highlight>
                  <a:latin typeface="Calibri"/>
                  <a:ea typeface="Calibri"/>
                  <a:cs typeface="Calibri"/>
                  <a:sym typeface="Calibri"/>
                </a:endParaRPr>
              </a:p>
            </p:txBody>
          </p:sp>
        </p:grpSp>
      </p:grpSp>
      <p:grpSp>
        <p:nvGrpSpPr>
          <p:cNvPr id="2" name="Group 1">
            <a:extLst>
              <a:ext uri="{FF2B5EF4-FFF2-40B4-BE49-F238E27FC236}">
                <a16:creationId xmlns:a16="http://schemas.microsoft.com/office/drawing/2014/main" id="{621799D4-3A15-E3E8-C631-D79D8E60224E}"/>
              </a:ext>
            </a:extLst>
          </p:cNvPr>
          <p:cNvGrpSpPr/>
          <p:nvPr/>
        </p:nvGrpSpPr>
        <p:grpSpPr>
          <a:xfrm>
            <a:off x="4490020" y="5250092"/>
            <a:ext cx="3177413" cy="690798"/>
            <a:chOff x="4949498" y="5682606"/>
            <a:chExt cx="3502693" cy="761517"/>
          </a:xfrm>
        </p:grpSpPr>
        <p:sp>
          <p:nvSpPr>
            <p:cNvPr id="50" name="Google Shape;573;p30">
              <a:extLst>
                <a:ext uri="{FF2B5EF4-FFF2-40B4-BE49-F238E27FC236}">
                  <a16:creationId xmlns:a16="http://schemas.microsoft.com/office/drawing/2014/main" id="{8258115C-502F-0BBB-962A-03BFE0454D92}"/>
                </a:ext>
              </a:extLst>
            </p:cNvPr>
            <p:cNvSpPr txBox="1"/>
            <p:nvPr/>
          </p:nvSpPr>
          <p:spPr>
            <a:xfrm>
              <a:off x="5582955" y="5682606"/>
              <a:ext cx="2869236" cy="761517"/>
            </a:xfrm>
            <a:prstGeom prst="rect">
              <a:avLst/>
            </a:prstGeom>
            <a:noFill/>
            <a:ln>
              <a:noFill/>
            </a:ln>
          </p:spPr>
          <p:txBody>
            <a:bodyPr spcFirstLastPara="1" wrap="square" lIns="0" tIns="0" rIns="0" bIns="0" anchor="t" anchorCtr="0">
              <a:noAutofit/>
            </a:bodyPr>
            <a:lstStyle/>
            <a:p>
              <a:pPr defTabSz="829549"/>
              <a:r>
                <a:rPr lang="en-IN" sz="1452" b="1" dirty="0">
                  <a:latin typeface="Calibri" panose="020F0502020204030204"/>
                  <a:ea typeface="Calibri"/>
                  <a:cs typeface="Calibri"/>
                  <a:sym typeface="Calibri"/>
                </a:rPr>
                <a:t>Ad-hoc deliverables: </a:t>
              </a:r>
              <a:r>
                <a:rPr lang="en-IN" sz="1452" dirty="0">
                  <a:latin typeface="Calibri" panose="020F0502020204030204"/>
                  <a:ea typeface="Calibri"/>
                  <a:cs typeface="Calibri"/>
                  <a:sym typeface="Calibri"/>
                </a:rPr>
                <a:t>Dictionaries, Creation of Metadata, Data Quality Process</a:t>
              </a:r>
              <a:endParaRPr sz="1452" dirty="0">
                <a:latin typeface="Calibri" panose="020F0502020204030204"/>
                <a:ea typeface="Calibri"/>
                <a:cs typeface="Calibri"/>
                <a:sym typeface="Calibri"/>
              </a:endParaRPr>
            </a:p>
          </p:txBody>
        </p:sp>
        <p:grpSp>
          <p:nvGrpSpPr>
            <p:cNvPr id="107" name="Group 106">
              <a:extLst>
                <a:ext uri="{FF2B5EF4-FFF2-40B4-BE49-F238E27FC236}">
                  <a16:creationId xmlns:a16="http://schemas.microsoft.com/office/drawing/2014/main" id="{7204C0D3-58D2-E0D3-E238-A0CC367FFF7D}"/>
                </a:ext>
              </a:extLst>
            </p:cNvPr>
            <p:cNvGrpSpPr>
              <a:grpSpLocks noChangeAspect="1"/>
            </p:cNvGrpSpPr>
            <p:nvPr/>
          </p:nvGrpSpPr>
          <p:grpSpPr>
            <a:xfrm>
              <a:off x="4949498" y="5682606"/>
              <a:ext cx="548640" cy="548640"/>
              <a:chOff x="4887648" y="6069599"/>
              <a:chExt cx="503992" cy="503992"/>
            </a:xfrm>
          </p:grpSpPr>
          <p:sp>
            <p:nvSpPr>
              <p:cNvPr id="62" name="Google Shape;558;p30">
                <a:extLst>
                  <a:ext uri="{FF2B5EF4-FFF2-40B4-BE49-F238E27FC236}">
                    <a16:creationId xmlns:a16="http://schemas.microsoft.com/office/drawing/2014/main" id="{54180ABC-A787-9438-4AB6-3C4600014C42}"/>
                  </a:ext>
                </a:extLst>
              </p:cNvPr>
              <p:cNvSpPr/>
              <p:nvPr/>
            </p:nvSpPr>
            <p:spPr>
              <a:xfrm>
                <a:off x="4887648" y="6069599"/>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633" dirty="0">
                  <a:solidFill>
                    <a:srgbClr val="FFFFFF"/>
                  </a:solidFill>
                  <a:latin typeface="Calibri" panose="020F0502020204030204"/>
                  <a:ea typeface="Calibri"/>
                  <a:cs typeface="Calibri"/>
                  <a:sym typeface="Calibri"/>
                </a:endParaRPr>
              </a:p>
            </p:txBody>
          </p:sp>
          <p:pic>
            <p:nvPicPr>
              <p:cNvPr id="93" name="Graphic 92">
                <a:extLst>
                  <a:ext uri="{FF2B5EF4-FFF2-40B4-BE49-F238E27FC236}">
                    <a16:creationId xmlns:a16="http://schemas.microsoft.com/office/drawing/2014/main" id="{8AEE5EC5-F600-6F3A-0573-766B005E00F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35553" y="6184975"/>
                <a:ext cx="208183" cy="273240"/>
              </a:xfrm>
              <a:prstGeom prst="rect">
                <a:avLst/>
              </a:prstGeom>
            </p:spPr>
          </p:pic>
        </p:grpSp>
      </p:grpSp>
      <p:grpSp>
        <p:nvGrpSpPr>
          <p:cNvPr id="3" name="Group 2">
            <a:extLst>
              <a:ext uri="{FF2B5EF4-FFF2-40B4-BE49-F238E27FC236}">
                <a16:creationId xmlns:a16="http://schemas.microsoft.com/office/drawing/2014/main" id="{D7928818-26F9-4C07-9E98-4BD719FCA425}"/>
              </a:ext>
            </a:extLst>
          </p:cNvPr>
          <p:cNvGrpSpPr/>
          <p:nvPr/>
        </p:nvGrpSpPr>
        <p:grpSpPr>
          <a:xfrm>
            <a:off x="4490020" y="4325429"/>
            <a:ext cx="3200439" cy="504448"/>
            <a:chOff x="4949498" y="4489546"/>
            <a:chExt cx="3528076" cy="556089"/>
          </a:xfrm>
        </p:grpSpPr>
        <p:sp>
          <p:nvSpPr>
            <p:cNvPr id="58" name="Google Shape;581;p30">
              <a:extLst>
                <a:ext uri="{FF2B5EF4-FFF2-40B4-BE49-F238E27FC236}">
                  <a16:creationId xmlns:a16="http://schemas.microsoft.com/office/drawing/2014/main" id="{CA120129-9FC4-C99D-6C2E-0EF68BB29563}"/>
                </a:ext>
              </a:extLst>
            </p:cNvPr>
            <p:cNvSpPr txBox="1"/>
            <p:nvPr/>
          </p:nvSpPr>
          <p:spPr>
            <a:xfrm>
              <a:off x="5582955" y="4489546"/>
              <a:ext cx="2894619" cy="556089"/>
            </a:xfrm>
            <a:prstGeom prst="rect">
              <a:avLst/>
            </a:prstGeom>
            <a:noFill/>
            <a:ln>
              <a:noFill/>
            </a:ln>
          </p:spPr>
          <p:txBody>
            <a:bodyPr spcFirstLastPara="1" wrap="square" lIns="0" tIns="0" rIns="0" bIns="0" anchor="t" anchorCtr="0">
              <a:noAutofit/>
            </a:bodyPr>
            <a:lstStyle/>
            <a:p>
              <a:pPr defTabSz="829549"/>
              <a:r>
                <a:rPr lang="en-IN" sz="1452" b="1" dirty="0">
                  <a:latin typeface="Calibri" panose="020F0502020204030204"/>
                  <a:ea typeface="Calibri"/>
                  <a:cs typeface="Calibri"/>
                  <a:sym typeface="Calibri"/>
                </a:rPr>
                <a:t>Dashboard creation </a:t>
              </a:r>
              <a:r>
                <a:rPr lang="en-IN" sz="1452" dirty="0">
                  <a:latin typeface="Calibri" panose="020F0502020204030204"/>
                  <a:ea typeface="Calibri"/>
                  <a:cs typeface="Calibri"/>
                  <a:sym typeface="Calibri"/>
                </a:rPr>
                <a:t>reflecting the HR Team’s needs</a:t>
              </a:r>
              <a:endParaRPr sz="1452" dirty="0">
                <a:latin typeface="Calibri" panose="020F0502020204030204"/>
                <a:ea typeface="+mn-ea"/>
              </a:endParaRPr>
            </a:p>
          </p:txBody>
        </p:sp>
        <p:grpSp>
          <p:nvGrpSpPr>
            <p:cNvPr id="108" name="Group 107">
              <a:extLst>
                <a:ext uri="{FF2B5EF4-FFF2-40B4-BE49-F238E27FC236}">
                  <a16:creationId xmlns:a16="http://schemas.microsoft.com/office/drawing/2014/main" id="{D5C9D8CD-08C0-6C33-0825-5A615165193E}"/>
                </a:ext>
              </a:extLst>
            </p:cNvPr>
            <p:cNvGrpSpPr>
              <a:grpSpLocks noChangeAspect="1"/>
            </p:cNvGrpSpPr>
            <p:nvPr/>
          </p:nvGrpSpPr>
          <p:grpSpPr>
            <a:xfrm>
              <a:off x="4949498" y="4489546"/>
              <a:ext cx="548640" cy="548640"/>
              <a:chOff x="4887648" y="5202916"/>
              <a:chExt cx="503992" cy="503992"/>
            </a:xfrm>
          </p:grpSpPr>
          <p:sp>
            <p:nvSpPr>
              <p:cNvPr id="61" name="Google Shape;557;p30">
                <a:extLst>
                  <a:ext uri="{FF2B5EF4-FFF2-40B4-BE49-F238E27FC236}">
                    <a16:creationId xmlns:a16="http://schemas.microsoft.com/office/drawing/2014/main" id="{E65C1931-357A-5C4E-2EAF-CDA16EB9A04B}"/>
                  </a:ext>
                </a:extLst>
              </p:cNvPr>
              <p:cNvSpPr/>
              <p:nvPr/>
            </p:nvSpPr>
            <p:spPr>
              <a:xfrm>
                <a:off x="4887648" y="5202916"/>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633" dirty="0">
                  <a:solidFill>
                    <a:srgbClr val="FFFFFF"/>
                  </a:solidFill>
                  <a:latin typeface="Calibri" panose="020F0502020204030204"/>
                  <a:ea typeface="Calibri"/>
                  <a:cs typeface="Calibri"/>
                  <a:sym typeface="Calibri"/>
                </a:endParaRPr>
              </a:p>
            </p:txBody>
          </p:sp>
          <p:pic>
            <p:nvPicPr>
              <p:cNvPr id="95" name="Graphic 94">
                <a:extLst>
                  <a:ext uri="{FF2B5EF4-FFF2-40B4-BE49-F238E27FC236}">
                    <a16:creationId xmlns:a16="http://schemas.microsoft.com/office/drawing/2014/main" id="{C91E8C00-1FC6-FF18-A77E-5E57804ECC3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99772" y="5321545"/>
                <a:ext cx="279745" cy="266734"/>
              </a:xfrm>
              <a:prstGeom prst="rect">
                <a:avLst/>
              </a:prstGeom>
            </p:spPr>
          </p:pic>
        </p:grpSp>
      </p:grpSp>
      <p:grpSp>
        <p:nvGrpSpPr>
          <p:cNvPr id="6" name="Group 5">
            <a:extLst>
              <a:ext uri="{FF2B5EF4-FFF2-40B4-BE49-F238E27FC236}">
                <a16:creationId xmlns:a16="http://schemas.microsoft.com/office/drawing/2014/main" id="{1501DFB2-3B68-EA9E-4CBB-4C29544971F1}"/>
              </a:ext>
            </a:extLst>
          </p:cNvPr>
          <p:cNvGrpSpPr/>
          <p:nvPr/>
        </p:nvGrpSpPr>
        <p:grpSpPr>
          <a:xfrm>
            <a:off x="4490021" y="3250578"/>
            <a:ext cx="3234292" cy="654636"/>
            <a:chOff x="4949498" y="3583148"/>
            <a:chExt cx="3565395" cy="721653"/>
          </a:xfrm>
        </p:grpSpPr>
        <p:sp>
          <p:nvSpPr>
            <p:cNvPr id="51" name="Google Shape;574;p30">
              <a:extLst>
                <a:ext uri="{FF2B5EF4-FFF2-40B4-BE49-F238E27FC236}">
                  <a16:creationId xmlns:a16="http://schemas.microsoft.com/office/drawing/2014/main" id="{005CAD1D-944C-12B5-3975-9D7EEFA5C4F9}"/>
                </a:ext>
              </a:extLst>
            </p:cNvPr>
            <p:cNvSpPr txBox="1"/>
            <p:nvPr/>
          </p:nvSpPr>
          <p:spPr>
            <a:xfrm>
              <a:off x="5582954" y="3583149"/>
              <a:ext cx="2931939" cy="721652"/>
            </a:xfrm>
            <a:prstGeom prst="rect">
              <a:avLst/>
            </a:prstGeom>
            <a:noFill/>
            <a:ln>
              <a:noFill/>
            </a:ln>
          </p:spPr>
          <p:txBody>
            <a:bodyPr spcFirstLastPara="1" wrap="square" lIns="0" tIns="0" rIns="0" bIns="0" anchor="t" anchorCtr="0">
              <a:noAutofit/>
            </a:bodyPr>
            <a:lstStyle/>
            <a:p>
              <a:pPr defTabSz="829549"/>
              <a:r>
                <a:rPr lang="en-IN" sz="1452" b="1" dirty="0">
                  <a:latin typeface="Calibri" panose="020F0502020204030204"/>
                  <a:ea typeface="Calibri"/>
                  <a:cs typeface="Calibri"/>
                  <a:sym typeface="Calibri"/>
                </a:rPr>
                <a:t>Data Quality &amp; Consistency problems </a:t>
              </a:r>
              <a:r>
                <a:rPr lang="en-IN" sz="1452" dirty="0">
                  <a:latin typeface="Calibri" panose="020F0502020204030204"/>
                  <a:ea typeface="Calibri"/>
                  <a:cs typeface="Calibri"/>
                  <a:sym typeface="Calibri"/>
                </a:rPr>
                <a:t>between the various Data sources </a:t>
              </a:r>
              <a:endParaRPr sz="1452" dirty="0">
                <a:latin typeface="Calibri" panose="020F0502020204030204"/>
                <a:ea typeface="Calibri"/>
                <a:cs typeface="Calibri"/>
                <a:sym typeface="Calibri"/>
              </a:endParaRPr>
            </a:p>
          </p:txBody>
        </p:sp>
        <p:grpSp>
          <p:nvGrpSpPr>
            <p:cNvPr id="109" name="Group 108">
              <a:extLst>
                <a:ext uri="{FF2B5EF4-FFF2-40B4-BE49-F238E27FC236}">
                  <a16:creationId xmlns:a16="http://schemas.microsoft.com/office/drawing/2014/main" id="{5CE5F806-D9B9-A341-7D59-E4F409367725}"/>
                </a:ext>
              </a:extLst>
            </p:cNvPr>
            <p:cNvGrpSpPr>
              <a:grpSpLocks noChangeAspect="1"/>
            </p:cNvGrpSpPr>
            <p:nvPr/>
          </p:nvGrpSpPr>
          <p:grpSpPr>
            <a:xfrm>
              <a:off x="4949498" y="3583148"/>
              <a:ext cx="548640" cy="548640"/>
              <a:chOff x="4887648" y="4398723"/>
              <a:chExt cx="503992" cy="503992"/>
            </a:xfrm>
          </p:grpSpPr>
          <p:sp>
            <p:nvSpPr>
              <p:cNvPr id="60" name="Google Shape;554;p30">
                <a:extLst>
                  <a:ext uri="{FF2B5EF4-FFF2-40B4-BE49-F238E27FC236}">
                    <a16:creationId xmlns:a16="http://schemas.microsoft.com/office/drawing/2014/main" id="{F5D8EFBA-BAC2-A0B0-D5F2-9F27A0F90746}"/>
                  </a:ext>
                </a:extLst>
              </p:cNvPr>
              <p:cNvSpPr/>
              <p:nvPr/>
            </p:nvSpPr>
            <p:spPr>
              <a:xfrm>
                <a:off x="4887648" y="4398723"/>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633" dirty="0">
                  <a:solidFill>
                    <a:srgbClr val="FFFFFF"/>
                  </a:solidFill>
                  <a:latin typeface="Calibri" panose="020F0502020204030204"/>
                  <a:ea typeface="Calibri"/>
                  <a:cs typeface="Calibri"/>
                  <a:sym typeface="Calibri"/>
                </a:endParaRPr>
              </a:p>
            </p:txBody>
          </p:sp>
          <p:pic>
            <p:nvPicPr>
              <p:cNvPr id="97" name="Graphic 96">
                <a:extLst>
                  <a:ext uri="{FF2B5EF4-FFF2-40B4-BE49-F238E27FC236}">
                    <a16:creationId xmlns:a16="http://schemas.microsoft.com/office/drawing/2014/main" id="{C186A730-E4A6-3D02-20D9-23701BFAC45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99772" y="4536870"/>
                <a:ext cx="279745" cy="227699"/>
              </a:xfrm>
              <a:prstGeom prst="rect">
                <a:avLst/>
              </a:prstGeom>
            </p:spPr>
          </p:pic>
        </p:grpSp>
      </p:grpSp>
      <p:grpSp>
        <p:nvGrpSpPr>
          <p:cNvPr id="8" name="Group 7">
            <a:extLst>
              <a:ext uri="{FF2B5EF4-FFF2-40B4-BE49-F238E27FC236}">
                <a16:creationId xmlns:a16="http://schemas.microsoft.com/office/drawing/2014/main" id="{6F0A3FAE-A731-5EB4-AD10-EF5D09714566}"/>
              </a:ext>
            </a:extLst>
          </p:cNvPr>
          <p:cNvGrpSpPr/>
          <p:nvPr/>
        </p:nvGrpSpPr>
        <p:grpSpPr>
          <a:xfrm>
            <a:off x="729247" y="4559444"/>
            <a:ext cx="3097443" cy="497690"/>
            <a:chOff x="803725" y="4868493"/>
            <a:chExt cx="3414536" cy="548640"/>
          </a:xfrm>
        </p:grpSpPr>
        <p:sp>
          <p:nvSpPr>
            <p:cNvPr id="45" name="Google Shape;562;p30">
              <a:extLst>
                <a:ext uri="{FF2B5EF4-FFF2-40B4-BE49-F238E27FC236}">
                  <a16:creationId xmlns:a16="http://schemas.microsoft.com/office/drawing/2014/main" id="{F17C599E-94BF-773D-C245-38BF2B699897}"/>
                </a:ext>
              </a:extLst>
            </p:cNvPr>
            <p:cNvSpPr txBox="1"/>
            <p:nvPr/>
          </p:nvSpPr>
          <p:spPr>
            <a:xfrm>
              <a:off x="1437182" y="4868493"/>
              <a:ext cx="2781079" cy="480375"/>
            </a:xfrm>
            <a:prstGeom prst="rect">
              <a:avLst/>
            </a:prstGeom>
            <a:noFill/>
            <a:ln>
              <a:noFill/>
            </a:ln>
          </p:spPr>
          <p:txBody>
            <a:bodyPr spcFirstLastPara="1" wrap="square" lIns="0" tIns="0" rIns="0" bIns="0" anchor="t" anchorCtr="0">
              <a:noAutofit/>
            </a:bodyPr>
            <a:lstStyle/>
            <a:p>
              <a:pPr defTabSz="829549"/>
              <a:r>
                <a:rPr lang="en-IN" sz="1452" b="1" dirty="0">
                  <a:solidFill>
                    <a:srgbClr val="444444"/>
                  </a:solidFill>
                  <a:latin typeface="Calibri" panose="020F0502020204030204"/>
                  <a:ea typeface="Calibri"/>
                  <a:cs typeface="Calibri"/>
                  <a:sym typeface="Calibri"/>
                </a:rPr>
                <a:t>Smooth integration </a:t>
              </a:r>
              <a:r>
                <a:rPr lang="en-IN" sz="1452" dirty="0">
                  <a:solidFill>
                    <a:srgbClr val="444444"/>
                  </a:solidFill>
                  <a:latin typeface="Calibri" panose="020F0502020204030204"/>
                  <a:ea typeface="Calibri"/>
                  <a:cs typeface="Calibri"/>
                  <a:sym typeface="Calibri"/>
                </a:rPr>
                <a:t>with its existing ERPs </a:t>
              </a:r>
              <a:endParaRPr sz="1452" dirty="0">
                <a:latin typeface="Calibri" panose="020F0502020204030204"/>
                <a:ea typeface="Calibri"/>
                <a:cs typeface="Calibri"/>
                <a:sym typeface="Calibri"/>
              </a:endParaRPr>
            </a:p>
            <a:p>
              <a:pPr defTabSz="829549"/>
              <a:endParaRPr sz="1452" dirty="0">
                <a:latin typeface="Calibri" panose="020F0502020204030204"/>
                <a:ea typeface="Calibri"/>
                <a:cs typeface="Calibri"/>
                <a:sym typeface="Calibri"/>
              </a:endParaRPr>
            </a:p>
          </p:txBody>
        </p:sp>
        <p:grpSp>
          <p:nvGrpSpPr>
            <p:cNvPr id="105" name="Group 104">
              <a:extLst>
                <a:ext uri="{FF2B5EF4-FFF2-40B4-BE49-F238E27FC236}">
                  <a16:creationId xmlns:a16="http://schemas.microsoft.com/office/drawing/2014/main" id="{18960702-537C-1A5E-1878-F36F610892A0}"/>
                </a:ext>
              </a:extLst>
            </p:cNvPr>
            <p:cNvGrpSpPr>
              <a:grpSpLocks noChangeAspect="1"/>
            </p:cNvGrpSpPr>
            <p:nvPr/>
          </p:nvGrpSpPr>
          <p:grpSpPr>
            <a:xfrm>
              <a:off x="803725" y="4868493"/>
              <a:ext cx="548640" cy="548640"/>
              <a:chOff x="698421" y="5202916"/>
              <a:chExt cx="503992" cy="503992"/>
            </a:xfrm>
          </p:grpSpPr>
          <p:sp>
            <p:nvSpPr>
              <p:cNvPr id="40" name="Google Shape;557;p30">
                <a:extLst>
                  <a:ext uri="{FF2B5EF4-FFF2-40B4-BE49-F238E27FC236}">
                    <a16:creationId xmlns:a16="http://schemas.microsoft.com/office/drawing/2014/main" id="{08C8BDB2-E3E5-53B9-2202-C21D6B180F4C}"/>
                  </a:ext>
                </a:extLst>
              </p:cNvPr>
              <p:cNvSpPr/>
              <p:nvPr/>
            </p:nvSpPr>
            <p:spPr>
              <a:xfrm>
                <a:off x="698421" y="5202916"/>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633" dirty="0">
                  <a:solidFill>
                    <a:srgbClr val="FFFFFF"/>
                  </a:solidFill>
                  <a:latin typeface="Calibri" panose="020F0502020204030204"/>
                  <a:ea typeface="Calibri"/>
                  <a:cs typeface="Calibri"/>
                  <a:sym typeface="Calibri"/>
                </a:endParaRPr>
              </a:p>
            </p:txBody>
          </p:sp>
          <p:pic>
            <p:nvPicPr>
              <p:cNvPr id="99" name="Graphic 98">
                <a:extLst>
                  <a:ext uri="{FF2B5EF4-FFF2-40B4-BE49-F238E27FC236}">
                    <a16:creationId xmlns:a16="http://schemas.microsoft.com/office/drawing/2014/main" id="{2B846CB2-3518-09A6-9C50-1F216312539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65005" y="5311787"/>
                <a:ext cx="370825" cy="286251"/>
              </a:xfrm>
              <a:prstGeom prst="rect">
                <a:avLst/>
              </a:prstGeom>
            </p:spPr>
          </p:pic>
        </p:grpSp>
      </p:grpSp>
      <p:grpSp>
        <p:nvGrpSpPr>
          <p:cNvPr id="9" name="Group 8">
            <a:extLst>
              <a:ext uri="{FF2B5EF4-FFF2-40B4-BE49-F238E27FC236}">
                <a16:creationId xmlns:a16="http://schemas.microsoft.com/office/drawing/2014/main" id="{1A4C949B-7D34-E301-FC07-64DF823C7192}"/>
              </a:ext>
            </a:extLst>
          </p:cNvPr>
          <p:cNvGrpSpPr/>
          <p:nvPr/>
        </p:nvGrpSpPr>
        <p:grpSpPr>
          <a:xfrm>
            <a:off x="729247" y="5443201"/>
            <a:ext cx="3158355" cy="497690"/>
            <a:chOff x="803725" y="5774197"/>
            <a:chExt cx="3481684" cy="548640"/>
          </a:xfrm>
        </p:grpSpPr>
        <p:sp>
          <p:nvSpPr>
            <p:cNvPr id="43" name="Google Shape;560;p30">
              <a:extLst>
                <a:ext uri="{FF2B5EF4-FFF2-40B4-BE49-F238E27FC236}">
                  <a16:creationId xmlns:a16="http://schemas.microsoft.com/office/drawing/2014/main" id="{F6AB3F0C-0A45-7CB8-2CC6-79CA465D629A}"/>
                </a:ext>
              </a:extLst>
            </p:cNvPr>
            <p:cNvSpPr txBox="1"/>
            <p:nvPr/>
          </p:nvSpPr>
          <p:spPr>
            <a:xfrm>
              <a:off x="1437182" y="5774197"/>
              <a:ext cx="2848227" cy="492444"/>
            </a:xfrm>
            <a:prstGeom prst="rect">
              <a:avLst/>
            </a:prstGeom>
            <a:noFill/>
            <a:ln>
              <a:noFill/>
            </a:ln>
          </p:spPr>
          <p:txBody>
            <a:bodyPr spcFirstLastPara="1" wrap="square" lIns="0" tIns="0" rIns="0" bIns="0" anchor="t" anchorCtr="0">
              <a:noAutofit/>
            </a:bodyPr>
            <a:lstStyle/>
            <a:p>
              <a:pPr defTabSz="829549"/>
              <a:r>
                <a:rPr lang="en-IN" sz="1452" b="1" dirty="0">
                  <a:solidFill>
                    <a:srgbClr val="444444"/>
                  </a:solidFill>
                  <a:latin typeface="Calibri" panose="020F0502020204030204"/>
                  <a:ea typeface="Calibri"/>
                  <a:cs typeface="Calibri"/>
                  <a:sym typeface="Calibri"/>
                </a:rPr>
                <a:t>Lower cost </a:t>
              </a:r>
              <a:r>
                <a:rPr lang="en-IN" sz="1452" dirty="0">
                  <a:solidFill>
                    <a:srgbClr val="444444"/>
                  </a:solidFill>
                  <a:latin typeface="Calibri" panose="020F0502020204030204"/>
                  <a:ea typeface="Calibri"/>
                  <a:cs typeface="Calibri"/>
                  <a:sym typeface="Calibri"/>
                </a:rPr>
                <a:t>than subscribing to a dedicated HR Dashboard tool</a:t>
              </a:r>
              <a:endParaRPr sz="1452" dirty="0">
                <a:latin typeface="Calibri" panose="020F0502020204030204"/>
                <a:ea typeface="Calibri"/>
                <a:cs typeface="Calibri"/>
                <a:sym typeface="Calibri"/>
              </a:endParaRPr>
            </a:p>
          </p:txBody>
        </p:sp>
        <p:grpSp>
          <p:nvGrpSpPr>
            <p:cNvPr id="106" name="Group 105">
              <a:extLst>
                <a:ext uri="{FF2B5EF4-FFF2-40B4-BE49-F238E27FC236}">
                  <a16:creationId xmlns:a16="http://schemas.microsoft.com/office/drawing/2014/main" id="{3194FCBF-429F-AB76-68B1-38ED9C61B9BB}"/>
                </a:ext>
              </a:extLst>
            </p:cNvPr>
            <p:cNvGrpSpPr>
              <a:grpSpLocks noChangeAspect="1"/>
            </p:cNvGrpSpPr>
            <p:nvPr/>
          </p:nvGrpSpPr>
          <p:grpSpPr>
            <a:xfrm>
              <a:off x="803725" y="5774197"/>
              <a:ext cx="548640" cy="548640"/>
              <a:chOff x="698421" y="6069599"/>
              <a:chExt cx="503992" cy="503992"/>
            </a:xfrm>
          </p:grpSpPr>
          <p:sp>
            <p:nvSpPr>
              <p:cNvPr id="41" name="Google Shape;558;p30">
                <a:extLst>
                  <a:ext uri="{FF2B5EF4-FFF2-40B4-BE49-F238E27FC236}">
                    <a16:creationId xmlns:a16="http://schemas.microsoft.com/office/drawing/2014/main" id="{A3A4C06D-64B3-1800-FAEE-591C217639B0}"/>
                  </a:ext>
                </a:extLst>
              </p:cNvPr>
              <p:cNvSpPr/>
              <p:nvPr/>
            </p:nvSpPr>
            <p:spPr>
              <a:xfrm>
                <a:off x="698421" y="6069599"/>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633" dirty="0">
                  <a:solidFill>
                    <a:srgbClr val="FFFFFF"/>
                  </a:solidFill>
                  <a:latin typeface="Calibri" panose="020F0502020204030204"/>
                  <a:ea typeface="Calibri"/>
                  <a:cs typeface="Calibri"/>
                  <a:sym typeface="Calibri"/>
                </a:endParaRPr>
              </a:p>
            </p:txBody>
          </p:sp>
          <p:pic>
            <p:nvPicPr>
              <p:cNvPr id="101" name="Graphic 100">
                <a:extLst>
                  <a:ext uri="{FF2B5EF4-FFF2-40B4-BE49-F238E27FC236}">
                    <a16:creationId xmlns:a16="http://schemas.microsoft.com/office/drawing/2014/main" id="{861713B8-2C91-3566-DB36-D664C6164E8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17050" y="6188228"/>
                <a:ext cx="266734" cy="266734"/>
              </a:xfrm>
              <a:prstGeom prst="rect">
                <a:avLst/>
              </a:prstGeom>
            </p:spPr>
          </p:pic>
        </p:grpSp>
      </p:grpSp>
      <p:sp>
        <p:nvSpPr>
          <p:cNvPr id="44" name="Google Shape;561;p30">
            <a:extLst>
              <a:ext uri="{FF2B5EF4-FFF2-40B4-BE49-F238E27FC236}">
                <a16:creationId xmlns:a16="http://schemas.microsoft.com/office/drawing/2014/main" id="{EE28414E-DAF0-116D-6048-D41825AC3162}"/>
              </a:ext>
            </a:extLst>
          </p:cNvPr>
          <p:cNvSpPr txBox="1"/>
          <p:nvPr/>
        </p:nvSpPr>
        <p:spPr>
          <a:xfrm>
            <a:off x="1303880" y="3804956"/>
            <a:ext cx="2256381" cy="294604"/>
          </a:xfrm>
          <a:prstGeom prst="rect">
            <a:avLst/>
          </a:prstGeom>
          <a:noFill/>
          <a:ln>
            <a:noFill/>
          </a:ln>
        </p:spPr>
        <p:txBody>
          <a:bodyPr spcFirstLastPara="1" wrap="square" lIns="0" tIns="0" rIns="0" bIns="0" anchor="t" anchorCtr="0">
            <a:noAutofit/>
          </a:bodyPr>
          <a:lstStyle/>
          <a:p>
            <a:pPr defTabSz="829549"/>
            <a:r>
              <a:rPr lang="en-IN" sz="1452" b="1" dirty="0">
                <a:solidFill>
                  <a:srgbClr val="444444"/>
                </a:solidFill>
                <a:latin typeface="Calibri" panose="020F0502020204030204"/>
                <a:ea typeface="Calibri"/>
                <a:cs typeface="Calibri"/>
                <a:sym typeface="Calibri"/>
              </a:rPr>
              <a:t>Effective and quick </a:t>
            </a:r>
            <a:r>
              <a:rPr lang="en-IN" sz="1452" dirty="0">
                <a:solidFill>
                  <a:srgbClr val="444444"/>
                </a:solidFill>
                <a:latin typeface="Calibri" panose="020F0502020204030204"/>
                <a:ea typeface="Calibri"/>
                <a:cs typeface="Calibri"/>
                <a:sym typeface="Calibri"/>
              </a:rPr>
              <a:t>solution</a:t>
            </a:r>
            <a:endParaRPr sz="1452" dirty="0">
              <a:latin typeface="Calibri" panose="020F0502020204030204"/>
              <a:ea typeface="Calibri"/>
              <a:cs typeface="Calibri"/>
              <a:sym typeface="Calibri"/>
            </a:endParaRPr>
          </a:p>
        </p:txBody>
      </p:sp>
      <p:grpSp>
        <p:nvGrpSpPr>
          <p:cNvPr id="104" name="Group 103">
            <a:extLst>
              <a:ext uri="{FF2B5EF4-FFF2-40B4-BE49-F238E27FC236}">
                <a16:creationId xmlns:a16="http://schemas.microsoft.com/office/drawing/2014/main" id="{8EE21ADA-325A-94C8-296D-3EF276C1764A}"/>
              </a:ext>
            </a:extLst>
          </p:cNvPr>
          <p:cNvGrpSpPr>
            <a:grpSpLocks noChangeAspect="1"/>
          </p:cNvGrpSpPr>
          <p:nvPr/>
        </p:nvGrpSpPr>
        <p:grpSpPr>
          <a:xfrm>
            <a:off x="729248" y="3675687"/>
            <a:ext cx="497690" cy="497690"/>
            <a:chOff x="698421" y="4398723"/>
            <a:chExt cx="503992" cy="503992"/>
          </a:xfrm>
        </p:grpSpPr>
        <p:sp>
          <p:nvSpPr>
            <p:cNvPr id="37" name="Google Shape;554;p30">
              <a:extLst>
                <a:ext uri="{FF2B5EF4-FFF2-40B4-BE49-F238E27FC236}">
                  <a16:creationId xmlns:a16="http://schemas.microsoft.com/office/drawing/2014/main" id="{FCBFFA69-84A9-CECE-97E3-28F72178A9EA}"/>
                </a:ext>
              </a:extLst>
            </p:cNvPr>
            <p:cNvSpPr/>
            <p:nvPr/>
          </p:nvSpPr>
          <p:spPr>
            <a:xfrm>
              <a:off x="698421" y="4398723"/>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452" dirty="0">
                <a:solidFill>
                  <a:srgbClr val="FFFFFF"/>
                </a:solidFill>
                <a:latin typeface="Calibri" panose="020F0502020204030204"/>
                <a:ea typeface="Calibri"/>
                <a:cs typeface="Calibri"/>
                <a:sym typeface="Calibri"/>
              </a:endParaRPr>
            </a:p>
          </p:txBody>
        </p:sp>
        <p:pic>
          <p:nvPicPr>
            <p:cNvPr id="103" name="Graphic 102">
              <a:extLst>
                <a:ext uri="{FF2B5EF4-FFF2-40B4-BE49-F238E27FC236}">
                  <a16:creationId xmlns:a16="http://schemas.microsoft.com/office/drawing/2014/main" id="{5DA3718F-BE7E-2FEA-0CEB-B4ECCB9EC30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81269" y="4530364"/>
              <a:ext cx="338296" cy="240711"/>
            </a:xfrm>
            <a:prstGeom prst="rect">
              <a:avLst/>
            </a:prstGeom>
          </p:spPr>
        </p:pic>
      </p:grpSp>
      <p:pic>
        <p:nvPicPr>
          <p:cNvPr id="116" name="Google Shape;547;p30">
            <a:extLst>
              <a:ext uri="{FF2B5EF4-FFF2-40B4-BE49-F238E27FC236}">
                <a16:creationId xmlns:a16="http://schemas.microsoft.com/office/drawing/2014/main" id="{71BF1012-F562-90B3-126D-8CB47F3AFEF8}"/>
              </a:ext>
            </a:extLst>
          </p:cNvPr>
          <p:cNvPicPr preferRelativeResize="0"/>
          <p:nvPr/>
        </p:nvPicPr>
        <p:blipFill rotWithShape="1">
          <a:blip r:embed="rId20" cstate="print">
            <a:alphaModFix/>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a:stretch/>
        </p:blipFill>
        <p:spPr>
          <a:xfrm>
            <a:off x="10819587" y="615136"/>
            <a:ext cx="861027" cy="777534"/>
          </a:xfrm>
          <a:prstGeom prst="rect">
            <a:avLst/>
          </a:prstGeom>
          <a:noFill/>
          <a:ln>
            <a:noFill/>
          </a:ln>
        </p:spPr>
      </p:pic>
      <p:cxnSp>
        <p:nvCxnSpPr>
          <p:cNvPr id="14" name="Straight Connector 13">
            <a:extLst>
              <a:ext uri="{FF2B5EF4-FFF2-40B4-BE49-F238E27FC236}">
                <a16:creationId xmlns:a16="http://schemas.microsoft.com/office/drawing/2014/main" id="{DE057D48-6CA1-C67D-FD7D-651F4C6279F7}"/>
              </a:ext>
            </a:extLst>
          </p:cNvPr>
          <p:cNvCxnSpPr/>
          <p:nvPr/>
        </p:nvCxnSpPr>
        <p:spPr>
          <a:xfrm>
            <a:off x="694237" y="4366409"/>
            <a:ext cx="3266059"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F99A381-243E-3200-0522-B589542C5E01}"/>
              </a:ext>
            </a:extLst>
          </p:cNvPr>
          <p:cNvCxnSpPr/>
          <p:nvPr/>
        </p:nvCxnSpPr>
        <p:spPr>
          <a:xfrm>
            <a:off x="694237" y="5250167"/>
            <a:ext cx="3266059"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9276BC4-0214-704E-B96D-6B334494BC01}"/>
              </a:ext>
            </a:extLst>
          </p:cNvPr>
          <p:cNvCxnSpPr/>
          <p:nvPr/>
        </p:nvCxnSpPr>
        <p:spPr>
          <a:xfrm>
            <a:off x="4457211" y="5039984"/>
            <a:ext cx="3266059"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C3D0721-1BE2-9BD0-9FCA-E2769BDC7A9E}"/>
              </a:ext>
            </a:extLst>
          </p:cNvPr>
          <p:cNvCxnSpPr/>
          <p:nvPr/>
        </p:nvCxnSpPr>
        <p:spPr>
          <a:xfrm>
            <a:off x="4457211" y="4115321"/>
            <a:ext cx="3266059"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50335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D72BD3-27D1-23DF-4D1B-D34189B21689}"/>
              </a:ext>
            </a:extLst>
          </p:cNvPr>
          <p:cNvGraphicFramePr>
            <a:graphicFrameLocks noChangeAspect="1"/>
          </p:cNvGraphicFramePr>
          <p:nvPr>
            <p:custDataLst>
              <p:tags r:id="rId1"/>
            </p:custDataLst>
            <p:extLst>
              <p:ext uri="{D42A27DB-BD31-4B8C-83A1-F6EECF244321}">
                <p14:modId xmlns:p14="http://schemas.microsoft.com/office/powerpoint/2010/main" val="3317643690"/>
              </p:ext>
            </p:extLst>
          </p:nvPr>
        </p:nvGraphicFramePr>
        <p:xfrm>
          <a:off x="1601" y="1622"/>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74D72BD3-27D1-23DF-4D1B-D34189B21689}"/>
                          </a:ext>
                        </a:extLst>
                      </p:cNvPr>
                      <p:cNvPicPr/>
                      <p:nvPr/>
                    </p:nvPicPr>
                    <p:blipFill>
                      <a:blip r:embed="rId4"/>
                      <a:stretch>
                        <a:fillRect/>
                      </a:stretch>
                    </p:blipFill>
                    <p:spPr>
                      <a:xfrm>
                        <a:off x="1601" y="1622"/>
                        <a:ext cx="1441" cy="144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57C5740-D9F2-529E-E633-838C218E6C10}"/>
              </a:ext>
            </a:extLst>
          </p:cNvPr>
          <p:cNvSpPr>
            <a:spLocks noGrp="1"/>
          </p:cNvSpPr>
          <p:nvPr>
            <p:ph type="title"/>
          </p:nvPr>
        </p:nvSpPr>
        <p:spPr>
          <a:xfrm>
            <a:off x="531960" y="560740"/>
            <a:ext cx="11089681" cy="830997"/>
          </a:xfrm>
        </p:spPr>
        <p:txBody>
          <a:bodyPr vert="horz"/>
          <a:lstStyle/>
          <a:p>
            <a:r>
              <a:rPr lang="en-US" sz="3000" kern="1200" dirty="0">
                <a:solidFill>
                  <a:schemeClr val="bg2"/>
                </a:solidFill>
                <a:latin typeface="Franklin Gothic" panose="020B0604020202020204" charset="0"/>
                <a:ea typeface="+mj-ea"/>
                <a:cs typeface="Calibri" panose="020F0502020204030204" pitchFamily="34" charset="0"/>
              </a:rPr>
              <a:t>A Comprehensive Dashboard of HR Key Metrics and Performance Indicators</a:t>
            </a:r>
          </a:p>
        </p:txBody>
      </p:sp>
      <p:sp>
        <p:nvSpPr>
          <p:cNvPr id="6" name="Google Shape;831;p25">
            <a:extLst>
              <a:ext uri="{FF2B5EF4-FFF2-40B4-BE49-F238E27FC236}">
                <a16:creationId xmlns:a16="http://schemas.microsoft.com/office/drawing/2014/main" id="{DF51A008-F12C-0677-55B5-051BFF4D4919}"/>
              </a:ext>
            </a:extLst>
          </p:cNvPr>
          <p:cNvSpPr>
            <a:spLocks/>
          </p:cNvSpPr>
          <p:nvPr/>
        </p:nvSpPr>
        <p:spPr>
          <a:xfrm>
            <a:off x="499868" y="2096818"/>
            <a:ext cx="4899137" cy="4238255"/>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lang="en-US" sz="1270" dirty="0">
              <a:ea typeface="+mn-ea"/>
            </a:endParaRPr>
          </a:p>
        </p:txBody>
      </p:sp>
      <p:sp>
        <p:nvSpPr>
          <p:cNvPr id="7" name="Google Shape;543;p30">
            <a:extLst>
              <a:ext uri="{FF2B5EF4-FFF2-40B4-BE49-F238E27FC236}">
                <a16:creationId xmlns:a16="http://schemas.microsoft.com/office/drawing/2014/main" id="{1AA03FB6-81D1-3F60-5047-0AAA00E63192}"/>
              </a:ext>
            </a:extLst>
          </p:cNvPr>
          <p:cNvSpPr txBox="1">
            <a:spLocks/>
          </p:cNvSpPr>
          <p:nvPr/>
        </p:nvSpPr>
        <p:spPr>
          <a:xfrm>
            <a:off x="735623" y="2519273"/>
            <a:ext cx="4422443" cy="3693319"/>
          </a:xfrm>
          <a:prstGeom prst="rect">
            <a:avLst/>
          </a:prstGeom>
          <a:noFill/>
          <a:ln>
            <a:noFill/>
          </a:ln>
        </p:spPr>
        <p:txBody>
          <a:bodyPr spcFirstLastPara="1" wrap="square" lIns="0" tIns="0" rIns="0" bIns="0" anchor="t" anchorCtr="0">
            <a:spAutoFit/>
          </a:bodyPr>
          <a:lstStyle/>
          <a:p>
            <a:pPr marL="157614" indent="-157614" defTabSz="829549">
              <a:buClr>
                <a:srgbClr val="00B9FF"/>
              </a:buClr>
              <a:buSzPts val="1800"/>
              <a:buFont typeface="Wingdings" panose="05000000000000000000" pitchFamily="2" charset="2"/>
              <a:buChar char="§"/>
            </a:pPr>
            <a:r>
              <a:rPr lang="en-US" sz="1600" b="1" dirty="0">
                <a:latin typeface="Calibri" panose="020F0502020204030204"/>
                <a:ea typeface="Calibri"/>
                <a:cs typeface="Calibri"/>
                <a:sym typeface="Calibri"/>
              </a:rPr>
              <a:t>Elaborated Data Model</a:t>
            </a:r>
            <a:r>
              <a:rPr lang="en-US" sz="1600" dirty="0">
                <a:latin typeface="Calibri" panose="020F0502020204030204"/>
                <a:ea typeface="Calibri"/>
                <a:cs typeface="Calibri"/>
                <a:sym typeface="Calibri"/>
              </a:rPr>
              <a:t>: Gathering and transforming data from </a:t>
            </a:r>
            <a:r>
              <a:rPr lang="en-US" sz="1600" b="1" dirty="0">
                <a:latin typeface="Calibri" panose="020F0502020204030204"/>
                <a:ea typeface="Calibri"/>
                <a:cs typeface="Calibri"/>
                <a:sym typeface="Calibri"/>
              </a:rPr>
              <a:t>5 different tools</a:t>
            </a:r>
          </a:p>
          <a:p>
            <a:pPr marL="157614" indent="-157614" defTabSz="829549">
              <a:buClr>
                <a:srgbClr val="00B9FF"/>
              </a:buClr>
              <a:buSzPts val="1800"/>
              <a:buFont typeface="Wingdings" panose="05000000000000000000" pitchFamily="2" charset="2"/>
              <a:buChar char="§"/>
            </a:pPr>
            <a:endParaRPr lang="en-US" sz="1600" dirty="0">
              <a:latin typeface="Calibri" panose="020F0502020204030204"/>
              <a:ea typeface="Calibri"/>
              <a:cs typeface="Calibri"/>
              <a:sym typeface="Calibri"/>
            </a:endParaRPr>
          </a:p>
          <a:p>
            <a:pPr marL="157614" indent="-157614" defTabSz="829549">
              <a:buClr>
                <a:srgbClr val="00B9FF"/>
              </a:buClr>
              <a:buSzPts val="1800"/>
              <a:buFont typeface="Wingdings" panose="05000000000000000000" pitchFamily="2" charset="2"/>
              <a:buChar char="§"/>
            </a:pPr>
            <a:r>
              <a:rPr lang="en-US" sz="1600" b="1" dirty="0">
                <a:latin typeface="Calibri" panose="020F0502020204030204"/>
                <a:ea typeface="Calibri"/>
                <a:cs typeface="Calibri"/>
                <a:sym typeface="Calibri"/>
              </a:rPr>
              <a:t>Automated Source Reports: </a:t>
            </a:r>
            <a:r>
              <a:rPr lang="en-US" sz="1600" dirty="0">
                <a:latin typeface="Calibri" panose="020F0502020204030204"/>
                <a:ea typeface="Calibri"/>
                <a:cs typeface="Calibri"/>
                <a:sym typeface="Calibri"/>
              </a:rPr>
              <a:t>Created </a:t>
            </a:r>
            <a:r>
              <a:rPr lang="en-US" sz="1600" b="1" dirty="0">
                <a:latin typeface="Calibri" panose="020F0502020204030204"/>
                <a:ea typeface="Calibri"/>
                <a:cs typeface="Calibri"/>
                <a:sym typeface="Calibri"/>
              </a:rPr>
              <a:t>14 source reports</a:t>
            </a:r>
            <a:r>
              <a:rPr lang="en-US" sz="1600" dirty="0">
                <a:latin typeface="Calibri" panose="020F0502020204030204"/>
                <a:ea typeface="Calibri"/>
                <a:cs typeface="Calibri"/>
                <a:sym typeface="Calibri"/>
              </a:rPr>
              <a:t> and automated their extractions using APIs, ensuring efficient and timely data retrieval.</a:t>
            </a:r>
          </a:p>
          <a:p>
            <a:pPr marL="157614" indent="-157614" defTabSz="829549">
              <a:buClr>
                <a:srgbClr val="00B9FF"/>
              </a:buClr>
              <a:buSzPts val="1800"/>
              <a:buFont typeface="Wingdings" panose="05000000000000000000" pitchFamily="2" charset="2"/>
              <a:buChar char="§"/>
            </a:pPr>
            <a:endParaRPr lang="en-US" sz="1600" dirty="0">
              <a:latin typeface="Calibri" panose="020F0502020204030204"/>
              <a:ea typeface="Calibri"/>
              <a:cs typeface="Calibri"/>
              <a:sym typeface="Calibri"/>
            </a:endParaRPr>
          </a:p>
          <a:p>
            <a:pPr marL="157614" indent="-157614" defTabSz="829549">
              <a:buClr>
                <a:srgbClr val="00B9FF"/>
              </a:buClr>
              <a:buSzPts val="1800"/>
              <a:buFont typeface="Wingdings" panose="05000000000000000000" pitchFamily="2" charset="2"/>
              <a:buChar char="§"/>
            </a:pPr>
            <a:r>
              <a:rPr lang="en-US" sz="1600" b="1" dirty="0">
                <a:latin typeface="Calibri" panose="020F0502020204030204"/>
                <a:ea typeface="Calibri"/>
                <a:cs typeface="Calibri"/>
                <a:sym typeface="Calibri"/>
              </a:rPr>
              <a:t>Automated Data Quality Checks: </a:t>
            </a:r>
            <a:r>
              <a:rPr lang="en-US" sz="1600" dirty="0">
                <a:latin typeface="Calibri" panose="020F0502020204030204"/>
                <a:ea typeface="Calibri"/>
                <a:cs typeface="Calibri"/>
                <a:sym typeface="Calibri"/>
              </a:rPr>
              <a:t>Implemented automated data quality checks based on predefined business rules, ensuring data integrity and accuracy.</a:t>
            </a:r>
          </a:p>
          <a:p>
            <a:pPr marL="157614" indent="-157614" defTabSz="829549">
              <a:buClr>
                <a:srgbClr val="00B9FF"/>
              </a:buClr>
              <a:buSzPts val="1800"/>
              <a:buFont typeface="Wingdings" panose="05000000000000000000" pitchFamily="2" charset="2"/>
              <a:buChar char="§"/>
            </a:pPr>
            <a:endParaRPr lang="en-US" sz="1600" b="1" dirty="0">
              <a:latin typeface="Calibri" panose="020F0502020204030204"/>
              <a:ea typeface="Calibri"/>
              <a:cs typeface="Calibri"/>
              <a:sym typeface="Calibri"/>
            </a:endParaRPr>
          </a:p>
          <a:p>
            <a:pPr marL="157614" indent="-157614" defTabSz="829549">
              <a:buClr>
                <a:srgbClr val="00B9FF"/>
              </a:buClr>
              <a:buSzPts val="1800"/>
              <a:buFont typeface="Wingdings" panose="05000000000000000000" pitchFamily="2" charset="2"/>
              <a:buChar char="§"/>
            </a:pPr>
            <a:r>
              <a:rPr lang="en-US" sz="1600" b="1" dirty="0">
                <a:latin typeface="Calibri" panose="020F0502020204030204"/>
                <a:ea typeface="Calibri"/>
                <a:cs typeface="Calibri"/>
                <a:sym typeface="Calibri"/>
              </a:rPr>
              <a:t>Extensive Dashboards: </a:t>
            </a:r>
            <a:r>
              <a:rPr lang="en-US" sz="1600" dirty="0">
                <a:latin typeface="Calibri" panose="020F0502020204030204"/>
                <a:ea typeface="Calibri"/>
                <a:cs typeface="Calibri"/>
                <a:sym typeface="Calibri"/>
              </a:rPr>
              <a:t>Delivered a comprehensive report comprising </a:t>
            </a:r>
            <a:r>
              <a:rPr lang="en-US" sz="1600" b="1" dirty="0">
                <a:latin typeface="Calibri" panose="020F0502020204030204"/>
                <a:ea typeface="Calibri"/>
                <a:cs typeface="Calibri"/>
                <a:sym typeface="Calibri"/>
              </a:rPr>
              <a:t>30 dashboards</a:t>
            </a:r>
            <a:r>
              <a:rPr lang="en-US" sz="1600" dirty="0">
                <a:latin typeface="Calibri" panose="020F0502020204030204"/>
                <a:ea typeface="Calibri"/>
                <a:cs typeface="Calibri"/>
                <a:sym typeface="Calibri"/>
              </a:rPr>
              <a:t>, featuring </a:t>
            </a:r>
            <a:r>
              <a:rPr lang="en-US" sz="1600" b="1" dirty="0">
                <a:latin typeface="Calibri" panose="020F0502020204030204"/>
                <a:ea typeface="Calibri"/>
                <a:cs typeface="Calibri"/>
                <a:sym typeface="Calibri"/>
              </a:rPr>
              <a:t>+150 graphs</a:t>
            </a:r>
            <a:r>
              <a:rPr lang="en-US" sz="1600" dirty="0">
                <a:latin typeface="Calibri" panose="020F0502020204030204"/>
                <a:ea typeface="Calibri"/>
                <a:cs typeface="Calibri"/>
                <a:sym typeface="Calibri"/>
              </a:rPr>
              <a:t>, and including</a:t>
            </a:r>
            <a:r>
              <a:rPr lang="en-US" sz="1600" b="1" dirty="0">
                <a:latin typeface="Calibri" panose="020F0502020204030204"/>
                <a:ea typeface="Calibri"/>
                <a:cs typeface="Calibri"/>
                <a:sym typeface="Calibri"/>
              </a:rPr>
              <a:t> +50 KPIs.</a:t>
            </a:r>
            <a:endParaRPr lang="en-US" sz="1600" dirty="0">
              <a:latin typeface="Calibri" panose="020F0502020204030204"/>
              <a:ea typeface="+mn-ea"/>
            </a:endParaRPr>
          </a:p>
        </p:txBody>
      </p:sp>
      <p:sp>
        <p:nvSpPr>
          <p:cNvPr id="8" name="Google Shape;545;p30">
            <a:extLst>
              <a:ext uri="{FF2B5EF4-FFF2-40B4-BE49-F238E27FC236}">
                <a16:creationId xmlns:a16="http://schemas.microsoft.com/office/drawing/2014/main" id="{DA30D5BD-3BC1-D6C1-5FDA-0096CD1AB3FB}"/>
              </a:ext>
            </a:extLst>
          </p:cNvPr>
          <p:cNvSpPr>
            <a:spLocks/>
          </p:cNvSpPr>
          <p:nvPr/>
        </p:nvSpPr>
        <p:spPr>
          <a:xfrm>
            <a:off x="499868" y="1685069"/>
            <a:ext cx="4899137" cy="71685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endParaRPr b="1" kern="1200" dirty="0">
              <a:solidFill>
                <a:srgbClr val="FFFFFF"/>
              </a:solidFill>
              <a:latin typeface="Calibri" panose="020F0502020204030204" pitchFamily="34" charset="0"/>
              <a:cs typeface="Calibri" panose="020F0502020204030204" pitchFamily="34" charset="0"/>
            </a:endParaRPr>
          </a:p>
        </p:txBody>
      </p:sp>
      <p:sp>
        <p:nvSpPr>
          <p:cNvPr id="9" name="Google Shape;546;p30">
            <a:extLst>
              <a:ext uri="{FF2B5EF4-FFF2-40B4-BE49-F238E27FC236}">
                <a16:creationId xmlns:a16="http://schemas.microsoft.com/office/drawing/2014/main" id="{CDCBBF56-C6F3-B3F6-8FA8-F22C59E01E2A}"/>
              </a:ext>
            </a:extLst>
          </p:cNvPr>
          <p:cNvSpPr txBox="1"/>
          <p:nvPr/>
        </p:nvSpPr>
        <p:spPr>
          <a:xfrm>
            <a:off x="1840691" y="1901105"/>
            <a:ext cx="2217491" cy="284758"/>
          </a:xfrm>
          <a:prstGeom prst="rect">
            <a:avLst/>
          </a:prstGeom>
          <a:noFill/>
          <a:ln>
            <a:noFill/>
          </a:ln>
        </p:spPr>
        <p:txBody>
          <a:bodyPr spcFirstLastPara="1" wrap="square" lIns="0" tIns="0" rIns="0" bIns="0" anchor="t" anchorCtr="0">
            <a:spAutoFit/>
          </a:bodyPr>
          <a:lstStyle/>
          <a:p>
            <a:pPr algn="ctr" defTabSz="829549">
              <a:lnSpc>
                <a:spcPct val="85000"/>
              </a:lnSpc>
            </a:pPr>
            <a:r>
              <a:rPr lang="en-IN" sz="2177" b="1" dirty="0">
                <a:solidFill>
                  <a:srgbClr val="FFFFFF"/>
                </a:solidFill>
                <a:latin typeface="Calibri" panose="020F0502020204030204"/>
                <a:ea typeface="Franklin Gothic"/>
                <a:cs typeface="Franklin Gothic"/>
                <a:sym typeface="Franklin Gothic"/>
              </a:rPr>
              <a:t>Achievements</a:t>
            </a:r>
          </a:p>
        </p:txBody>
      </p:sp>
      <p:grpSp>
        <p:nvGrpSpPr>
          <p:cNvPr id="15" name="Group 14">
            <a:extLst>
              <a:ext uri="{FF2B5EF4-FFF2-40B4-BE49-F238E27FC236}">
                <a16:creationId xmlns:a16="http://schemas.microsoft.com/office/drawing/2014/main" id="{7D503B8E-8315-CE23-B611-C247BE394B5A}"/>
              </a:ext>
            </a:extLst>
          </p:cNvPr>
          <p:cNvGrpSpPr/>
          <p:nvPr/>
        </p:nvGrpSpPr>
        <p:grpSpPr>
          <a:xfrm>
            <a:off x="4721202" y="1746839"/>
            <a:ext cx="592175" cy="593316"/>
            <a:chOff x="3820712" y="1925467"/>
            <a:chExt cx="652797" cy="654055"/>
          </a:xfrm>
        </p:grpSpPr>
        <p:sp>
          <p:nvSpPr>
            <p:cNvPr id="11" name="Google Shape;551;p30">
              <a:extLst>
                <a:ext uri="{FF2B5EF4-FFF2-40B4-BE49-F238E27FC236}">
                  <a16:creationId xmlns:a16="http://schemas.microsoft.com/office/drawing/2014/main" id="{799A6D36-71AC-C5FB-0425-360F77A7AE38}"/>
                </a:ext>
              </a:extLst>
            </p:cNvPr>
            <p:cNvSpPr/>
            <p:nvPr/>
          </p:nvSpPr>
          <p:spPr>
            <a:xfrm>
              <a:off x="3820712" y="1925467"/>
              <a:ext cx="652797" cy="654055"/>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401" dirty="0">
                <a:solidFill>
                  <a:srgbClr val="FFFFFF"/>
                </a:solidFill>
                <a:ea typeface="+mn-ea"/>
              </a:endParaRPr>
            </a:p>
          </p:txBody>
        </p:sp>
        <p:pic>
          <p:nvPicPr>
            <p:cNvPr id="14" name="Graphic 13">
              <a:extLst>
                <a:ext uri="{FF2B5EF4-FFF2-40B4-BE49-F238E27FC236}">
                  <a16:creationId xmlns:a16="http://schemas.microsoft.com/office/drawing/2014/main" id="{8ED4122A-104A-016B-544D-64B62B6C746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51848" y="2076282"/>
              <a:ext cx="390525" cy="352425"/>
            </a:xfrm>
            <a:prstGeom prst="rect">
              <a:avLst/>
            </a:prstGeom>
          </p:spPr>
        </p:pic>
      </p:grpSp>
      <p:grpSp>
        <p:nvGrpSpPr>
          <p:cNvPr id="18" name="Group 17">
            <a:extLst>
              <a:ext uri="{FF2B5EF4-FFF2-40B4-BE49-F238E27FC236}">
                <a16:creationId xmlns:a16="http://schemas.microsoft.com/office/drawing/2014/main" id="{EB4FCECD-D037-7681-DD29-5371513E7900}"/>
              </a:ext>
            </a:extLst>
          </p:cNvPr>
          <p:cNvGrpSpPr/>
          <p:nvPr/>
        </p:nvGrpSpPr>
        <p:grpSpPr>
          <a:xfrm>
            <a:off x="7693034" y="2023035"/>
            <a:ext cx="3966553" cy="3040985"/>
            <a:chOff x="4662343" y="2693866"/>
            <a:chExt cx="4610513" cy="3534681"/>
          </a:xfrm>
        </p:grpSpPr>
        <p:sp>
          <p:nvSpPr>
            <p:cNvPr id="19" name="Freeform: Shape 18">
              <a:extLst>
                <a:ext uri="{FF2B5EF4-FFF2-40B4-BE49-F238E27FC236}">
                  <a16:creationId xmlns:a16="http://schemas.microsoft.com/office/drawing/2014/main" id="{71CA48A9-DC65-7829-9D17-DB9E5B18D641}"/>
                </a:ext>
              </a:extLst>
            </p:cNvPr>
            <p:cNvSpPr/>
            <p:nvPr/>
          </p:nvSpPr>
          <p:spPr>
            <a:xfrm>
              <a:off x="4662343" y="2693866"/>
              <a:ext cx="4610513" cy="2788869"/>
            </a:xfrm>
            <a:custGeom>
              <a:avLst/>
              <a:gdLst>
                <a:gd name="connsiteX0" fmla="*/ 129502 w 4610513"/>
                <a:gd name="connsiteY0" fmla="*/ 0 h 2788869"/>
                <a:gd name="connsiteX1" fmla="*/ 4481011 w 4610513"/>
                <a:gd name="connsiteY1" fmla="*/ 0 h 2788869"/>
                <a:gd name="connsiteX2" fmla="*/ 4610514 w 4610513"/>
                <a:gd name="connsiteY2" fmla="*/ 129502 h 2788869"/>
                <a:gd name="connsiteX3" fmla="*/ 4610514 w 4610513"/>
                <a:gd name="connsiteY3" fmla="*/ 2659367 h 2788869"/>
                <a:gd name="connsiteX4" fmla="*/ 4481011 w 4610513"/>
                <a:gd name="connsiteY4" fmla="*/ 2788870 h 2788869"/>
                <a:gd name="connsiteX5" fmla="*/ 129502 w 4610513"/>
                <a:gd name="connsiteY5" fmla="*/ 2788870 h 2788869"/>
                <a:gd name="connsiteX6" fmla="*/ 0 w 4610513"/>
                <a:gd name="connsiteY6" fmla="*/ 2659367 h 2788869"/>
                <a:gd name="connsiteX7" fmla="*/ 0 w 4610513"/>
                <a:gd name="connsiteY7" fmla="*/ 129502 h 2788869"/>
                <a:gd name="connsiteX8" fmla="*/ 129502 w 4610513"/>
                <a:gd name="connsiteY8" fmla="*/ 0 h 278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513" h="2788869">
                  <a:moveTo>
                    <a:pt x="129502" y="0"/>
                  </a:moveTo>
                  <a:lnTo>
                    <a:pt x="4481011" y="0"/>
                  </a:lnTo>
                  <a:cubicBezTo>
                    <a:pt x="4552494" y="0"/>
                    <a:pt x="4610514" y="58020"/>
                    <a:pt x="4610514" y="129502"/>
                  </a:cubicBezTo>
                  <a:lnTo>
                    <a:pt x="4610514" y="2659367"/>
                  </a:lnTo>
                  <a:cubicBezTo>
                    <a:pt x="4610514" y="2730850"/>
                    <a:pt x="4552467" y="2788870"/>
                    <a:pt x="4481011" y="2788870"/>
                  </a:cubicBezTo>
                  <a:lnTo>
                    <a:pt x="129502" y="2788870"/>
                  </a:lnTo>
                  <a:cubicBezTo>
                    <a:pt x="58020" y="2788870"/>
                    <a:pt x="0" y="2730850"/>
                    <a:pt x="0" y="2659367"/>
                  </a:cubicBezTo>
                  <a:lnTo>
                    <a:pt x="0" y="129502"/>
                  </a:lnTo>
                  <a:cubicBezTo>
                    <a:pt x="0" y="58020"/>
                    <a:pt x="58020" y="0"/>
                    <a:pt x="129502" y="0"/>
                  </a:cubicBezTo>
                  <a:close/>
                </a:path>
              </a:pathLst>
            </a:custGeom>
            <a:solidFill>
              <a:srgbClr val="000000"/>
            </a:solidFill>
            <a:ln w="2742" cap="flat">
              <a:noFill/>
              <a:prstDash val="solid"/>
              <a:miter/>
            </a:ln>
          </p:spPr>
          <p:txBody>
            <a:bodyPr rtlCol="0" anchor="ctr"/>
            <a:lstStyle/>
            <a:p>
              <a:pPr defTabSz="829549"/>
              <a:endParaRPr lang="en-US" sz="1270" dirty="0">
                <a:ea typeface="+mn-ea"/>
              </a:endParaRPr>
            </a:p>
          </p:txBody>
        </p:sp>
        <p:grpSp>
          <p:nvGrpSpPr>
            <p:cNvPr id="21" name="Graphic 2">
              <a:extLst>
                <a:ext uri="{FF2B5EF4-FFF2-40B4-BE49-F238E27FC236}">
                  <a16:creationId xmlns:a16="http://schemas.microsoft.com/office/drawing/2014/main" id="{E1C038F1-C6E7-341F-8B96-D47DAD7793CA}"/>
                </a:ext>
              </a:extLst>
            </p:cNvPr>
            <p:cNvGrpSpPr/>
            <p:nvPr/>
          </p:nvGrpSpPr>
          <p:grpSpPr>
            <a:xfrm>
              <a:off x="6249770" y="5482791"/>
              <a:ext cx="1435672" cy="745756"/>
              <a:chOff x="6249770" y="5482791"/>
              <a:chExt cx="1435672" cy="745756"/>
            </a:xfrm>
          </p:grpSpPr>
          <p:sp>
            <p:nvSpPr>
              <p:cNvPr id="23" name="Freeform: Shape 22">
                <a:extLst>
                  <a:ext uri="{FF2B5EF4-FFF2-40B4-BE49-F238E27FC236}">
                    <a16:creationId xmlns:a16="http://schemas.microsoft.com/office/drawing/2014/main" id="{91829ACB-BFA9-4ACE-C5AA-0ADCAE7222C0}"/>
                  </a:ext>
                </a:extLst>
              </p:cNvPr>
              <p:cNvSpPr/>
              <p:nvPr/>
            </p:nvSpPr>
            <p:spPr>
              <a:xfrm>
                <a:off x="6249770" y="5482791"/>
                <a:ext cx="1435604" cy="744495"/>
              </a:xfrm>
              <a:custGeom>
                <a:avLst/>
                <a:gdLst>
                  <a:gd name="connsiteX0" fmla="*/ 1435605 w 1435604"/>
                  <a:gd name="connsiteY0" fmla="*/ 703449 h 744495"/>
                  <a:gd name="connsiteX1" fmla="*/ 1345422 w 1435604"/>
                  <a:gd name="connsiteY1" fmla="*/ 643619 h 744495"/>
                  <a:gd name="connsiteX2" fmla="*/ 1221897 w 1435604"/>
                  <a:gd name="connsiteY2" fmla="*/ 529828 h 744495"/>
                  <a:gd name="connsiteX3" fmla="*/ 1144464 w 1435604"/>
                  <a:gd name="connsiteY3" fmla="*/ 0 h 744495"/>
                  <a:gd name="connsiteX4" fmla="*/ 291141 w 1435604"/>
                  <a:gd name="connsiteY4" fmla="*/ 0 h 744495"/>
                  <a:gd name="connsiteX5" fmla="*/ 213681 w 1435604"/>
                  <a:gd name="connsiteY5" fmla="*/ 529828 h 744495"/>
                  <a:gd name="connsiteX6" fmla="*/ 90183 w 1435604"/>
                  <a:gd name="connsiteY6" fmla="*/ 643619 h 744495"/>
                  <a:gd name="connsiteX7" fmla="*/ 0 w 1435604"/>
                  <a:gd name="connsiteY7" fmla="*/ 703449 h 744495"/>
                  <a:gd name="connsiteX8" fmla="*/ 0 w 1435604"/>
                  <a:gd name="connsiteY8" fmla="*/ 724781 h 744495"/>
                  <a:gd name="connsiteX9" fmla="*/ 224703 w 1435604"/>
                  <a:gd name="connsiteY9" fmla="*/ 744496 h 744495"/>
                  <a:gd name="connsiteX10" fmla="*/ 1210874 w 1435604"/>
                  <a:gd name="connsiteY10" fmla="*/ 744496 h 744495"/>
                  <a:gd name="connsiteX11" fmla="*/ 1435605 w 1435604"/>
                  <a:gd name="connsiteY11" fmla="*/ 724781 h 744495"/>
                  <a:gd name="connsiteX12" fmla="*/ 1435605 w 1435604"/>
                  <a:gd name="connsiteY12" fmla="*/ 703449 h 74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5604" h="744495">
                    <a:moveTo>
                      <a:pt x="1435605" y="703449"/>
                    </a:moveTo>
                    <a:cubicBezTo>
                      <a:pt x="1435605" y="703449"/>
                      <a:pt x="1425432" y="663526"/>
                      <a:pt x="1345422" y="643619"/>
                    </a:cubicBezTo>
                    <a:cubicBezTo>
                      <a:pt x="1265440" y="623712"/>
                      <a:pt x="1238376" y="600927"/>
                      <a:pt x="1221897" y="529828"/>
                    </a:cubicBezTo>
                    <a:cubicBezTo>
                      <a:pt x="1205445" y="458702"/>
                      <a:pt x="1144464" y="0"/>
                      <a:pt x="1144464" y="0"/>
                    </a:cubicBezTo>
                    <a:lnTo>
                      <a:pt x="291141" y="0"/>
                    </a:lnTo>
                    <a:cubicBezTo>
                      <a:pt x="291141" y="0"/>
                      <a:pt x="230160" y="458702"/>
                      <a:pt x="213681" y="529828"/>
                    </a:cubicBezTo>
                    <a:cubicBezTo>
                      <a:pt x="197229" y="600954"/>
                      <a:pt x="170166" y="623712"/>
                      <a:pt x="90183" y="643619"/>
                    </a:cubicBezTo>
                    <a:cubicBezTo>
                      <a:pt x="10200" y="663526"/>
                      <a:pt x="0" y="703449"/>
                      <a:pt x="0" y="703449"/>
                    </a:cubicBezTo>
                    <a:lnTo>
                      <a:pt x="0" y="724781"/>
                    </a:lnTo>
                    <a:cubicBezTo>
                      <a:pt x="0" y="724781"/>
                      <a:pt x="26542" y="744496"/>
                      <a:pt x="224703" y="744496"/>
                    </a:cubicBezTo>
                    <a:lnTo>
                      <a:pt x="1210874" y="744496"/>
                    </a:lnTo>
                    <a:cubicBezTo>
                      <a:pt x="1409036" y="744496"/>
                      <a:pt x="1435605" y="724781"/>
                      <a:pt x="1435605" y="724781"/>
                    </a:cubicBezTo>
                    <a:lnTo>
                      <a:pt x="1435605" y="703449"/>
                    </a:lnTo>
                    <a:close/>
                  </a:path>
                </a:pathLst>
              </a:custGeom>
              <a:gradFill>
                <a:gsLst>
                  <a:gs pos="0">
                    <a:srgbClr val="F3F4F4"/>
                  </a:gs>
                  <a:gs pos="11000">
                    <a:srgbClr val="CCCDCF"/>
                  </a:gs>
                  <a:gs pos="19000">
                    <a:srgbClr val="B3B5B8"/>
                  </a:gs>
                  <a:gs pos="24000">
                    <a:srgbClr val="ABADB0"/>
                  </a:gs>
                  <a:gs pos="35000">
                    <a:srgbClr val="E6E7E8"/>
                  </a:gs>
                  <a:gs pos="61000">
                    <a:srgbClr val="C7C8CA"/>
                  </a:gs>
                  <a:gs pos="99000">
                    <a:srgbClr val="8A8C8E"/>
                  </a:gs>
                </a:gsLst>
                <a:lin ang="16200000" scaled="1"/>
              </a:gradFill>
              <a:ln w="2742" cap="flat">
                <a:noFill/>
                <a:prstDash val="solid"/>
                <a:miter/>
              </a:ln>
            </p:spPr>
            <p:txBody>
              <a:bodyPr rtlCol="0" anchor="ctr"/>
              <a:lstStyle/>
              <a:p>
                <a:pPr defTabSz="829549"/>
                <a:endParaRPr lang="en-US" sz="1270" dirty="0">
                  <a:ea typeface="+mn-ea"/>
                </a:endParaRPr>
              </a:p>
            </p:txBody>
          </p:sp>
          <p:sp>
            <p:nvSpPr>
              <p:cNvPr id="24" name="Freeform: Shape 23">
                <a:extLst>
                  <a:ext uri="{FF2B5EF4-FFF2-40B4-BE49-F238E27FC236}">
                    <a16:creationId xmlns:a16="http://schemas.microsoft.com/office/drawing/2014/main" id="{05991557-FFE7-D700-AB52-3C082FDB2596}"/>
                  </a:ext>
                </a:extLst>
              </p:cNvPr>
              <p:cNvSpPr/>
              <p:nvPr/>
            </p:nvSpPr>
            <p:spPr>
              <a:xfrm>
                <a:off x="6249804" y="6185444"/>
                <a:ext cx="1435637" cy="43103"/>
              </a:xfrm>
              <a:custGeom>
                <a:avLst/>
                <a:gdLst>
                  <a:gd name="connsiteX0" fmla="*/ 1435269 w 1435637"/>
                  <a:gd name="connsiteY0" fmla="*/ 0 h 43103"/>
                  <a:gd name="connsiteX1" fmla="*/ 1210867 w 1435637"/>
                  <a:gd name="connsiteY1" fmla="*/ 19358 h 43103"/>
                  <a:gd name="connsiteX2" fmla="*/ 224696 w 1435637"/>
                  <a:gd name="connsiteY2" fmla="*/ 19358 h 43103"/>
                  <a:gd name="connsiteX3" fmla="*/ 322 w 1435637"/>
                  <a:gd name="connsiteY3" fmla="*/ 0 h 43103"/>
                  <a:gd name="connsiteX4" fmla="*/ 20 w 1435637"/>
                  <a:gd name="connsiteY4" fmla="*/ 2029 h 43103"/>
                  <a:gd name="connsiteX5" fmla="*/ 20 w 1435637"/>
                  <a:gd name="connsiteY5" fmla="*/ 23389 h 43103"/>
                  <a:gd name="connsiteX6" fmla="*/ 224723 w 1435637"/>
                  <a:gd name="connsiteY6" fmla="*/ 43103 h 43103"/>
                  <a:gd name="connsiteX7" fmla="*/ 1210895 w 1435637"/>
                  <a:gd name="connsiteY7" fmla="*/ 43103 h 43103"/>
                  <a:gd name="connsiteX8" fmla="*/ 1435625 w 1435637"/>
                  <a:gd name="connsiteY8" fmla="*/ 23389 h 43103"/>
                  <a:gd name="connsiteX9" fmla="*/ 1435625 w 1435637"/>
                  <a:gd name="connsiteY9" fmla="*/ 2029 h 43103"/>
                  <a:gd name="connsiteX10" fmla="*/ 1435297 w 1435637"/>
                  <a:gd name="connsiteY10" fmla="*/ 0 h 4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5637" h="43103">
                    <a:moveTo>
                      <a:pt x="1435269" y="0"/>
                    </a:moveTo>
                    <a:cubicBezTo>
                      <a:pt x="1432363" y="2660"/>
                      <a:pt x="1393235" y="19358"/>
                      <a:pt x="1210867" y="19358"/>
                    </a:cubicBezTo>
                    <a:lnTo>
                      <a:pt x="224696" y="19358"/>
                    </a:lnTo>
                    <a:cubicBezTo>
                      <a:pt x="42329" y="19358"/>
                      <a:pt x="3201" y="2660"/>
                      <a:pt x="322" y="0"/>
                    </a:cubicBezTo>
                    <a:cubicBezTo>
                      <a:pt x="-117" y="1316"/>
                      <a:pt x="20" y="2029"/>
                      <a:pt x="20" y="2029"/>
                    </a:cubicBezTo>
                    <a:lnTo>
                      <a:pt x="20" y="23389"/>
                    </a:lnTo>
                    <a:cubicBezTo>
                      <a:pt x="20" y="23389"/>
                      <a:pt x="26563" y="43103"/>
                      <a:pt x="224723" y="43103"/>
                    </a:cubicBezTo>
                    <a:lnTo>
                      <a:pt x="1210895" y="43103"/>
                    </a:lnTo>
                    <a:cubicBezTo>
                      <a:pt x="1409056" y="43103"/>
                      <a:pt x="1435625" y="23389"/>
                      <a:pt x="1435625" y="23389"/>
                    </a:cubicBezTo>
                    <a:lnTo>
                      <a:pt x="1435625" y="2029"/>
                    </a:lnTo>
                    <a:cubicBezTo>
                      <a:pt x="1435625" y="2029"/>
                      <a:pt x="1435735" y="1316"/>
                      <a:pt x="1435297" y="0"/>
                    </a:cubicBezTo>
                    <a:close/>
                  </a:path>
                </a:pathLst>
              </a:custGeom>
              <a:gradFill>
                <a:gsLst>
                  <a:gs pos="19000">
                    <a:srgbClr val="ABADB0"/>
                  </a:gs>
                  <a:gs pos="99000">
                    <a:srgbClr val="8A8C8E"/>
                  </a:gs>
                </a:gsLst>
                <a:lin ang="16799923" scaled="1"/>
              </a:gradFill>
              <a:ln w="2742" cap="flat">
                <a:noFill/>
                <a:prstDash val="solid"/>
                <a:miter/>
              </a:ln>
            </p:spPr>
            <p:txBody>
              <a:bodyPr rtlCol="0" anchor="ctr"/>
              <a:lstStyle/>
              <a:p>
                <a:pPr defTabSz="829549"/>
                <a:endParaRPr lang="en-US" sz="1270" dirty="0">
                  <a:ea typeface="+mn-ea"/>
                </a:endParaRPr>
              </a:p>
            </p:txBody>
          </p:sp>
        </p:grpSp>
        <p:sp>
          <p:nvSpPr>
            <p:cNvPr id="22" name="Freeform: Shape 21">
              <a:extLst>
                <a:ext uri="{FF2B5EF4-FFF2-40B4-BE49-F238E27FC236}">
                  <a16:creationId xmlns:a16="http://schemas.microsoft.com/office/drawing/2014/main" id="{5EED0FA5-63ED-7FEB-7F27-0958ADBFD999}"/>
                </a:ext>
              </a:extLst>
            </p:cNvPr>
            <p:cNvSpPr/>
            <p:nvPr/>
          </p:nvSpPr>
          <p:spPr>
            <a:xfrm>
              <a:off x="6946363" y="2746594"/>
              <a:ext cx="42445" cy="42445"/>
            </a:xfrm>
            <a:custGeom>
              <a:avLst/>
              <a:gdLst>
                <a:gd name="connsiteX0" fmla="*/ 42445 w 42445"/>
                <a:gd name="connsiteY0" fmla="*/ 21223 h 42445"/>
                <a:gd name="connsiteX1" fmla="*/ 21250 w 42445"/>
                <a:gd name="connsiteY1" fmla="*/ 42445 h 42445"/>
                <a:gd name="connsiteX2" fmla="*/ 0 w 42445"/>
                <a:gd name="connsiteY2" fmla="*/ 21223 h 42445"/>
                <a:gd name="connsiteX3" fmla="*/ 21250 w 42445"/>
                <a:gd name="connsiteY3" fmla="*/ 0 h 42445"/>
                <a:gd name="connsiteX4" fmla="*/ 42445 w 42445"/>
                <a:gd name="connsiteY4" fmla="*/ 21223 h 4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45" h="42445">
                  <a:moveTo>
                    <a:pt x="42445" y="21223"/>
                  </a:moveTo>
                  <a:cubicBezTo>
                    <a:pt x="42445" y="32958"/>
                    <a:pt x="32958" y="42445"/>
                    <a:pt x="21250" y="42445"/>
                  </a:cubicBezTo>
                  <a:cubicBezTo>
                    <a:pt x="9542" y="42445"/>
                    <a:pt x="0" y="32958"/>
                    <a:pt x="0" y="21223"/>
                  </a:cubicBezTo>
                  <a:cubicBezTo>
                    <a:pt x="0" y="9487"/>
                    <a:pt x="9488" y="0"/>
                    <a:pt x="21250" y="0"/>
                  </a:cubicBezTo>
                  <a:cubicBezTo>
                    <a:pt x="33013" y="0"/>
                    <a:pt x="42445" y="9515"/>
                    <a:pt x="42445" y="21223"/>
                  </a:cubicBezTo>
                  <a:close/>
                </a:path>
              </a:pathLst>
            </a:custGeom>
            <a:solidFill>
              <a:srgbClr val="424143"/>
            </a:solidFill>
            <a:ln w="2742" cap="flat">
              <a:noFill/>
              <a:prstDash val="solid"/>
              <a:miter/>
            </a:ln>
          </p:spPr>
          <p:txBody>
            <a:bodyPr rtlCol="0" anchor="ctr"/>
            <a:lstStyle/>
            <a:p>
              <a:pPr defTabSz="829549"/>
              <a:endParaRPr lang="en-US" sz="1270" dirty="0">
                <a:ea typeface="+mn-ea"/>
              </a:endParaRPr>
            </a:p>
          </p:txBody>
        </p:sp>
      </p:grpSp>
      <p:cxnSp>
        <p:nvCxnSpPr>
          <p:cNvPr id="26" name="Google Shape;526;p13">
            <a:extLst>
              <a:ext uri="{FF2B5EF4-FFF2-40B4-BE49-F238E27FC236}">
                <a16:creationId xmlns:a16="http://schemas.microsoft.com/office/drawing/2014/main" id="{EF41C1B3-E7C7-47BF-51B4-FAA904E66D34}"/>
              </a:ext>
            </a:extLst>
          </p:cNvPr>
          <p:cNvCxnSpPr>
            <a:cxnSpLocks/>
          </p:cNvCxnSpPr>
          <p:nvPr/>
        </p:nvCxnSpPr>
        <p:spPr>
          <a:xfrm>
            <a:off x="5661098" y="1685069"/>
            <a:ext cx="0" cy="4650005"/>
          </a:xfrm>
          <a:prstGeom prst="straightConnector1">
            <a:avLst/>
          </a:prstGeom>
          <a:noFill/>
          <a:ln w="19050" cap="flat" cmpd="sng">
            <a:solidFill>
              <a:schemeClr val="tx2"/>
            </a:solidFill>
            <a:prstDash val="solid"/>
            <a:miter lim="800000"/>
            <a:headEnd type="none" w="sm" len="sm"/>
            <a:tailEnd type="none" w="sm" len="sm"/>
          </a:ln>
        </p:spPr>
      </p:cxnSp>
      <p:pic>
        <p:nvPicPr>
          <p:cNvPr id="12" name="Picture 11">
            <a:extLst>
              <a:ext uri="{FF2B5EF4-FFF2-40B4-BE49-F238E27FC236}">
                <a16:creationId xmlns:a16="http://schemas.microsoft.com/office/drawing/2014/main" id="{7C83297E-0D61-BE01-6BA4-80EBA2846B97}"/>
              </a:ext>
            </a:extLst>
          </p:cNvPr>
          <p:cNvPicPr>
            <a:picLocks noChangeAspect="1"/>
          </p:cNvPicPr>
          <p:nvPr/>
        </p:nvPicPr>
        <p:blipFill>
          <a:blip r:embed="rId7"/>
          <a:stretch>
            <a:fillRect/>
          </a:stretch>
        </p:blipFill>
        <p:spPr>
          <a:xfrm>
            <a:off x="7827995" y="2154408"/>
            <a:ext cx="3696632" cy="2134363"/>
          </a:xfrm>
          <a:prstGeom prst="rect">
            <a:avLst/>
          </a:prstGeom>
        </p:spPr>
      </p:pic>
      <p:grpSp>
        <p:nvGrpSpPr>
          <p:cNvPr id="31" name="Group 30">
            <a:extLst>
              <a:ext uri="{FF2B5EF4-FFF2-40B4-BE49-F238E27FC236}">
                <a16:creationId xmlns:a16="http://schemas.microsoft.com/office/drawing/2014/main" id="{339D089C-2031-8B3E-B73B-E50E8C9FAE88}"/>
              </a:ext>
            </a:extLst>
          </p:cNvPr>
          <p:cNvGrpSpPr/>
          <p:nvPr/>
        </p:nvGrpSpPr>
        <p:grpSpPr>
          <a:xfrm>
            <a:off x="6121002" y="4174871"/>
            <a:ext cx="3701804" cy="2232046"/>
            <a:chOff x="1329003" y="3864105"/>
            <a:chExt cx="4080768" cy="2460547"/>
          </a:xfrm>
        </p:grpSpPr>
        <p:sp>
          <p:nvSpPr>
            <p:cNvPr id="32" name="Freeform: Shape 31">
              <a:extLst>
                <a:ext uri="{FF2B5EF4-FFF2-40B4-BE49-F238E27FC236}">
                  <a16:creationId xmlns:a16="http://schemas.microsoft.com/office/drawing/2014/main" id="{311E184B-2CA7-C252-B889-3355CA794405}"/>
                </a:ext>
              </a:extLst>
            </p:cNvPr>
            <p:cNvSpPr/>
            <p:nvPr/>
          </p:nvSpPr>
          <p:spPr>
            <a:xfrm>
              <a:off x="1650498" y="3935972"/>
              <a:ext cx="3437725" cy="2259434"/>
            </a:xfrm>
            <a:custGeom>
              <a:avLst/>
              <a:gdLst>
                <a:gd name="connsiteX0" fmla="*/ 123909 w 3437725"/>
                <a:gd name="connsiteY0" fmla="*/ 2259371 h 2259434"/>
                <a:gd name="connsiteX1" fmla="*/ 0 w 3437725"/>
                <a:gd name="connsiteY1" fmla="*/ 2195620 h 2259434"/>
                <a:gd name="connsiteX2" fmla="*/ 0 w 3437725"/>
                <a:gd name="connsiteY2" fmla="*/ 123909 h 2259434"/>
                <a:gd name="connsiteX3" fmla="*/ 123909 w 3437725"/>
                <a:gd name="connsiteY3" fmla="*/ 0 h 2259434"/>
                <a:gd name="connsiteX4" fmla="*/ 3313817 w 3437725"/>
                <a:gd name="connsiteY4" fmla="*/ 0 h 2259434"/>
                <a:gd name="connsiteX5" fmla="*/ 3437725 w 3437725"/>
                <a:gd name="connsiteY5" fmla="*/ 123909 h 2259434"/>
                <a:gd name="connsiteX6" fmla="*/ 3437725 w 3437725"/>
                <a:gd name="connsiteY6" fmla="*/ 2195620 h 2259434"/>
                <a:gd name="connsiteX7" fmla="*/ 3313817 w 3437725"/>
                <a:gd name="connsiteY7" fmla="*/ 2259371 h 2259434"/>
                <a:gd name="connsiteX8" fmla="*/ 123909 w 3437725"/>
                <a:gd name="connsiteY8" fmla="*/ 2259371 h 225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7725" h="2259434">
                  <a:moveTo>
                    <a:pt x="123909" y="2259371"/>
                  </a:moveTo>
                  <a:cubicBezTo>
                    <a:pt x="55579" y="2259371"/>
                    <a:pt x="0" y="2263950"/>
                    <a:pt x="0" y="2195620"/>
                  </a:cubicBezTo>
                  <a:lnTo>
                    <a:pt x="0" y="123909"/>
                  </a:lnTo>
                  <a:cubicBezTo>
                    <a:pt x="0" y="55579"/>
                    <a:pt x="55579" y="0"/>
                    <a:pt x="123909" y="0"/>
                  </a:cubicBezTo>
                  <a:lnTo>
                    <a:pt x="3313817" y="0"/>
                  </a:lnTo>
                  <a:cubicBezTo>
                    <a:pt x="3382146" y="0"/>
                    <a:pt x="3437725" y="55579"/>
                    <a:pt x="3437725" y="123909"/>
                  </a:cubicBezTo>
                  <a:lnTo>
                    <a:pt x="3437725" y="2195620"/>
                  </a:lnTo>
                  <a:cubicBezTo>
                    <a:pt x="3437725" y="2263950"/>
                    <a:pt x="3382146" y="2259371"/>
                    <a:pt x="3313817" y="2259371"/>
                  </a:cubicBezTo>
                  <a:lnTo>
                    <a:pt x="123909" y="2259371"/>
                  </a:lnTo>
                  <a:close/>
                </a:path>
              </a:pathLst>
            </a:custGeom>
            <a:gradFill>
              <a:gsLst>
                <a:gs pos="0">
                  <a:srgbClr val="E6E6E6"/>
                </a:gs>
                <a:gs pos="36000">
                  <a:srgbClr val="4D4D4D"/>
                </a:gs>
                <a:gs pos="56000">
                  <a:srgbClr val="CCCCCC"/>
                </a:gs>
                <a:gs pos="76000">
                  <a:srgbClr val="575757"/>
                </a:gs>
                <a:gs pos="100000">
                  <a:srgbClr val="919191"/>
                </a:gs>
              </a:gsLst>
              <a:lin ang="0" scaled="1"/>
            </a:gradFill>
            <a:ln w="2742" cap="flat">
              <a:noFill/>
              <a:prstDash val="solid"/>
              <a:miter/>
            </a:ln>
          </p:spPr>
          <p:txBody>
            <a:bodyPr rtlCol="0" anchor="ctr"/>
            <a:lstStyle/>
            <a:p>
              <a:pPr defTabSz="829549"/>
              <a:endParaRPr lang="en-US" sz="1270" dirty="0">
                <a:ea typeface="+mn-ea"/>
              </a:endParaRPr>
            </a:p>
          </p:txBody>
        </p:sp>
        <p:sp>
          <p:nvSpPr>
            <p:cNvPr id="33" name="Freeform: Shape 32">
              <a:extLst>
                <a:ext uri="{FF2B5EF4-FFF2-40B4-BE49-F238E27FC236}">
                  <a16:creationId xmlns:a16="http://schemas.microsoft.com/office/drawing/2014/main" id="{7E20A7A5-7BE5-F3F1-340E-A38B1000EB9C}"/>
                </a:ext>
              </a:extLst>
            </p:cNvPr>
            <p:cNvSpPr/>
            <p:nvPr/>
          </p:nvSpPr>
          <p:spPr>
            <a:xfrm>
              <a:off x="1650498" y="3935972"/>
              <a:ext cx="3437725" cy="2259434"/>
            </a:xfrm>
            <a:custGeom>
              <a:avLst/>
              <a:gdLst>
                <a:gd name="connsiteX0" fmla="*/ 123909 w 3437725"/>
                <a:gd name="connsiteY0" fmla="*/ 2259371 h 2259434"/>
                <a:gd name="connsiteX1" fmla="*/ 0 w 3437725"/>
                <a:gd name="connsiteY1" fmla="*/ 2195620 h 2259434"/>
                <a:gd name="connsiteX2" fmla="*/ 0 w 3437725"/>
                <a:gd name="connsiteY2" fmla="*/ 123909 h 2259434"/>
                <a:gd name="connsiteX3" fmla="*/ 123909 w 3437725"/>
                <a:gd name="connsiteY3" fmla="*/ 0 h 2259434"/>
                <a:gd name="connsiteX4" fmla="*/ 3313817 w 3437725"/>
                <a:gd name="connsiteY4" fmla="*/ 0 h 2259434"/>
                <a:gd name="connsiteX5" fmla="*/ 3437725 w 3437725"/>
                <a:gd name="connsiteY5" fmla="*/ 123909 h 2259434"/>
                <a:gd name="connsiteX6" fmla="*/ 3437725 w 3437725"/>
                <a:gd name="connsiteY6" fmla="*/ 2195620 h 2259434"/>
                <a:gd name="connsiteX7" fmla="*/ 3313817 w 3437725"/>
                <a:gd name="connsiteY7" fmla="*/ 2259371 h 2259434"/>
                <a:gd name="connsiteX8" fmla="*/ 123909 w 3437725"/>
                <a:gd name="connsiteY8" fmla="*/ 2259371 h 225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7725" h="2259434">
                  <a:moveTo>
                    <a:pt x="123909" y="2259371"/>
                  </a:moveTo>
                  <a:cubicBezTo>
                    <a:pt x="55579" y="2259371"/>
                    <a:pt x="0" y="2263950"/>
                    <a:pt x="0" y="2195620"/>
                  </a:cubicBezTo>
                  <a:lnTo>
                    <a:pt x="0" y="123909"/>
                  </a:lnTo>
                  <a:cubicBezTo>
                    <a:pt x="0" y="55579"/>
                    <a:pt x="55579" y="0"/>
                    <a:pt x="123909" y="0"/>
                  </a:cubicBezTo>
                  <a:lnTo>
                    <a:pt x="3313817" y="0"/>
                  </a:lnTo>
                  <a:cubicBezTo>
                    <a:pt x="3382146" y="0"/>
                    <a:pt x="3437725" y="55579"/>
                    <a:pt x="3437725" y="123909"/>
                  </a:cubicBezTo>
                  <a:lnTo>
                    <a:pt x="3437725" y="2195620"/>
                  </a:lnTo>
                  <a:cubicBezTo>
                    <a:pt x="3437725" y="2263950"/>
                    <a:pt x="3382146" y="2259371"/>
                    <a:pt x="3313817" y="2259371"/>
                  </a:cubicBezTo>
                  <a:lnTo>
                    <a:pt x="123909" y="2259371"/>
                  </a:lnTo>
                  <a:close/>
                </a:path>
              </a:pathLst>
            </a:custGeom>
            <a:solidFill>
              <a:srgbClr val="000000"/>
            </a:solidFill>
            <a:ln w="2742" cap="flat">
              <a:noFill/>
              <a:prstDash val="solid"/>
              <a:miter/>
            </a:ln>
          </p:spPr>
          <p:txBody>
            <a:bodyPr rtlCol="0" anchor="ctr"/>
            <a:lstStyle/>
            <a:p>
              <a:pPr defTabSz="829549"/>
              <a:endParaRPr lang="en-US" sz="1270" dirty="0">
                <a:ea typeface="+mn-ea"/>
              </a:endParaRPr>
            </a:p>
          </p:txBody>
        </p:sp>
        <p:grpSp>
          <p:nvGrpSpPr>
            <p:cNvPr id="34" name="Graphic 2">
              <a:extLst>
                <a:ext uri="{FF2B5EF4-FFF2-40B4-BE49-F238E27FC236}">
                  <a16:creationId xmlns:a16="http://schemas.microsoft.com/office/drawing/2014/main" id="{41DD724B-9678-85C8-9189-DB7C7C91B8E9}"/>
                </a:ext>
              </a:extLst>
            </p:cNvPr>
            <p:cNvGrpSpPr/>
            <p:nvPr/>
          </p:nvGrpSpPr>
          <p:grpSpPr>
            <a:xfrm>
              <a:off x="1655461" y="3940304"/>
              <a:ext cx="3426565" cy="2251885"/>
              <a:chOff x="1655461" y="3940304"/>
              <a:chExt cx="3426565" cy="2251885"/>
            </a:xfrm>
          </p:grpSpPr>
          <p:sp>
            <p:nvSpPr>
              <p:cNvPr id="67" name="Freeform: Shape 66">
                <a:extLst>
                  <a:ext uri="{FF2B5EF4-FFF2-40B4-BE49-F238E27FC236}">
                    <a16:creationId xmlns:a16="http://schemas.microsoft.com/office/drawing/2014/main" id="{49BC0CFC-40F6-7539-A7EE-0BD3A5188422}"/>
                  </a:ext>
                </a:extLst>
              </p:cNvPr>
              <p:cNvSpPr/>
              <p:nvPr/>
            </p:nvSpPr>
            <p:spPr>
              <a:xfrm>
                <a:off x="1678740" y="3940304"/>
                <a:ext cx="3403286" cy="2228359"/>
              </a:xfrm>
              <a:custGeom>
                <a:avLst/>
                <a:gdLst>
                  <a:gd name="connsiteX0" fmla="*/ 3403286 w 3403286"/>
                  <a:gd name="connsiteY0" fmla="*/ 112749 h 2228359"/>
                  <a:gd name="connsiteX1" fmla="*/ 3290565 w 3403286"/>
                  <a:gd name="connsiteY1" fmla="*/ 0 h 2228359"/>
                  <a:gd name="connsiteX2" fmla="*/ 97723 w 3403286"/>
                  <a:gd name="connsiteY2" fmla="*/ 0 h 2228359"/>
                  <a:gd name="connsiteX3" fmla="*/ 0 w 3403286"/>
                  <a:gd name="connsiteY3" fmla="*/ 56567 h 2228359"/>
                  <a:gd name="connsiteX4" fmla="*/ 89497 w 3403286"/>
                  <a:gd name="connsiteY4" fmla="*/ 12366 h 2228359"/>
                  <a:gd name="connsiteX5" fmla="*/ 3282284 w 3403286"/>
                  <a:gd name="connsiteY5" fmla="*/ 12366 h 2228359"/>
                  <a:gd name="connsiteX6" fmla="*/ 3395033 w 3403286"/>
                  <a:gd name="connsiteY6" fmla="*/ 125115 h 2228359"/>
                  <a:gd name="connsiteX7" fmla="*/ 3395033 w 3403286"/>
                  <a:gd name="connsiteY7" fmla="*/ 2198774 h 2228359"/>
                  <a:gd name="connsiteX8" fmla="*/ 3384312 w 3403286"/>
                  <a:gd name="connsiteY8" fmla="*/ 2228359 h 2228359"/>
                  <a:gd name="connsiteX9" fmla="*/ 3403259 w 3403286"/>
                  <a:gd name="connsiteY9" fmla="*/ 2186407 h 2228359"/>
                  <a:gd name="connsiteX10" fmla="*/ 3403259 w 3403286"/>
                  <a:gd name="connsiteY10" fmla="*/ 112749 h 222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03286" h="2228359">
                    <a:moveTo>
                      <a:pt x="3403286" y="112749"/>
                    </a:moveTo>
                    <a:cubicBezTo>
                      <a:pt x="3403286" y="50479"/>
                      <a:pt x="3352807" y="0"/>
                      <a:pt x="3290565" y="0"/>
                    </a:cubicBezTo>
                    <a:lnTo>
                      <a:pt x="97723" y="0"/>
                    </a:lnTo>
                    <a:cubicBezTo>
                      <a:pt x="55908" y="0"/>
                      <a:pt x="19468" y="22786"/>
                      <a:pt x="0" y="56567"/>
                    </a:cubicBezTo>
                    <a:cubicBezTo>
                      <a:pt x="20620" y="29695"/>
                      <a:pt x="53029" y="12366"/>
                      <a:pt x="89497" y="12366"/>
                    </a:cubicBezTo>
                    <a:lnTo>
                      <a:pt x="3282284" y="12366"/>
                    </a:lnTo>
                    <a:cubicBezTo>
                      <a:pt x="3344554" y="12366"/>
                      <a:pt x="3395033" y="62846"/>
                      <a:pt x="3395033" y="125115"/>
                    </a:cubicBezTo>
                    <a:lnTo>
                      <a:pt x="3395033" y="2198774"/>
                    </a:lnTo>
                    <a:cubicBezTo>
                      <a:pt x="3395033" y="2219256"/>
                      <a:pt x="3393854" y="2211825"/>
                      <a:pt x="3384312" y="2228359"/>
                    </a:cubicBezTo>
                    <a:cubicBezTo>
                      <a:pt x="3398872" y="2209357"/>
                      <a:pt x="3403259" y="2212182"/>
                      <a:pt x="3403259" y="2186407"/>
                    </a:cubicBezTo>
                    <a:lnTo>
                      <a:pt x="3403259" y="112749"/>
                    </a:lnTo>
                    <a:close/>
                  </a:path>
                </a:pathLst>
              </a:custGeom>
              <a:gradFill>
                <a:gsLst>
                  <a:gs pos="0">
                    <a:srgbClr val="919191"/>
                  </a:gs>
                  <a:gs pos="17000">
                    <a:srgbClr val="979797"/>
                  </a:gs>
                  <a:gs pos="40000">
                    <a:srgbClr val="A9A9A9"/>
                  </a:gs>
                  <a:gs pos="67000">
                    <a:srgbClr val="C7C7C7"/>
                  </a:gs>
                  <a:gs pos="97000">
                    <a:srgbClr val="EFEFEF"/>
                  </a:gs>
                  <a:gs pos="100000">
                    <a:srgbClr val="F5F5F5"/>
                  </a:gs>
                </a:gsLst>
                <a:lin ang="14099989" scaled="1"/>
              </a:gradFill>
              <a:ln w="2742" cap="flat">
                <a:noFill/>
                <a:prstDash val="solid"/>
                <a:miter/>
              </a:ln>
            </p:spPr>
            <p:txBody>
              <a:bodyPr rtlCol="0" anchor="ctr"/>
              <a:lstStyle/>
              <a:p>
                <a:pPr defTabSz="829549"/>
                <a:endParaRPr lang="en-US" sz="1270" dirty="0">
                  <a:ea typeface="+mn-ea"/>
                </a:endParaRPr>
              </a:p>
            </p:txBody>
          </p:sp>
          <p:sp>
            <p:nvSpPr>
              <p:cNvPr id="68" name="Freeform: Shape 67">
                <a:extLst>
                  <a:ext uri="{FF2B5EF4-FFF2-40B4-BE49-F238E27FC236}">
                    <a16:creationId xmlns:a16="http://schemas.microsoft.com/office/drawing/2014/main" id="{3A7EFFAD-ECA3-7C53-1CA6-E7E155D600E1}"/>
                  </a:ext>
                </a:extLst>
              </p:cNvPr>
              <p:cNvSpPr/>
              <p:nvPr/>
            </p:nvSpPr>
            <p:spPr>
              <a:xfrm>
                <a:off x="1655461" y="3996871"/>
                <a:ext cx="3415487" cy="2195318"/>
              </a:xfrm>
              <a:custGeom>
                <a:avLst/>
                <a:gdLst>
                  <a:gd name="connsiteX0" fmla="*/ 3313816 w 3415487"/>
                  <a:gd name="connsiteY0" fmla="*/ 2182404 h 2195318"/>
                  <a:gd name="connsiteX1" fmla="*/ 121002 w 3415487"/>
                  <a:gd name="connsiteY1" fmla="*/ 2182404 h 2195318"/>
                  <a:gd name="connsiteX2" fmla="*/ 8253 w 3415487"/>
                  <a:gd name="connsiteY2" fmla="*/ 2129841 h 2195318"/>
                  <a:gd name="connsiteX3" fmla="*/ 8253 w 3415487"/>
                  <a:gd name="connsiteY3" fmla="*/ 56183 h 2195318"/>
                  <a:gd name="connsiteX4" fmla="*/ 23252 w 3415487"/>
                  <a:gd name="connsiteY4" fmla="*/ 0 h 2195318"/>
                  <a:gd name="connsiteX5" fmla="*/ 0 w 3415487"/>
                  <a:gd name="connsiteY5" fmla="*/ 68549 h 2195318"/>
                  <a:gd name="connsiteX6" fmla="*/ 0 w 3415487"/>
                  <a:gd name="connsiteY6" fmla="*/ 2142207 h 2195318"/>
                  <a:gd name="connsiteX7" fmla="*/ 112749 w 3415487"/>
                  <a:gd name="connsiteY7" fmla="*/ 2194770 h 2195318"/>
                  <a:gd name="connsiteX8" fmla="*/ 3305536 w 3415487"/>
                  <a:gd name="connsiteY8" fmla="*/ 2194770 h 2195318"/>
                  <a:gd name="connsiteX9" fmla="*/ 3415488 w 3415487"/>
                  <a:gd name="connsiteY9" fmla="*/ 2151502 h 2195318"/>
                  <a:gd name="connsiteX10" fmla="*/ 3313789 w 3415487"/>
                  <a:gd name="connsiteY10" fmla="*/ 2182432 h 219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5487" h="2195318">
                    <a:moveTo>
                      <a:pt x="3313816" y="2182404"/>
                    </a:moveTo>
                    <a:lnTo>
                      <a:pt x="121002" y="2182404"/>
                    </a:lnTo>
                    <a:cubicBezTo>
                      <a:pt x="58733" y="2182404"/>
                      <a:pt x="8253" y="2192111"/>
                      <a:pt x="8253" y="2129841"/>
                    </a:cubicBezTo>
                    <a:lnTo>
                      <a:pt x="8253" y="56183"/>
                    </a:lnTo>
                    <a:cubicBezTo>
                      <a:pt x="8253" y="35728"/>
                      <a:pt x="13737" y="16534"/>
                      <a:pt x="23252" y="0"/>
                    </a:cubicBezTo>
                    <a:cubicBezTo>
                      <a:pt x="8665" y="19002"/>
                      <a:pt x="0" y="42747"/>
                      <a:pt x="0" y="68549"/>
                    </a:cubicBezTo>
                    <a:lnTo>
                      <a:pt x="0" y="2142207"/>
                    </a:lnTo>
                    <a:cubicBezTo>
                      <a:pt x="0" y="2204477"/>
                      <a:pt x="50479" y="2194770"/>
                      <a:pt x="112749" y="2194770"/>
                    </a:cubicBezTo>
                    <a:lnTo>
                      <a:pt x="3305536" y="2194770"/>
                    </a:lnTo>
                    <a:cubicBezTo>
                      <a:pt x="3347350" y="2194770"/>
                      <a:pt x="3396020" y="2185283"/>
                      <a:pt x="3415488" y="2151502"/>
                    </a:cubicBezTo>
                    <a:cubicBezTo>
                      <a:pt x="3394869" y="2178346"/>
                      <a:pt x="3350230" y="2182432"/>
                      <a:pt x="3313789" y="2182432"/>
                    </a:cubicBezTo>
                    <a:close/>
                  </a:path>
                </a:pathLst>
              </a:custGeom>
              <a:gradFill>
                <a:gsLst>
                  <a:gs pos="0">
                    <a:srgbClr val="E6E6E6"/>
                  </a:gs>
                  <a:gs pos="36000">
                    <a:srgbClr val="4D4D4D"/>
                  </a:gs>
                  <a:gs pos="56000">
                    <a:srgbClr val="CCCCCC"/>
                  </a:gs>
                  <a:gs pos="100000">
                    <a:srgbClr val="919191"/>
                  </a:gs>
                </a:gsLst>
                <a:lin ang="14099993" scaled="1"/>
              </a:gradFill>
              <a:ln w="2742" cap="flat">
                <a:noFill/>
                <a:prstDash val="solid"/>
                <a:miter/>
              </a:ln>
            </p:spPr>
            <p:txBody>
              <a:bodyPr rtlCol="0" anchor="ctr"/>
              <a:lstStyle/>
              <a:p>
                <a:pPr defTabSz="829549"/>
                <a:endParaRPr lang="en-US" sz="1270" dirty="0">
                  <a:ea typeface="+mn-ea"/>
                </a:endParaRPr>
              </a:p>
            </p:txBody>
          </p:sp>
        </p:grpSp>
        <p:grpSp>
          <p:nvGrpSpPr>
            <p:cNvPr id="35" name="Graphic 2">
              <a:extLst>
                <a:ext uri="{FF2B5EF4-FFF2-40B4-BE49-F238E27FC236}">
                  <a16:creationId xmlns:a16="http://schemas.microsoft.com/office/drawing/2014/main" id="{9DA31C6B-87CD-E777-EAB4-8EC1B6E7D60C}"/>
                </a:ext>
              </a:extLst>
            </p:cNvPr>
            <p:cNvGrpSpPr/>
            <p:nvPr/>
          </p:nvGrpSpPr>
          <p:grpSpPr>
            <a:xfrm>
              <a:off x="1672735" y="3864105"/>
              <a:ext cx="3496677" cy="2460547"/>
              <a:chOff x="1672735" y="3864105"/>
              <a:chExt cx="3496677" cy="2460547"/>
            </a:xfrm>
          </p:grpSpPr>
          <p:sp>
            <p:nvSpPr>
              <p:cNvPr id="65" name="Freeform: Shape 64">
                <a:extLst>
                  <a:ext uri="{FF2B5EF4-FFF2-40B4-BE49-F238E27FC236}">
                    <a16:creationId xmlns:a16="http://schemas.microsoft.com/office/drawing/2014/main" id="{1AC99F5F-8725-EA24-43A2-D5E3E01358F1}"/>
                  </a:ext>
                </a:extLst>
              </p:cNvPr>
              <p:cNvSpPr/>
              <p:nvPr/>
            </p:nvSpPr>
            <p:spPr>
              <a:xfrm>
                <a:off x="1672735" y="3961801"/>
                <a:ext cx="3393278" cy="2216967"/>
              </a:xfrm>
              <a:custGeom>
                <a:avLst/>
                <a:gdLst>
                  <a:gd name="connsiteX0" fmla="*/ 90759 w 3393278"/>
                  <a:gd name="connsiteY0" fmla="*/ 2207767 h 2216967"/>
                  <a:gd name="connsiteX1" fmla="*/ 0 w 3393278"/>
                  <a:gd name="connsiteY1" fmla="*/ 2177195 h 2216967"/>
                  <a:gd name="connsiteX2" fmla="*/ 0 w 3393278"/>
                  <a:gd name="connsiteY2" fmla="*/ 90759 h 2216967"/>
                  <a:gd name="connsiteX3" fmla="*/ 90759 w 3393278"/>
                  <a:gd name="connsiteY3" fmla="*/ 0 h 2216967"/>
                  <a:gd name="connsiteX4" fmla="*/ 3302520 w 3393278"/>
                  <a:gd name="connsiteY4" fmla="*/ 0 h 2216967"/>
                  <a:gd name="connsiteX5" fmla="*/ 3393278 w 3393278"/>
                  <a:gd name="connsiteY5" fmla="*/ 90759 h 2216967"/>
                  <a:gd name="connsiteX6" fmla="*/ 3393278 w 3393278"/>
                  <a:gd name="connsiteY6" fmla="*/ 2177195 h 2216967"/>
                  <a:gd name="connsiteX7" fmla="*/ 3302931 w 3393278"/>
                  <a:gd name="connsiteY7" fmla="*/ 2215856 h 2216967"/>
                  <a:gd name="connsiteX8" fmla="*/ 90786 w 3393278"/>
                  <a:gd name="connsiteY8" fmla="*/ 2207794 h 2216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3278" h="2216967">
                    <a:moveTo>
                      <a:pt x="90759" y="2207767"/>
                    </a:moveTo>
                    <a:cubicBezTo>
                      <a:pt x="40718" y="2207767"/>
                      <a:pt x="0" y="2227235"/>
                      <a:pt x="0" y="2177195"/>
                    </a:cubicBezTo>
                    <a:lnTo>
                      <a:pt x="0" y="90759"/>
                    </a:lnTo>
                    <a:cubicBezTo>
                      <a:pt x="0" y="40718"/>
                      <a:pt x="40718" y="0"/>
                      <a:pt x="90759" y="0"/>
                    </a:cubicBezTo>
                    <a:lnTo>
                      <a:pt x="3302520" y="0"/>
                    </a:lnTo>
                    <a:cubicBezTo>
                      <a:pt x="3352560" y="0"/>
                      <a:pt x="3393278" y="40718"/>
                      <a:pt x="3393278" y="90759"/>
                    </a:cubicBezTo>
                    <a:lnTo>
                      <a:pt x="3393278" y="2177195"/>
                    </a:lnTo>
                    <a:cubicBezTo>
                      <a:pt x="3393278" y="2227235"/>
                      <a:pt x="3352971" y="2215856"/>
                      <a:pt x="3302931" y="2215856"/>
                    </a:cubicBezTo>
                    <a:lnTo>
                      <a:pt x="90786" y="2207794"/>
                    </a:lnTo>
                    <a:close/>
                  </a:path>
                </a:pathLst>
              </a:custGeom>
              <a:solidFill>
                <a:srgbClr val="000000"/>
              </a:solidFill>
              <a:ln w="2742" cap="flat">
                <a:noFill/>
                <a:prstDash val="solid"/>
                <a:miter/>
              </a:ln>
            </p:spPr>
            <p:txBody>
              <a:bodyPr rtlCol="0" anchor="ctr"/>
              <a:lstStyle/>
              <a:p>
                <a:pPr defTabSz="829549"/>
                <a:endParaRPr lang="en-US" sz="1270" dirty="0">
                  <a:ea typeface="+mn-ea"/>
                </a:endParaRPr>
              </a:p>
            </p:txBody>
          </p:sp>
          <p:sp>
            <p:nvSpPr>
              <p:cNvPr id="66" name="Freeform: Shape 65">
                <a:extLst>
                  <a:ext uri="{FF2B5EF4-FFF2-40B4-BE49-F238E27FC236}">
                    <a16:creationId xmlns:a16="http://schemas.microsoft.com/office/drawing/2014/main" id="{AEF3E72F-2010-3417-5E0A-56196962FA28}"/>
                  </a:ext>
                </a:extLst>
              </p:cNvPr>
              <p:cNvSpPr/>
              <p:nvPr/>
            </p:nvSpPr>
            <p:spPr>
              <a:xfrm>
                <a:off x="3175134" y="3864105"/>
                <a:ext cx="1994278" cy="2460547"/>
              </a:xfrm>
              <a:custGeom>
                <a:avLst/>
                <a:gdLst>
                  <a:gd name="connsiteX0" fmla="*/ 1809608 w 1994278"/>
                  <a:gd name="connsiteY0" fmla="*/ 0 h 2460547"/>
                  <a:gd name="connsiteX1" fmla="*/ 0 w 1994278"/>
                  <a:gd name="connsiteY1" fmla="*/ 274 h 2460547"/>
                  <a:gd name="connsiteX2" fmla="*/ 701447 w 1994278"/>
                  <a:gd name="connsiteY2" fmla="*/ 2460548 h 2460547"/>
                  <a:gd name="connsiteX3" fmla="*/ 1809608 w 1994278"/>
                  <a:gd name="connsiteY3" fmla="*/ 2460274 h 2460547"/>
                  <a:gd name="connsiteX4" fmla="*/ 1994278 w 1994278"/>
                  <a:gd name="connsiteY4" fmla="*/ 2303105 h 2460547"/>
                  <a:gd name="connsiteX5" fmla="*/ 1994278 w 1994278"/>
                  <a:gd name="connsiteY5" fmla="*/ 157169 h 2460547"/>
                  <a:gd name="connsiteX6" fmla="*/ 1809608 w 1994278"/>
                  <a:gd name="connsiteY6" fmla="*/ 0 h 246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4278" h="2460547">
                    <a:moveTo>
                      <a:pt x="1809608" y="0"/>
                    </a:moveTo>
                    <a:lnTo>
                      <a:pt x="0" y="274"/>
                    </a:lnTo>
                    <a:lnTo>
                      <a:pt x="701447" y="2460548"/>
                    </a:lnTo>
                    <a:lnTo>
                      <a:pt x="1809608" y="2460274"/>
                    </a:lnTo>
                    <a:cubicBezTo>
                      <a:pt x="1911581" y="2460274"/>
                      <a:pt x="1994278" y="2389888"/>
                      <a:pt x="1994278" y="2303105"/>
                    </a:cubicBezTo>
                    <a:lnTo>
                      <a:pt x="1994278" y="157169"/>
                    </a:lnTo>
                    <a:cubicBezTo>
                      <a:pt x="1994278" y="70358"/>
                      <a:pt x="1911608" y="0"/>
                      <a:pt x="1809608" y="0"/>
                    </a:cubicBezTo>
                    <a:close/>
                  </a:path>
                </a:pathLst>
              </a:custGeom>
              <a:solidFill>
                <a:srgbClr val="FFFFFF">
                  <a:alpha val="5000"/>
                </a:srgbClr>
              </a:solidFill>
              <a:ln w="2742" cap="flat">
                <a:noFill/>
                <a:prstDash val="solid"/>
                <a:miter/>
              </a:ln>
            </p:spPr>
            <p:txBody>
              <a:bodyPr rtlCol="0" anchor="ctr"/>
              <a:lstStyle/>
              <a:p>
                <a:pPr defTabSz="829549"/>
                <a:endParaRPr lang="en-US" sz="1270" dirty="0">
                  <a:ea typeface="+mn-ea"/>
                </a:endParaRPr>
              </a:p>
            </p:txBody>
          </p:sp>
        </p:grpSp>
        <p:sp>
          <p:nvSpPr>
            <p:cNvPr id="37" name="Freeform: Shape 36">
              <a:extLst>
                <a:ext uri="{FF2B5EF4-FFF2-40B4-BE49-F238E27FC236}">
                  <a16:creationId xmlns:a16="http://schemas.microsoft.com/office/drawing/2014/main" id="{F8176E43-CC77-D0D4-EF32-58FA8854FFB6}"/>
                </a:ext>
              </a:extLst>
            </p:cNvPr>
            <p:cNvSpPr/>
            <p:nvPr/>
          </p:nvSpPr>
          <p:spPr>
            <a:xfrm>
              <a:off x="1672735" y="6067732"/>
              <a:ext cx="3393250" cy="7732"/>
            </a:xfrm>
            <a:custGeom>
              <a:avLst/>
              <a:gdLst>
                <a:gd name="connsiteX0" fmla="*/ 0 w 3393250"/>
                <a:gd name="connsiteY0" fmla="*/ 0 h 7732"/>
                <a:gd name="connsiteX1" fmla="*/ 3393251 w 3393250"/>
                <a:gd name="connsiteY1" fmla="*/ 0 h 7732"/>
                <a:gd name="connsiteX2" fmla="*/ 3393251 w 3393250"/>
                <a:gd name="connsiteY2" fmla="*/ 7732 h 7732"/>
                <a:gd name="connsiteX3" fmla="*/ 0 w 3393250"/>
                <a:gd name="connsiteY3" fmla="*/ 7732 h 7732"/>
              </a:gdLst>
              <a:ahLst/>
              <a:cxnLst>
                <a:cxn ang="0">
                  <a:pos x="connsiteX0" y="connsiteY0"/>
                </a:cxn>
                <a:cxn ang="0">
                  <a:pos x="connsiteX1" y="connsiteY1"/>
                </a:cxn>
                <a:cxn ang="0">
                  <a:pos x="connsiteX2" y="connsiteY2"/>
                </a:cxn>
                <a:cxn ang="0">
                  <a:pos x="connsiteX3" y="connsiteY3"/>
                </a:cxn>
              </a:cxnLst>
              <a:rect l="l" t="t" r="r" b="b"/>
              <a:pathLst>
                <a:path w="3393250" h="7732">
                  <a:moveTo>
                    <a:pt x="0" y="0"/>
                  </a:moveTo>
                  <a:lnTo>
                    <a:pt x="3393251" y="0"/>
                  </a:lnTo>
                  <a:lnTo>
                    <a:pt x="3393251" y="7732"/>
                  </a:lnTo>
                  <a:lnTo>
                    <a:pt x="0" y="7732"/>
                  </a:lnTo>
                  <a:close/>
                </a:path>
              </a:pathLst>
            </a:custGeom>
            <a:solidFill>
              <a:srgbClr val="404041"/>
            </a:solidFill>
            <a:ln w="2742" cap="flat">
              <a:noFill/>
              <a:prstDash val="solid"/>
              <a:miter/>
            </a:ln>
          </p:spPr>
          <p:txBody>
            <a:bodyPr rtlCol="0" anchor="ctr"/>
            <a:lstStyle/>
            <a:p>
              <a:pPr defTabSz="829549"/>
              <a:endParaRPr lang="en-US" sz="1270" dirty="0">
                <a:ea typeface="+mn-ea"/>
              </a:endParaRPr>
            </a:p>
          </p:txBody>
        </p:sp>
        <p:grpSp>
          <p:nvGrpSpPr>
            <p:cNvPr id="38" name="Graphic 2">
              <a:extLst>
                <a:ext uri="{FF2B5EF4-FFF2-40B4-BE49-F238E27FC236}">
                  <a16:creationId xmlns:a16="http://schemas.microsoft.com/office/drawing/2014/main" id="{FC314D20-0003-1153-5603-87B8B10E4E5A}"/>
                </a:ext>
              </a:extLst>
            </p:cNvPr>
            <p:cNvGrpSpPr/>
            <p:nvPr/>
          </p:nvGrpSpPr>
          <p:grpSpPr>
            <a:xfrm>
              <a:off x="3355034" y="3982421"/>
              <a:ext cx="28680" cy="28872"/>
              <a:chOff x="3355034" y="3982421"/>
              <a:chExt cx="28680" cy="28872"/>
            </a:xfrm>
          </p:grpSpPr>
          <p:sp>
            <p:nvSpPr>
              <p:cNvPr id="60" name="Freeform: Shape 59">
                <a:extLst>
                  <a:ext uri="{FF2B5EF4-FFF2-40B4-BE49-F238E27FC236}">
                    <a16:creationId xmlns:a16="http://schemas.microsoft.com/office/drawing/2014/main" id="{F1F08CAB-4A43-DB37-04EE-C4BAB5D46800}"/>
                  </a:ext>
                </a:extLst>
              </p:cNvPr>
              <p:cNvSpPr/>
              <p:nvPr/>
            </p:nvSpPr>
            <p:spPr>
              <a:xfrm>
                <a:off x="3355746" y="3983325"/>
                <a:ext cx="27967" cy="27967"/>
              </a:xfrm>
              <a:custGeom>
                <a:avLst/>
                <a:gdLst>
                  <a:gd name="connsiteX0" fmla="*/ 27968 w 27967"/>
                  <a:gd name="connsiteY0" fmla="*/ 13984 h 27967"/>
                  <a:gd name="connsiteX1" fmla="*/ 13984 w 27967"/>
                  <a:gd name="connsiteY1" fmla="*/ 0 h 27967"/>
                  <a:gd name="connsiteX2" fmla="*/ 0 w 27967"/>
                  <a:gd name="connsiteY2" fmla="*/ 13984 h 27967"/>
                  <a:gd name="connsiteX3" fmla="*/ 13984 w 27967"/>
                  <a:gd name="connsiteY3" fmla="*/ 27968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6252"/>
                      <a:pt x="21689" y="0"/>
                      <a:pt x="13984" y="0"/>
                    </a:cubicBezTo>
                    <a:cubicBezTo>
                      <a:pt x="6279" y="0"/>
                      <a:pt x="0" y="6279"/>
                      <a:pt x="0" y="13984"/>
                    </a:cubicBezTo>
                    <a:cubicBezTo>
                      <a:pt x="0" y="21689"/>
                      <a:pt x="6252" y="27968"/>
                      <a:pt x="13984" y="27968"/>
                    </a:cubicBezTo>
                    <a:cubicBezTo>
                      <a:pt x="21716" y="27968"/>
                      <a:pt x="27968" y="21689"/>
                      <a:pt x="27968" y="13984"/>
                    </a:cubicBezTo>
                    <a:close/>
                  </a:path>
                </a:pathLst>
              </a:custGeom>
              <a:solidFill>
                <a:srgbClr val="58595B"/>
              </a:solidFill>
              <a:ln w="2742" cap="flat">
                <a:noFill/>
                <a:prstDash val="solid"/>
                <a:miter/>
              </a:ln>
            </p:spPr>
            <p:txBody>
              <a:bodyPr rtlCol="0" anchor="ctr"/>
              <a:lstStyle/>
              <a:p>
                <a:pPr defTabSz="829549"/>
                <a:endParaRPr lang="en-US" sz="1270" dirty="0">
                  <a:ea typeface="+mn-ea"/>
                </a:endParaRPr>
              </a:p>
            </p:txBody>
          </p:sp>
          <p:sp>
            <p:nvSpPr>
              <p:cNvPr id="61" name="Freeform: Shape 60">
                <a:extLst>
                  <a:ext uri="{FF2B5EF4-FFF2-40B4-BE49-F238E27FC236}">
                    <a16:creationId xmlns:a16="http://schemas.microsoft.com/office/drawing/2014/main" id="{A294E142-418B-F895-D319-E06C526E4936}"/>
                  </a:ext>
                </a:extLst>
              </p:cNvPr>
              <p:cNvSpPr/>
              <p:nvPr/>
            </p:nvSpPr>
            <p:spPr>
              <a:xfrm>
                <a:off x="3355034" y="3982421"/>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8F8F8F"/>
              </a:solidFill>
              <a:ln w="2742" cap="flat">
                <a:noFill/>
                <a:prstDash val="solid"/>
                <a:miter/>
              </a:ln>
            </p:spPr>
            <p:txBody>
              <a:bodyPr rtlCol="0" anchor="ctr"/>
              <a:lstStyle/>
              <a:p>
                <a:pPr defTabSz="829549"/>
                <a:endParaRPr lang="en-US" sz="1270" dirty="0">
                  <a:ea typeface="+mn-ea"/>
                </a:endParaRPr>
              </a:p>
            </p:txBody>
          </p:sp>
          <p:sp>
            <p:nvSpPr>
              <p:cNvPr id="62" name="Freeform: Shape 61">
                <a:extLst>
                  <a:ext uri="{FF2B5EF4-FFF2-40B4-BE49-F238E27FC236}">
                    <a16:creationId xmlns:a16="http://schemas.microsoft.com/office/drawing/2014/main" id="{FB5A8FB7-4613-84A2-FA22-16CAF3034AEA}"/>
                  </a:ext>
                </a:extLst>
              </p:cNvPr>
              <p:cNvSpPr/>
              <p:nvPr/>
            </p:nvSpPr>
            <p:spPr>
              <a:xfrm>
                <a:off x="3357035" y="3984422"/>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231F20"/>
              </a:solidFill>
              <a:ln w="2742" cap="flat">
                <a:noFill/>
                <a:prstDash val="solid"/>
                <a:miter/>
              </a:ln>
            </p:spPr>
            <p:txBody>
              <a:bodyPr rtlCol="0" anchor="ctr"/>
              <a:lstStyle/>
              <a:p>
                <a:pPr defTabSz="829549"/>
                <a:endParaRPr lang="en-US" sz="1270" dirty="0">
                  <a:ea typeface="+mn-ea"/>
                </a:endParaRPr>
              </a:p>
            </p:txBody>
          </p:sp>
          <p:sp>
            <p:nvSpPr>
              <p:cNvPr id="63" name="Freeform: Shape 62">
                <a:extLst>
                  <a:ext uri="{FF2B5EF4-FFF2-40B4-BE49-F238E27FC236}">
                    <a16:creationId xmlns:a16="http://schemas.microsoft.com/office/drawing/2014/main" id="{5AF11FFA-584E-154C-35D7-E63B2F5FF438}"/>
                  </a:ext>
                </a:extLst>
              </p:cNvPr>
              <p:cNvSpPr/>
              <p:nvPr/>
            </p:nvSpPr>
            <p:spPr>
              <a:xfrm>
                <a:off x="3360874" y="3988261"/>
                <a:ext cx="16287" cy="16287"/>
              </a:xfrm>
              <a:custGeom>
                <a:avLst/>
                <a:gdLst>
                  <a:gd name="connsiteX0" fmla="*/ 16287 w 16287"/>
                  <a:gd name="connsiteY0" fmla="*/ 8144 h 16287"/>
                  <a:gd name="connsiteX1" fmla="*/ 8144 w 16287"/>
                  <a:gd name="connsiteY1" fmla="*/ 16287 h 16287"/>
                  <a:gd name="connsiteX2" fmla="*/ 0 w 16287"/>
                  <a:gd name="connsiteY2" fmla="*/ 8144 h 16287"/>
                  <a:gd name="connsiteX3" fmla="*/ 8144 w 16287"/>
                  <a:gd name="connsiteY3" fmla="*/ 0 h 16287"/>
                  <a:gd name="connsiteX4" fmla="*/ 16287 w 16287"/>
                  <a:gd name="connsiteY4" fmla="*/ 8144 h 16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7" h="16287">
                    <a:moveTo>
                      <a:pt x="16287" y="8144"/>
                    </a:moveTo>
                    <a:cubicBezTo>
                      <a:pt x="16287" y="12641"/>
                      <a:pt x="12641" y="16287"/>
                      <a:pt x="8144" y="16287"/>
                    </a:cubicBezTo>
                    <a:cubicBezTo>
                      <a:pt x="3646" y="16287"/>
                      <a:pt x="0" y="12641"/>
                      <a:pt x="0" y="8144"/>
                    </a:cubicBezTo>
                    <a:cubicBezTo>
                      <a:pt x="0" y="3646"/>
                      <a:pt x="3646" y="0"/>
                      <a:pt x="8144" y="0"/>
                    </a:cubicBezTo>
                    <a:cubicBezTo>
                      <a:pt x="12641" y="0"/>
                      <a:pt x="16287" y="3646"/>
                      <a:pt x="16287" y="8144"/>
                    </a:cubicBezTo>
                    <a:close/>
                  </a:path>
                </a:pathLst>
              </a:custGeom>
              <a:solidFill>
                <a:srgbClr val="454545"/>
              </a:solidFill>
              <a:ln w="2742" cap="flat">
                <a:noFill/>
                <a:prstDash val="solid"/>
                <a:miter/>
              </a:ln>
            </p:spPr>
            <p:txBody>
              <a:bodyPr rtlCol="0" anchor="ctr"/>
              <a:lstStyle/>
              <a:p>
                <a:pPr defTabSz="829549"/>
                <a:endParaRPr lang="en-US" sz="1270" dirty="0">
                  <a:ea typeface="+mn-ea"/>
                </a:endParaRPr>
              </a:p>
            </p:txBody>
          </p:sp>
          <p:sp>
            <p:nvSpPr>
              <p:cNvPr id="64" name="Freeform: Shape 63">
                <a:extLst>
                  <a:ext uri="{FF2B5EF4-FFF2-40B4-BE49-F238E27FC236}">
                    <a16:creationId xmlns:a16="http://schemas.microsoft.com/office/drawing/2014/main" id="{10F3A871-72D6-11CA-B74D-0B111EE2F821}"/>
                  </a:ext>
                </a:extLst>
              </p:cNvPr>
              <p:cNvSpPr/>
              <p:nvPr/>
            </p:nvSpPr>
            <p:spPr>
              <a:xfrm>
                <a:off x="3366742" y="3994129"/>
                <a:ext cx="4551" cy="4551"/>
              </a:xfrm>
              <a:custGeom>
                <a:avLst/>
                <a:gdLst>
                  <a:gd name="connsiteX0" fmla="*/ 4552 w 4551"/>
                  <a:gd name="connsiteY0" fmla="*/ 2276 h 4551"/>
                  <a:gd name="connsiteX1" fmla="*/ 2276 w 4551"/>
                  <a:gd name="connsiteY1" fmla="*/ 4552 h 4551"/>
                  <a:gd name="connsiteX2" fmla="*/ 0 w 4551"/>
                  <a:gd name="connsiteY2" fmla="*/ 2276 h 4551"/>
                  <a:gd name="connsiteX3" fmla="*/ 2276 w 4551"/>
                  <a:gd name="connsiteY3" fmla="*/ 0 h 4551"/>
                  <a:gd name="connsiteX4" fmla="*/ 4552 w 4551"/>
                  <a:gd name="connsiteY4" fmla="*/ 2276 h 4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 h="4551">
                    <a:moveTo>
                      <a:pt x="4552" y="2276"/>
                    </a:moveTo>
                    <a:cubicBezTo>
                      <a:pt x="4552" y="3533"/>
                      <a:pt x="3533" y="4552"/>
                      <a:pt x="2276" y="4552"/>
                    </a:cubicBezTo>
                    <a:cubicBezTo>
                      <a:pt x="1019" y="4552"/>
                      <a:pt x="0" y="3533"/>
                      <a:pt x="0" y="2276"/>
                    </a:cubicBezTo>
                    <a:cubicBezTo>
                      <a:pt x="0" y="1019"/>
                      <a:pt x="1019" y="0"/>
                      <a:pt x="2276" y="0"/>
                    </a:cubicBezTo>
                    <a:cubicBezTo>
                      <a:pt x="3533" y="0"/>
                      <a:pt x="4552" y="1019"/>
                      <a:pt x="4552" y="2276"/>
                    </a:cubicBezTo>
                    <a:close/>
                  </a:path>
                </a:pathLst>
              </a:custGeom>
              <a:solidFill>
                <a:srgbClr val="000000"/>
              </a:solidFill>
              <a:ln w="2742" cap="flat">
                <a:noFill/>
                <a:prstDash val="solid"/>
                <a:miter/>
              </a:ln>
            </p:spPr>
            <p:txBody>
              <a:bodyPr rtlCol="0" anchor="ctr"/>
              <a:lstStyle/>
              <a:p>
                <a:pPr defTabSz="829549"/>
                <a:endParaRPr lang="en-US" sz="1270" dirty="0">
                  <a:ea typeface="+mn-ea"/>
                </a:endParaRPr>
              </a:p>
            </p:txBody>
          </p:sp>
        </p:grpSp>
        <p:grpSp>
          <p:nvGrpSpPr>
            <p:cNvPr id="39" name="Graphic 2">
              <a:extLst>
                <a:ext uri="{FF2B5EF4-FFF2-40B4-BE49-F238E27FC236}">
                  <a16:creationId xmlns:a16="http://schemas.microsoft.com/office/drawing/2014/main" id="{B0335CC3-6E90-9358-DEE2-D09F0E5B224A}"/>
                </a:ext>
              </a:extLst>
            </p:cNvPr>
            <p:cNvGrpSpPr/>
            <p:nvPr/>
          </p:nvGrpSpPr>
          <p:grpSpPr>
            <a:xfrm>
              <a:off x="1329003" y="6140915"/>
              <a:ext cx="4080768" cy="99615"/>
              <a:chOff x="1329003" y="6140915"/>
              <a:chExt cx="4080768" cy="99615"/>
            </a:xfrm>
          </p:grpSpPr>
          <p:sp>
            <p:nvSpPr>
              <p:cNvPr id="40" name="Freeform: Shape 39">
                <a:extLst>
                  <a:ext uri="{FF2B5EF4-FFF2-40B4-BE49-F238E27FC236}">
                    <a16:creationId xmlns:a16="http://schemas.microsoft.com/office/drawing/2014/main" id="{0D9B8A62-742D-F47A-F5D0-C09F4A72930F}"/>
                  </a:ext>
                </a:extLst>
              </p:cNvPr>
              <p:cNvSpPr/>
              <p:nvPr/>
            </p:nvSpPr>
            <p:spPr>
              <a:xfrm>
                <a:off x="1329003" y="6140915"/>
                <a:ext cx="4080740" cy="48559"/>
              </a:xfrm>
              <a:custGeom>
                <a:avLst/>
                <a:gdLst>
                  <a:gd name="connsiteX0" fmla="*/ 4080741 w 4080740"/>
                  <a:gd name="connsiteY0" fmla="*/ 0 h 48559"/>
                  <a:gd name="connsiteX1" fmla="*/ 2040371 w 4080740"/>
                  <a:gd name="connsiteY1" fmla="*/ 0 h 48559"/>
                  <a:gd name="connsiteX2" fmla="*/ 0 w 4080740"/>
                  <a:gd name="connsiteY2" fmla="*/ 0 h 48559"/>
                  <a:gd name="connsiteX3" fmla="*/ 0 w 4080740"/>
                  <a:gd name="connsiteY3" fmla="*/ 48560 h 48559"/>
                  <a:gd name="connsiteX4" fmla="*/ 4080741 w 4080740"/>
                  <a:gd name="connsiteY4" fmla="*/ 48560 h 48559"/>
                  <a:gd name="connsiteX5" fmla="*/ 4080741 w 4080740"/>
                  <a:gd name="connsiteY5" fmla="*/ 0 h 48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0740" h="48559">
                    <a:moveTo>
                      <a:pt x="4080741" y="0"/>
                    </a:moveTo>
                    <a:lnTo>
                      <a:pt x="2040371" y="0"/>
                    </a:lnTo>
                    <a:lnTo>
                      <a:pt x="0" y="0"/>
                    </a:lnTo>
                    <a:lnTo>
                      <a:pt x="0" y="48560"/>
                    </a:lnTo>
                    <a:lnTo>
                      <a:pt x="4080741" y="48560"/>
                    </a:lnTo>
                    <a:lnTo>
                      <a:pt x="4080741" y="0"/>
                    </a:lnTo>
                    <a:close/>
                  </a:path>
                </a:pathLst>
              </a:custGeom>
              <a:solidFill>
                <a:srgbClr val="000000"/>
              </a:solidFill>
              <a:ln w="2742" cap="flat">
                <a:noFill/>
                <a:prstDash val="solid"/>
                <a:miter/>
              </a:ln>
            </p:spPr>
            <p:txBody>
              <a:bodyPr rtlCol="0" anchor="ctr"/>
              <a:lstStyle/>
              <a:p>
                <a:pPr defTabSz="829549"/>
                <a:endParaRPr lang="en-US" sz="1270" dirty="0">
                  <a:ea typeface="+mn-ea"/>
                </a:endParaRPr>
              </a:p>
            </p:txBody>
          </p:sp>
          <p:sp>
            <p:nvSpPr>
              <p:cNvPr id="41" name="Freeform: Shape 40">
                <a:extLst>
                  <a:ext uri="{FF2B5EF4-FFF2-40B4-BE49-F238E27FC236}">
                    <a16:creationId xmlns:a16="http://schemas.microsoft.com/office/drawing/2014/main" id="{AD5ABEDA-1917-4DE0-5AD9-CCEF8BE89BD1}"/>
                  </a:ext>
                </a:extLst>
              </p:cNvPr>
              <p:cNvSpPr/>
              <p:nvPr/>
            </p:nvSpPr>
            <p:spPr>
              <a:xfrm>
                <a:off x="1329003" y="6189475"/>
                <a:ext cx="4080768" cy="51055"/>
              </a:xfrm>
              <a:custGeom>
                <a:avLst/>
                <a:gdLst>
                  <a:gd name="connsiteX0" fmla="*/ 0 w 4080768"/>
                  <a:gd name="connsiteY0" fmla="*/ 0 h 51055"/>
                  <a:gd name="connsiteX1" fmla="*/ 0 w 4080768"/>
                  <a:gd name="connsiteY1" fmla="*/ 0 h 51055"/>
                  <a:gd name="connsiteX2" fmla="*/ 221385 w 4080768"/>
                  <a:gd name="connsiteY2" fmla="*/ 51001 h 51055"/>
                  <a:gd name="connsiteX3" fmla="*/ 2040398 w 4080768"/>
                  <a:gd name="connsiteY3" fmla="*/ 51055 h 51055"/>
                  <a:gd name="connsiteX4" fmla="*/ 3859383 w 4080768"/>
                  <a:gd name="connsiteY4" fmla="*/ 51001 h 51055"/>
                  <a:gd name="connsiteX5" fmla="*/ 4080769 w 4080768"/>
                  <a:gd name="connsiteY5" fmla="*/ 55 h 51055"/>
                  <a:gd name="connsiteX6" fmla="*/ 4080769 w 4080768"/>
                  <a:gd name="connsiteY6" fmla="*/ 55 h 51055"/>
                  <a:gd name="connsiteX7" fmla="*/ 0 w 4080768"/>
                  <a:gd name="connsiteY7" fmla="*/ 27 h 5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0768" h="51055">
                    <a:moveTo>
                      <a:pt x="0" y="0"/>
                    </a:moveTo>
                    <a:lnTo>
                      <a:pt x="0" y="0"/>
                    </a:lnTo>
                    <a:cubicBezTo>
                      <a:pt x="0" y="0"/>
                      <a:pt x="128269" y="52755"/>
                      <a:pt x="221385" y="51001"/>
                    </a:cubicBezTo>
                    <a:lnTo>
                      <a:pt x="2040398" y="51055"/>
                    </a:lnTo>
                    <a:lnTo>
                      <a:pt x="3859383" y="51001"/>
                    </a:lnTo>
                    <a:cubicBezTo>
                      <a:pt x="3952527" y="52755"/>
                      <a:pt x="4080769" y="55"/>
                      <a:pt x="4080769" y="55"/>
                    </a:cubicBezTo>
                    <a:lnTo>
                      <a:pt x="4080769" y="55"/>
                    </a:lnTo>
                    <a:cubicBezTo>
                      <a:pt x="4080769" y="55"/>
                      <a:pt x="0" y="27"/>
                      <a:pt x="0" y="27"/>
                    </a:cubicBezTo>
                    <a:close/>
                  </a:path>
                </a:pathLst>
              </a:custGeom>
              <a:solidFill>
                <a:srgbClr val="000000"/>
              </a:solidFill>
              <a:ln w="2742" cap="flat">
                <a:noFill/>
                <a:prstDash val="solid"/>
                <a:miter/>
              </a:ln>
            </p:spPr>
            <p:txBody>
              <a:bodyPr rtlCol="0" anchor="ctr"/>
              <a:lstStyle/>
              <a:p>
                <a:pPr defTabSz="829549"/>
                <a:endParaRPr lang="en-US" sz="1270" dirty="0">
                  <a:ea typeface="+mn-ea"/>
                </a:endParaRPr>
              </a:p>
            </p:txBody>
          </p:sp>
          <p:sp>
            <p:nvSpPr>
              <p:cNvPr id="42" name="Freeform: Shape 41">
                <a:extLst>
                  <a:ext uri="{FF2B5EF4-FFF2-40B4-BE49-F238E27FC236}">
                    <a16:creationId xmlns:a16="http://schemas.microsoft.com/office/drawing/2014/main" id="{369E1334-74E6-C256-D737-8B23AC47AB1D}"/>
                  </a:ext>
                </a:extLst>
              </p:cNvPr>
              <p:cNvSpPr/>
              <p:nvPr/>
            </p:nvSpPr>
            <p:spPr>
              <a:xfrm>
                <a:off x="5398886" y="6140915"/>
                <a:ext cx="10858" cy="48560"/>
              </a:xfrm>
              <a:custGeom>
                <a:avLst/>
                <a:gdLst>
                  <a:gd name="connsiteX0" fmla="*/ 0 w 10858"/>
                  <a:gd name="connsiteY0" fmla="*/ 0 h 48560"/>
                  <a:gd name="connsiteX1" fmla="*/ 10858 w 10858"/>
                  <a:gd name="connsiteY1" fmla="*/ 0 h 48560"/>
                  <a:gd name="connsiteX2" fmla="*/ 10858 w 10858"/>
                  <a:gd name="connsiteY2" fmla="*/ 48560 h 48560"/>
                  <a:gd name="connsiteX3" fmla="*/ 0 w 10858"/>
                  <a:gd name="connsiteY3" fmla="*/ 48560 h 48560"/>
                </a:gdLst>
                <a:ahLst/>
                <a:cxnLst>
                  <a:cxn ang="0">
                    <a:pos x="connsiteX0" y="connsiteY0"/>
                  </a:cxn>
                  <a:cxn ang="0">
                    <a:pos x="connsiteX1" y="connsiteY1"/>
                  </a:cxn>
                  <a:cxn ang="0">
                    <a:pos x="connsiteX2" y="connsiteY2"/>
                  </a:cxn>
                  <a:cxn ang="0">
                    <a:pos x="connsiteX3" y="connsiteY3"/>
                  </a:cxn>
                </a:cxnLst>
                <a:rect l="l" t="t" r="r" b="b"/>
                <a:pathLst>
                  <a:path w="10858" h="48560">
                    <a:moveTo>
                      <a:pt x="0" y="0"/>
                    </a:moveTo>
                    <a:lnTo>
                      <a:pt x="10858" y="0"/>
                    </a:lnTo>
                    <a:lnTo>
                      <a:pt x="10858" y="48560"/>
                    </a:lnTo>
                    <a:lnTo>
                      <a:pt x="0" y="48560"/>
                    </a:lnTo>
                    <a:close/>
                  </a:path>
                </a:pathLst>
              </a:custGeom>
              <a:solidFill>
                <a:srgbClr val="E6E7E8"/>
              </a:solidFill>
              <a:ln w="2742" cap="flat">
                <a:noFill/>
                <a:prstDash val="solid"/>
                <a:miter/>
              </a:ln>
            </p:spPr>
            <p:txBody>
              <a:bodyPr rtlCol="0" anchor="ctr"/>
              <a:lstStyle/>
              <a:p>
                <a:pPr defTabSz="829549"/>
                <a:endParaRPr lang="en-US" sz="1270" dirty="0">
                  <a:ea typeface="+mn-ea"/>
                </a:endParaRPr>
              </a:p>
            </p:txBody>
          </p:sp>
          <p:sp>
            <p:nvSpPr>
              <p:cNvPr id="43" name="Freeform: Shape 42">
                <a:extLst>
                  <a:ext uri="{FF2B5EF4-FFF2-40B4-BE49-F238E27FC236}">
                    <a16:creationId xmlns:a16="http://schemas.microsoft.com/office/drawing/2014/main" id="{1A1F23B2-E2C2-CD87-9A26-52E636ED63D5}"/>
                  </a:ext>
                </a:extLst>
              </p:cNvPr>
              <p:cNvSpPr/>
              <p:nvPr/>
            </p:nvSpPr>
            <p:spPr>
              <a:xfrm>
                <a:off x="1329278" y="6140915"/>
                <a:ext cx="10858" cy="48560"/>
              </a:xfrm>
              <a:custGeom>
                <a:avLst/>
                <a:gdLst>
                  <a:gd name="connsiteX0" fmla="*/ 0 w 10858"/>
                  <a:gd name="connsiteY0" fmla="*/ 0 h 48560"/>
                  <a:gd name="connsiteX1" fmla="*/ 10858 w 10858"/>
                  <a:gd name="connsiteY1" fmla="*/ 0 h 48560"/>
                  <a:gd name="connsiteX2" fmla="*/ 10858 w 10858"/>
                  <a:gd name="connsiteY2" fmla="*/ 48560 h 48560"/>
                  <a:gd name="connsiteX3" fmla="*/ 0 w 10858"/>
                  <a:gd name="connsiteY3" fmla="*/ 48560 h 48560"/>
                </a:gdLst>
                <a:ahLst/>
                <a:cxnLst>
                  <a:cxn ang="0">
                    <a:pos x="connsiteX0" y="connsiteY0"/>
                  </a:cxn>
                  <a:cxn ang="0">
                    <a:pos x="connsiteX1" y="connsiteY1"/>
                  </a:cxn>
                  <a:cxn ang="0">
                    <a:pos x="connsiteX2" y="connsiteY2"/>
                  </a:cxn>
                  <a:cxn ang="0">
                    <a:pos x="connsiteX3" y="connsiteY3"/>
                  </a:cxn>
                </a:cxnLst>
                <a:rect l="l" t="t" r="r" b="b"/>
                <a:pathLst>
                  <a:path w="10858" h="48560">
                    <a:moveTo>
                      <a:pt x="0" y="0"/>
                    </a:moveTo>
                    <a:lnTo>
                      <a:pt x="10858" y="0"/>
                    </a:lnTo>
                    <a:lnTo>
                      <a:pt x="10858" y="48560"/>
                    </a:lnTo>
                    <a:lnTo>
                      <a:pt x="0" y="48560"/>
                    </a:lnTo>
                    <a:close/>
                  </a:path>
                </a:pathLst>
              </a:custGeom>
              <a:solidFill>
                <a:srgbClr val="E6E7E8"/>
              </a:solidFill>
              <a:ln w="2742" cap="flat">
                <a:noFill/>
                <a:prstDash val="solid"/>
                <a:miter/>
              </a:ln>
            </p:spPr>
            <p:txBody>
              <a:bodyPr rtlCol="0" anchor="ctr"/>
              <a:lstStyle/>
              <a:p>
                <a:pPr defTabSz="829549"/>
                <a:endParaRPr lang="en-US" sz="1270" dirty="0">
                  <a:ea typeface="+mn-ea"/>
                </a:endParaRPr>
              </a:p>
            </p:txBody>
          </p:sp>
          <p:grpSp>
            <p:nvGrpSpPr>
              <p:cNvPr id="44" name="Graphic 2">
                <a:extLst>
                  <a:ext uri="{FF2B5EF4-FFF2-40B4-BE49-F238E27FC236}">
                    <a16:creationId xmlns:a16="http://schemas.microsoft.com/office/drawing/2014/main" id="{D283A666-D1C0-C55D-7595-C2C282744EB1}"/>
                  </a:ext>
                </a:extLst>
              </p:cNvPr>
              <p:cNvGrpSpPr/>
              <p:nvPr/>
            </p:nvGrpSpPr>
            <p:grpSpPr>
              <a:xfrm>
                <a:off x="5069961" y="6151663"/>
                <a:ext cx="106223" cy="28872"/>
                <a:chOff x="5069961" y="6151663"/>
                <a:chExt cx="106223" cy="28872"/>
              </a:xfrm>
            </p:grpSpPr>
            <p:grpSp>
              <p:nvGrpSpPr>
                <p:cNvPr id="48" name="Graphic 2">
                  <a:extLst>
                    <a:ext uri="{FF2B5EF4-FFF2-40B4-BE49-F238E27FC236}">
                      <a16:creationId xmlns:a16="http://schemas.microsoft.com/office/drawing/2014/main" id="{070EE18D-2C11-E4D2-5711-71579EDAF2A1}"/>
                    </a:ext>
                  </a:extLst>
                </p:cNvPr>
                <p:cNvGrpSpPr/>
                <p:nvPr/>
              </p:nvGrpSpPr>
              <p:grpSpPr>
                <a:xfrm>
                  <a:off x="5069961" y="6158765"/>
                  <a:ext cx="14559" cy="14669"/>
                  <a:chOff x="5069961" y="6158765"/>
                  <a:chExt cx="14559" cy="14669"/>
                </a:xfrm>
              </p:grpSpPr>
              <p:sp>
                <p:nvSpPr>
                  <p:cNvPr id="57" name="Freeform: Shape 56">
                    <a:extLst>
                      <a:ext uri="{FF2B5EF4-FFF2-40B4-BE49-F238E27FC236}">
                        <a16:creationId xmlns:a16="http://schemas.microsoft.com/office/drawing/2014/main" id="{81043764-437B-0BF4-F79B-5414CA203541}"/>
                      </a:ext>
                    </a:extLst>
                  </p:cNvPr>
                  <p:cNvSpPr/>
                  <p:nvPr/>
                </p:nvSpPr>
                <p:spPr>
                  <a:xfrm>
                    <a:off x="5070318" y="6159231"/>
                    <a:ext cx="14203" cy="14203"/>
                  </a:xfrm>
                  <a:custGeom>
                    <a:avLst/>
                    <a:gdLst>
                      <a:gd name="connsiteX0" fmla="*/ 14203 w 14203"/>
                      <a:gd name="connsiteY0" fmla="*/ 7102 h 14203"/>
                      <a:gd name="connsiteX1" fmla="*/ 7102 w 14203"/>
                      <a:gd name="connsiteY1" fmla="*/ 0 h 14203"/>
                      <a:gd name="connsiteX2" fmla="*/ 0 w 14203"/>
                      <a:gd name="connsiteY2" fmla="*/ 7102 h 14203"/>
                      <a:gd name="connsiteX3" fmla="*/ 7102 w 14203"/>
                      <a:gd name="connsiteY3" fmla="*/ 14203 h 14203"/>
                      <a:gd name="connsiteX4" fmla="*/ 14203 w 14203"/>
                      <a:gd name="connsiteY4" fmla="*/ 7102 h 1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 h="14203">
                        <a:moveTo>
                          <a:pt x="14203" y="7102"/>
                        </a:moveTo>
                        <a:cubicBezTo>
                          <a:pt x="14203" y="3180"/>
                          <a:pt x="11023" y="0"/>
                          <a:pt x="7102" y="0"/>
                        </a:cubicBezTo>
                        <a:cubicBezTo>
                          <a:pt x="3181" y="0"/>
                          <a:pt x="0" y="3180"/>
                          <a:pt x="0" y="7102"/>
                        </a:cubicBezTo>
                        <a:cubicBezTo>
                          <a:pt x="0" y="11022"/>
                          <a:pt x="3181" y="14203"/>
                          <a:pt x="7102" y="14203"/>
                        </a:cubicBezTo>
                        <a:cubicBezTo>
                          <a:pt x="11023" y="14203"/>
                          <a:pt x="14203" y="11022"/>
                          <a:pt x="14203" y="7102"/>
                        </a:cubicBezTo>
                        <a:close/>
                      </a:path>
                    </a:pathLst>
                  </a:custGeom>
                  <a:solidFill>
                    <a:srgbClr val="58595B"/>
                  </a:solidFill>
                  <a:ln w="2742" cap="flat">
                    <a:noFill/>
                    <a:prstDash val="solid"/>
                    <a:miter/>
                  </a:ln>
                </p:spPr>
                <p:txBody>
                  <a:bodyPr rtlCol="0" anchor="ctr"/>
                  <a:lstStyle/>
                  <a:p>
                    <a:pPr defTabSz="829549"/>
                    <a:endParaRPr lang="en-US" sz="1270" dirty="0">
                      <a:ea typeface="+mn-ea"/>
                    </a:endParaRPr>
                  </a:p>
                </p:txBody>
              </p:sp>
              <p:sp>
                <p:nvSpPr>
                  <p:cNvPr id="58" name="Freeform: Shape 57">
                    <a:extLst>
                      <a:ext uri="{FF2B5EF4-FFF2-40B4-BE49-F238E27FC236}">
                        <a16:creationId xmlns:a16="http://schemas.microsoft.com/office/drawing/2014/main" id="{C8FC3EDE-475A-031A-1778-8D40431C88CA}"/>
                      </a:ext>
                    </a:extLst>
                  </p:cNvPr>
                  <p:cNvSpPr/>
                  <p:nvPr/>
                </p:nvSpPr>
                <p:spPr>
                  <a:xfrm>
                    <a:off x="5069961" y="6158765"/>
                    <a:ext cx="14203" cy="14203"/>
                  </a:xfrm>
                  <a:custGeom>
                    <a:avLst/>
                    <a:gdLst>
                      <a:gd name="connsiteX0" fmla="*/ 14203 w 14203"/>
                      <a:gd name="connsiteY0" fmla="*/ 7102 h 14203"/>
                      <a:gd name="connsiteX1" fmla="*/ 7102 w 14203"/>
                      <a:gd name="connsiteY1" fmla="*/ 0 h 14203"/>
                      <a:gd name="connsiteX2" fmla="*/ 0 w 14203"/>
                      <a:gd name="connsiteY2" fmla="*/ 7102 h 14203"/>
                      <a:gd name="connsiteX3" fmla="*/ 7102 w 14203"/>
                      <a:gd name="connsiteY3" fmla="*/ 14203 h 14203"/>
                      <a:gd name="connsiteX4" fmla="*/ 14203 w 14203"/>
                      <a:gd name="connsiteY4" fmla="*/ 7102 h 1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 h="14203">
                        <a:moveTo>
                          <a:pt x="14203" y="7102"/>
                        </a:moveTo>
                        <a:cubicBezTo>
                          <a:pt x="14203" y="3181"/>
                          <a:pt x="11023" y="0"/>
                          <a:pt x="7102" y="0"/>
                        </a:cubicBezTo>
                        <a:cubicBezTo>
                          <a:pt x="3181" y="0"/>
                          <a:pt x="0" y="3181"/>
                          <a:pt x="0" y="7102"/>
                        </a:cubicBezTo>
                        <a:cubicBezTo>
                          <a:pt x="0" y="11023"/>
                          <a:pt x="3181" y="14203"/>
                          <a:pt x="7102" y="14203"/>
                        </a:cubicBezTo>
                        <a:cubicBezTo>
                          <a:pt x="11023" y="14203"/>
                          <a:pt x="14203" y="11023"/>
                          <a:pt x="14203" y="7102"/>
                        </a:cubicBezTo>
                        <a:close/>
                      </a:path>
                    </a:pathLst>
                  </a:custGeom>
                  <a:solidFill>
                    <a:srgbClr val="BCBEC0"/>
                  </a:solidFill>
                  <a:ln w="2742" cap="flat">
                    <a:noFill/>
                    <a:prstDash val="solid"/>
                    <a:miter/>
                  </a:ln>
                </p:spPr>
                <p:txBody>
                  <a:bodyPr rtlCol="0" anchor="ctr"/>
                  <a:lstStyle/>
                  <a:p>
                    <a:pPr defTabSz="829549"/>
                    <a:endParaRPr lang="en-US" sz="1270" dirty="0">
                      <a:ea typeface="+mn-ea"/>
                    </a:endParaRPr>
                  </a:p>
                </p:txBody>
              </p:sp>
              <p:sp>
                <p:nvSpPr>
                  <p:cNvPr id="59" name="Freeform: Shape 58">
                    <a:extLst>
                      <a:ext uri="{FF2B5EF4-FFF2-40B4-BE49-F238E27FC236}">
                        <a16:creationId xmlns:a16="http://schemas.microsoft.com/office/drawing/2014/main" id="{644903A2-8852-A49E-A2EF-91AA2390A165}"/>
                      </a:ext>
                    </a:extLst>
                  </p:cNvPr>
                  <p:cNvSpPr/>
                  <p:nvPr/>
                </p:nvSpPr>
                <p:spPr>
                  <a:xfrm>
                    <a:off x="5070976" y="6159779"/>
                    <a:ext cx="12174" cy="12174"/>
                  </a:xfrm>
                  <a:custGeom>
                    <a:avLst/>
                    <a:gdLst>
                      <a:gd name="connsiteX0" fmla="*/ 12174 w 12174"/>
                      <a:gd name="connsiteY0" fmla="*/ 6087 h 12174"/>
                      <a:gd name="connsiteX1" fmla="*/ 6087 w 12174"/>
                      <a:gd name="connsiteY1" fmla="*/ 0 h 12174"/>
                      <a:gd name="connsiteX2" fmla="*/ 0 w 12174"/>
                      <a:gd name="connsiteY2" fmla="*/ 6087 h 12174"/>
                      <a:gd name="connsiteX3" fmla="*/ 6087 w 12174"/>
                      <a:gd name="connsiteY3" fmla="*/ 12174 h 12174"/>
                      <a:gd name="connsiteX4" fmla="*/ 12174 w 12174"/>
                      <a:gd name="connsiteY4" fmla="*/ 6087 h 1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4" h="12174">
                        <a:moveTo>
                          <a:pt x="12174" y="6087"/>
                        </a:moveTo>
                        <a:cubicBezTo>
                          <a:pt x="12174" y="2742"/>
                          <a:pt x="9460" y="0"/>
                          <a:pt x="6087" y="0"/>
                        </a:cubicBezTo>
                        <a:cubicBezTo>
                          <a:pt x="2715" y="0"/>
                          <a:pt x="0" y="2715"/>
                          <a:pt x="0" y="6087"/>
                        </a:cubicBezTo>
                        <a:cubicBezTo>
                          <a:pt x="0" y="9460"/>
                          <a:pt x="2715" y="12174"/>
                          <a:pt x="6087" y="12174"/>
                        </a:cubicBezTo>
                        <a:cubicBezTo>
                          <a:pt x="9460" y="12174"/>
                          <a:pt x="12174" y="9460"/>
                          <a:pt x="12174" y="6087"/>
                        </a:cubicBezTo>
                        <a:close/>
                      </a:path>
                    </a:pathLst>
                  </a:custGeom>
                  <a:solidFill>
                    <a:srgbClr val="333333"/>
                  </a:solidFill>
                  <a:ln w="2742" cap="flat">
                    <a:noFill/>
                    <a:prstDash val="solid"/>
                    <a:miter/>
                  </a:ln>
                </p:spPr>
                <p:txBody>
                  <a:bodyPr rtlCol="0" anchor="ctr"/>
                  <a:lstStyle/>
                  <a:p>
                    <a:pPr defTabSz="829549"/>
                    <a:endParaRPr lang="en-US" sz="1270" dirty="0">
                      <a:ea typeface="+mn-ea"/>
                    </a:endParaRPr>
                  </a:p>
                </p:txBody>
              </p:sp>
            </p:grpSp>
            <p:grpSp>
              <p:nvGrpSpPr>
                <p:cNvPr id="49" name="Graphic 2">
                  <a:extLst>
                    <a:ext uri="{FF2B5EF4-FFF2-40B4-BE49-F238E27FC236}">
                      <a16:creationId xmlns:a16="http://schemas.microsoft.com/office/drawing/2014/main" id="{1A0DF5EF-AFE6-FF42-AC2D-702C030364DC}"/>
                    </a:ext>
                  </a:extLst>
                </p:cNvPr>
                <p:cNvGrpSpPr/>
                <p:nvPr/>
              </p:nvGrpSpPr>
              <p:grpSpPr>
                <a:xfrm>
                  <a:off x="5105196" y="6151663"/>
                  <a:ext cx="28708" cy="28872"/>
                  <a:chOff x="5105196" y="6151663"/>
                  <a:chExt cx="28708" cy="28872"/>
                </a:xfrm>
              </p:grpSpPr>
              <p:sp>
                <p:nvSpPr>
                  <p:cNvPr id="54" name="Freeform: Shape 53">
                    <a:extLst>
                      <a:ext uri="{FF2B5EF4-FFF2-40B4-BE49-F238E27FC236}">
                        <a16:creationId xmlns:a16="http://schemas.microsoft.com/office/drawing/2014/main" id="{BBD88E40-B91F-C148-9AD0-7A500F56C4EF}"/>
                      </a:ext>
                    </a:extLst>
                  </p:cNvPr>
                  <p:cNvSpPr/>
                  <p:nvPr/>
                </p:nvSpPr>
                <p:spPr>
                  <a:xfrm>
                    <a:off x="5105936" y="6152568"/>
                    <a:ext cx="27968" cy="27967"/>
                  </a:xfrm>
                  <a:custGeom>
                    <a:avLst/>
                    <a:gdLst>
                      <a:gd name="connsiteX0" fmla="*/ 27968 w 27968"/>
                      <a:gd name="connsiteY0" fmla="*/ 13984 h 27967"/>
                      <a:gd name="connsiteX1" fmla="*/ 13984 w 27968"/>
                      <a:gd name="connsiteY1" fmla="*/ 0 h 27967"/>
                      <a:gd name="connsiteX2" fmla="*/ 0 w 27968"/>
                      <a:gd name="connsiteY2" fmla="*/ 13984 h 27967"/>
                      <a:gd name="connsiteX3" fmla="*/ 13984 w 27968"/>
                      <a:gd name="connsiteY3" fmla="*/ 27968 h 27967"/>
                      <a:gd name="connsiteX4" fmla="*/ 27968 w 27968"/>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8" h="27967">
                        <a:moveTo>
                          <a:pt x="27968" y="13984"/>
                        </a:moveTo>
                        <a:cubicBezTo>
                          <a:pt x="27968" y="6252"/>
                          <a:pt x="21716" y="0"/>
                          <a:pt x="13984" y="0"/>
                        </a:cubicBezTo>
                        <a:cubicBezTo>
                          <a:pt x="6252" y="0"/>
                          <a:pt x="0" y="6279"/>
                          <a:pt x="0" y="13984"/>
                        </a:cubicBezTo>
                        <a:cubicBezTo>
                          <a:pt x="0" y="21689"/>
                          <a:pt x="6279" y="27968"/>
                          <a:pt x="13984" y="27968"/>
                        </a:cubicBezTo>
                        <a:cubicBezTo>
                          <a:pt x="21689" y="27968"/>
                          <a:pt x="27968" y="21689"/>
                          <a:pt x="27968" y="13984"/>
                        </a:cubicBezTo>
                        <a:close/>
                      </a:path>
                    </a:pathLst>
                  </a:custGeom>
                  <a:solidFill>
                    <a:srgbClr val="58595B"/>
                  </a:solidFill>
                  <a:ln w="2742" cap="flat">
                    <a:noFill/>
                    <a:prstDash val="solid"/>
                    <a:miter/>
                  </a:ln>
                </p:spPr>
                <p:txBody>
                  <a:bodyPr rtlCol="0" anchor="ctr"/>
                  <a:lstStyle/>
                  <a:p>
                    <a:pPr defTabSz="829549"/>
                    <a:endParaRPr lang="en-US" sz="1270" dirty="0">
                      <a:ea typeface="+mn-ea"/>
                    </a:endParaRPr>
                  </a:p>
                </p:txBody>
              </p:sp>
              <p:sp>
                <p:nvSpPr>
                  <p:cNvPr id="55" name="Freeform: Shape 54">
                    <a:extLst>
                      <a:ext uri="{FF2B5EF4-FFF2-40B4-BE49-F238E27FC236}">
                        <a16:creationId xmlns:a16="http://schemas.microsoft.com/office/drawing/2014/main" id="{D5329BC7-B9DE-6CE4-5398-4E62953C94F6}"/>
                      </a:ext>
                    </a:extLst>
                  </p:cNvPr>
                  <p:cNvSpPr/>
                  <p:nvPr/>
                </p:nvSpPr>
                <p:spPr>
                  <a:xfrm>
                    <a:off x="5105196" y="6151663"/>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BCBEC0"/>
                  </a:solidFill>
                  <a:ln w="2742" cap="flat">
                    <a:noFill/>
                    <a:prstDash val="solid"/>
                    <a:miter/>
                  </a:ln>
                </p:spPr>
                <p:txBody>
                  <a:bodyPr rtlCol="0" anchor="ctr"/>
                  <a:lstStyle/>
                  <a:p>
                    <a:pPr defTabSz="829549"/>
                    <a:endParaRPr lang="en-US" sz="1270" dirty="0">
                      <a:ea typeface="+mn-ea"/>
                    </a:endParaRPr>
                  </a:p>
                </p:txBody>
              </p:sp>
              <p:sp>
                <p:nvSpPr>
                  <p:cNvPr id="56" name="Freeform: Shape 55">
                    <a:extLst>
                      <a:ext uri="{FF2B5EF4-FFF2-40B4-BE49-F238E27FC236}">
                        <a16:creationId xmlns:a16="http://schemas.microsoft.com/office/drawing/2014/main" id="{E1E5618D-7D80-983E-BB84-996E124E2E2D}"/>
                      </a:ext>
                    </a:extLst>
                  </p:cNvPr>
                  <p:cNvSpPr/>
                  <p:nvPr/>
                </p:nvSpPr>
                <p:spPr>
                  <a:xfrm>
                    <a:off x="5107197" y="6153665"/>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4D4D4D"/>
                  </a:solidFill>
                  <a:ln w="2742" cap="flat">
                    <a:noFill/>
                    <a:prstDash val="solid"/>
                    <a:miter/>
                  </a:ln>
                </p:spPr>
                <p:txBody>
                  <a:bodyPr rtlCol="0" anchor="ctr"/>
                  <a:lstStyle/>
                  <a:p>
                    <a:pPr defTabSz="829549"/>
                    <a:endParaRPr lang="en-US" sz="1270" dirty="0">
                      <a:ea typeface="+mn-ea"/>
                    </a:endParaRPr>
                  </a:p>
                </p:txBody>
              </p:sp>
            </p:grpSp>
            <p:grpSp>
              <p:nvGrpSpPr>
                <p:cNvPr id="50" name="Graphic 2">
                  <a:extLst>
                    <a:ext uri="{FF2B5EF4-FFF2-40B4-BE49-F238E27FC236}">
                      <a16:creationId xmlns:a16="http://schemas.microsoft.com/office/drawing/2014/main" id="{BD187A83-CABC-5858-DA38-83D91BA85E12}"/>
                    </a:ext>
                  </a:extLst>
                </p:cNvPr>
                <p:cNvGrpSpPr/>
                <p:nvPr/>
              </p:nvGrpSpPr>
              <p:grpSpPr>
                <a:xfrm>
                  <a:off x="5147504" y="6151663"/>
                  <a:ext cx="28680" cy="28872"/>
                  <a:chOff x="5147504" y="6151663"/>
                  <a:chExt cx="28680" cy="28872"/>
                </a:xfrm>
              </p:grpSpPr>
              <p:sp>
                <p:nvSpPr>
                  <p:cNvPr id="51" name="Freeform: Shape 50">
                    <a:extLst>
                      <a:ext uri="{FF2B5EF4-FFF2-40B4-BE49-F238E27FC236}">
                        <a16:creationId xmlns:a16="http://schemas.microsoft.com/office/drawing/2014/main" id="{FD8608A1-A8B2-DC72-5A59-800F69E1B637}"/>
                      </a:ext>
                    </a:extLst>
                  </p:cNvPr>
                  <p:cNvSpPr/>
                  <p:nvPr/>
                </p:nvSpPr>
                <p:spPr>
                  <a:xfrm>
                    <a:off x="5148217" y="6152568"/>
                    <a:ext cx="27967" cy="27967"/>
                  </a:xfrm>
                  <a:custGeom>
                    <a:avLst/>
                    <a:gdLst>
                      <a:gd name="connsiteX0" fmla="*/ 27968 w 27967"/>
                      <a:gd name="connsiteY0" fmla="*/ 13984 h 27967"/>
                      <a:gd name="connsiteX1" fmla="*/ 13984 w 27967"/>
                      <a:gd name="connsiteY1" fmla="*/ 0 h 27967"/>
                      <a:gd name="connsiteX2" fmla="*/ 0 w 27967"/>
                      <a:gd name="connsiteY2" fmla="*/ 13984 h 27967"/>
                      <a:gd name="connsiteX3" fmla="*/ 13984 w 27967"/>
                      <a:gd name="connsiteY3" fmla="*/ 27968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6252"/>
                          <a:pt x="21689" y="0"/>
                          <a:pt x="13984" y="0"/>
                        </a:cubicBezTo>
                        <a:cubicBezTo>
                          <a:pt x="6279" y="0"/>
                          <a:pt x="0" y="6279"/>
                          <a:pt x="0" y="13984"/>
                        </a:cubicBezTo>
                        <a:cubicBezTo>
                          <a:pt x="0" y="21689"/>
                          <a:pt x="6279" y="27968"/>
                          <a:pt x="13984" y="27968"/>
                        </a:cubicBezTo>
                        <a:cubicBezTo>
                          <a:pt x="21689" y="27968"/>
                          <a:pt x="27968" y="21689"/>
                          <a:pt x="27968" y="13984"/>
                        </a:cubicBezTo>
                        <a:close/>
                      </a:path>
                    </a:pathLst>
                  </a:custGeom>
                  <a:solidFill>
                    <a:srgbClr val="58595B"/>
                  </a:solidFill>
                  <a:ln w="2742" cap="flat">
                    <a:noFill/>
                    <a:prstDash val="solid"/>
                    <a:miter/>
                  </a:ln>
                </p:spPr>
                <p:txBody>
                  <a:bodyPr rtlCol="0" anchor="ctr"/>
                  <a:lstStyle/>
                  <a:p>
                    <a:pPr defTabSz="829549"/>
                    <a:endParaRPr lang="en-US" sz="1270" dirty="0">
                      <a:ea typeface="+mn-ea"/>
                    </a:endParaRPr>
                  </a:p>
                </p:txBody>
              </p:sp>
              <p:sp>
                <p:nvSpPr>
                  <p:cNvPr id="52" name="Freeform: Shape 51">
                    <a:extLst>
                      <a:ext uri="{FF2B5EF4-FFF2-40B4-BE49-F238E27FC236}">
                        <a16:creationId xmlns:a16="http://schemas.microsoft.com/office/drawing/2014/main" id="{8E681630-F22B-1C33-1989-762E84C2E50C}"/>
                      </a:ext>
                    </a:extLst>
                  </p:cNvPr>
                  <p:cNvSpPr/>
                  <p:nvPr/>
                </p:nvSpPr>
                <p:spPr>
                  <a:xfrm>
                    <a:off x="5147504" y="6151663"/>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BCBEC0"/>
                  </a:solidFill>
                  <a:ln w="2742" cap="flat">
                    <a:noFill/>
                    <a:prstDash val="solid"/>
                    <a:miter/>
                  </a:ln>
                </p:spPr>
                <p:txBody>
                  <a:bodyPr rtlCol="0" anchor="ctr"/>
                  <a:lstStyle/>
                  <a:p>
                    <a:pPr defTabSz="829549"/>
                    <a:endParaRPr lang="en-US" sz="1270" dirty="0">
                      <a:ea typeface="+mn-ea"/>
                    </a:endParaRPr>
                  </a:p>
                </p:txBody>
              </p:sp>
              <p:sp>
                <p:nvSpPr>
                  <p:cNvPr id="53" name="Freeform: Shape 52">
                    <a:extLst>
                      <a:ext uri="{FF2B5EF4-FFF2-40B4-BE49-F238E27FC236}">
                        <a16:creationId xmlns:a16="http://schemas.microsoft.com/office/drawing/2014/main" id="{2A656729-73AF-57DC-02CB-E2F443B63609}"/>
                      </a:ext>
                    </a:extLst>
                  </p:cNvPr>
                  <p:cNvSpPr/>
                  <p:nvPr/>
                </p:nvSpPr>
                <p:spPr>
                  <a:xfrm>
                    <a:off x="5149506" y="6153665"/>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4D4D4D"/>
                  </a:solidFill>
                  <a:ln w="2742" cap="flat">
                    <a:noFill/>
                    <a:prstDash val="solid"/>
                    <a:miter/>
                  </a:ln>
                </p:spPr>
                <p:txBody>
                  <a:bodyPr rtlCol="0" anchor="ctr"/>
                  <a:lstStyle/>
                  <a:p>
                    <a:pPr defTabSz="829549"/>
                    <a:endParaRPr lang="en-US" sz="1270" dirty="0">
                      <a:ea typeface="+mn-ea"/>
                    </a:endParaRPr>
                  </a:p>
                </p:txBody>
              </p:sp>
            </p:grpSp>
          </p:grpSp>
          <p:grpSp>
            <p:nvGrpSpPr>
              <p:cNvPr id="45" name="Graphic 2">
                <a:extLst>
                  <a:ext uri="{FF2B5EF4-FFF2-40B4-BE49-F238E27FC236}">
                    <a16:creationId xmlns:a16="http://schemas.microsoft.com/office/drawing/2014/main" id="{05F15418-2F8C-3D55-FDF4-086BFB3D99D7}"/>
                  </a:ext>
                </a:extLst>
              </p:cNvPr>
              <p:cNvGrpSpPr/>
              <p:nvPr/>
            </p:nvGrpSpPr>
            <p:grpSpPr>
              <a:xfrm>
                <a:off x="3103267" y="6140915"/>
                <a:ext cx="532268" cy="27748"/>
                <a:chOff x="3103267" y="6140915"/>
                <a:chExt cx="532268" cy="27748"/>
              </a:xfrm>
            </p:grpSpPr>
            <p:sp>
              <p:nvSpPr>
                <p:cNvPr id="46" name="Freeform: Shape 45">
                  <a:extLst>
                    <a:ext uri="{FF2B5EF4-FFF2-40B4-BE49-F238E27FC236}">
                      <a16:creationId xmlns:a16="http://schemas.microsoft.com/office/drawing/2014/main" id="{D97E3A34-7E8C-7621-0B0C-C35570B88CC0}"/>
                    </a:ext>
                  </a:extLst>
                </p:cNvPr>
                <p:cNvSpPr/>
                <p:nvPr/>
              </p:nvSpPr>
              <p:spPr>
                <a:xfrm>
                  <a:off x="3103267" y="6140915"/>
                  <a:ext cx="532240" cy="27748"/>
                </a:xfrm>
                <a:custGeom>
                  <a:avLst/>
                  <a:gdLst>
                    <a:gd name="connsiteX0" fmla="*/ 266381 w 532240"/>
                    <a:gd name="connsiteY0" fmla="*/ 0 h 27748"/>
                    <a:gd name="connsiteX1" fmla="*/ 0 w 532240"/>
                    <a:gd name="connsiteY1" fmla="*/ 0 h 27748"/>
                    <a:gd name="connsiteX2" fmla="*/ 63010 w 532240"/>
                    <a:gd name="connsiteY2" fmla="*/ 27749 h 27748"/>
                    <a:gd name="connsiteX3" fmla="*/ 469231 w 532240"/>
                    <a:gd name="connsiteY3" fmla="*/ 27749 h 27748"/>
                    <a:gd name="connsiteX4" fmla="*/ 532241 w 532240"/>
                    <a:gd name="connsiteY4" fmla="*/ 0 h 27748"/>
                    <a:gd name="connsiteX5" fmla="*/ 266381 w 532240"/>
                    <a:gd name="connsiteY5" fmla="*/ 0 h 2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40" h="27748">
                      <a:moveTo>
                        <a:pt x="266381" y="0"/>
                      </a:moveTo>
                      <a:lnTo>
                        <a:pt x="0" y="0"/>
                      </a:lnTo>
                      <a:cubicBezTo>
                        <a:pt x="0" y="0"/>
                        <a:pt x="5868" y="27749"/>
                        <a:pt x="63010" y="27749"/>
                      </a:cubicBezTo>
                      <a:lnTo>
                        <a:pt x="469231" y="27749"/>
                      </a:lnTo>
                      <a:cubicBezTo>
                        <a:pt x="526373" y="27749"/>
                        <a:pt x="532241" y="0"/>
                        <a:pt x="532241" y="0"/>
                      </a:cubicBezTo>
                      <a:lnTo>
                        <a:pt x="266381" y="0"/>
                      </a:lnTo>
                      <a:close/>
                    </a:path>
                  </a:pathLst>
                </a:custGeom>
                <a:solidFill>
                  <a:srgbClr val="000000"/>
                </a:solidFill>
                <a:ln w="2742" cap="flat">
                  <a:noFill/>
                  <a:prstDash val="solid"/>
                  <a:miter/>
                </a:ln>
              </p:spPr>
              <p:txBody>
                <a:bodyPr rtlCol="0" anchor="ctr"/>
                <a:lstStyle/>
                <a:p>
                  <a:pPr defTabSz="829549"/>
                  <a:endParaRPr lang="en-US" sz="1270" dirty="0">
                    <a:ea typeface="+mn-ea"/>
                  </a:endParaRPr>
                </a:p>
              </p:txBody>
            </p:sp>
            <p:sp>
              <p:nvSpPr>
                <p:cNvPr id="47" name="Freeform: Shape 46">
                  <a:extLst>
                    <a:ext uri="{FF2B5EF4-FFF2-40B4-BE49-F238E27FC236}">
                      <a16:creationId xmlns:a16="http://schemas.microsoft.com/office/drawing/2014/main" id="{2527B7CF-B7B4-7177-D90D-0FEA1248F46E}"/>
                    </a:ext>
                  </a:extLst>
                </p:cNvPr>
                <p:cNvSpPr/>
                <p:nvPr/>
              </p:nvSpPr>
              <p:spPr>
                <a:xfrm>
                  <a:off x="3123338" y="6140915"/>
                  <a:ext cx="512197" cy="27748"/>
                </a:xfrm>
                <a:custGeom>
                  <a:avLst/>
                  <a:gdLst>
                    <a:gd name="connsiteX0" fmla="*/ 502299 w 512197"/>
                    <a:gd name="connsiteY0" fmla="*/ 0 h 27748"/>
                    <a:gd name="connsiteX1" fmla="*/ 440056 w 512197"/>
                    <a:gd name="connsiteY1" fmla="*/ 24349 h 27748"/>
                    <a:gd name="connsiteX2" fmla="*/ 36166 w 512197"/>
                    <a:gd name="connsiteY2" fmla="*/ 24349 h 27748"/>
                    <a:gd name="connsiteX3" fmla="*/ 0 w 512197"/>
                    <a:gd name="connsiteY3" fmla="*/ 19989 h 27748"/>
                    <a:gd name="connsiteX4" fmla="*/ 45187 w 512197"/>
                    <a:gd name="connsiteY4" fmla="*/ 27749 h 27748"/>
                    <a:gd name="connsiteX5" fmla="*/ 449077 w 512197"/>
                    <a:gd name="connsiteY5" fmla="*/ 27749 h 27748"/>
                    <a:gd name="connsiteX6" fmla="*/ 512197 w 512197"/>
                    <a:gd name="connsiteY6" fmla="*/ 0 h 27748"/>
                    <a:gd name="connsiteX7" fmla="*/ 502326 w 512197"/>
                    <a:gd name="connsiteY7" fmla="*/ 0 h 2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197" h="27748">
                      <a:moveTo>
                        <a:pt x="502299" y="0"/>
                      </a:moveTo>
                      <a:cubicBezTo>
                        <a:pt x="499392" y="9295"/>
                        <a:pt x="483544" y="24349"/>
                        <a:pt x="440056" y="24349"/>
                      </a:cubicBezTo>
                      <a:lnTo>
                        <a:pt x="36166" y="24349"/>
                      </a:lnTo>
                      <a:cubicBezTo>
                        <a:pt x="20565" y="24349"/>
                        <a:pt x="8829" y="22649"/>
                        <a:pt x="0" y="19989"/>
                      </a:cubicBezTo>
                      <a:cubicBezTo>
                        <a:pt x="9350" y="24349"/>
                        <a:pt x="23553" y="27749"/>
                        <a:pt x="45187" y="27749"/>
                      </a:cubicBezTo>
                      <a:lnTo>
                        <a:pt x="449077" y="27749"/>
                      </a:lnTo>
                      <a:cubicBezTo>
                        <a:pt x="505891" y="27749"/>
                        <a:pt x="512197" y="0"/>
                        <a:pt x="512197" y="0"/>
                      </a:cubicBezTo>
                      <a:lnTo>
                        <a:pt x="502326" y="0"/>
                      </a:lnTo>
                      <a:close/>
                    </a:path>
                  </a:pathLst>
                </a:custGeom>
                <a:solidFill>
                  <a:srgbClr val="D1D3D4"/>
                </a:solidFill>
                <a:ln w="2742" cap="flat">
                  <a:noFill/>
                  <a:prstDash val="solid"/>
                  <a:miter/>
                </a:ln>
              </p:spPr>
              <p:txBody>
                <a:bodyPr rtlCol="0" anchor="ctr"/>
                <a:lstStyle/>
                <a:p>
                  <a:pPr defTabSz="829549"/>
                  <a:endParaRPr lang="en-US" sz="1270" dirty="0">
                    <a:ea typeface="+mn-ea"/>
                  </a:endParaRPr>
                </a:p>
              </p:txBody>
            </p:sp>
          </p:grpSp>
        </p:grpSp>
      </p:grpSp>
      <p:pic>
        <p:nvPicPr>
          <p:cNvPr id="17" name="Picture 16">
            <a:extLst>
              <a:ext uri="{FF2B5EF4-FFF2-40B4-BE49-F238E27FC236}">
                <a16:creationId xmlns:a16="http://schemas.microsoft.com/office/drawing/2014/main" id="{E233136B-0D1B-314F-3523-4ECAE6236731}"/>
              </a:ext>
            </a:extLst>
          </p:cNvPr>
          <p:cNvPicPr>
            <a:picLocks noChangeAspect="1"/>
          </p:cNvPicPr>
          <p:nvPr/>
        </p:nvPicPr>
        <p:blipFill>
          <a:blip r:embed="rId8"/>
          <a:stretch>
            <a:fillRect/>
          </a:stretch>
        </p:blipFill>
        <p:spPr>
          <a:xfrm>
            <a:off x="6476378" y="4370947"/>
            <a:ext cx="2991054" cy="1734372"/>
          </a:xfrm>
          <a:prstGeom prst="rect">
            <a:avLst/>
          </a:prstGeom>
        </p:spPr>
      </p:pic>
      <p:grpSp>
        <p:nvGrpSpPr>
          <p:cNvPr id="78" name="Group 77">
            <a:extLst>
              <a:ext uri="{FF2B5EF4-FFF2-40B4-BE49-F238E27FC236}">
                <a16:creationId xmlns:a16="http://schemas.microsoft.com/office/drawing/2014/main" id="{A3DD6CEB-897C-9F38-42E2-7F5F3AF57B28}"/>
              </a:ext>
            </a:extLst>
          </p:cNvPr>
          <p:cNvGrpSpPr>
            <a:grpSpLocks/>
          </p:cNvGrpSpPr>
          <p:nvPr/>
        </p:nvGrpSpPr>
        <p:grpSpPr>
          <a:xfrm>
            <a:off x="6086447" y="3990323"/>
            <a:ext cx="703178" cy="703178"/>
            <a:chOff x="4887648" y="5202916"/>
            <a:chExt cx="503992" cy="503992"/>
          </a:xfrm>
        </p:grpSpPr>
        <p:sp>
          <p:nvSpPr>
            <p:cNvPr id="79" name="Google Shape;557;p30">
              <a:extLst>
                <a:ext uri="{FF2B5EF4-FFF2-40B4-BE49-F238E27FC236}">
                  <a16:creationId xmlns:a16="http://schemas.microsoft.com/office/drawing/2014/main" id="{D8D0F656-88CC-70C4-37CB-5A8075747795}"/>
                </a:ext>
              </a:extLst>
            </p:cNvPr>
            <p:cNvSpPr/>
            <p:nvPr/>
          </p:nvSpPr>
          <p:spPr>
            <a:xfrm>
              <a:off x="4887648" y="5202916"/>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452" dirty="0">
                <a:solidFill>
                  <a:srgbClr val="FFFFFF"/>
                </a:solidFill>
                <a:latin typeface="Calibri" panose="020F0502020204030204"/>
                <a:ea typeface="Calibri"/>
                <a:cs typeface="Calibri"/>
                <a:sym typeface="Calibri"/>
              </a:endParaRPr>
            </a:p>
          </p:txBody>
        </p:sp>
        <p:pic>
          <p:nvPicPr>
            <p:cNvPr id="80" name="Graphic 79">
              <a:extLst>
                <a:ext uri="{FF2B5EF4-FFF2-40B4-BE49-F238E27FC236}">
                  <a16:creationId xmlns:a16="http://schemas.microsoft.com/office/drawing/2014/main" id="{C0F9C85C-055E-690C-3F54-613038F2B69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99772" y="5321545"/>
              <a:ext cx="279745" cy="266734"/>
            </a:xfrm>
            <a:prstGeom prst="rect">
              <a:avLst/>
            </a:prstGeom>
          </p:spPr>
        </p:pic>
      </p:grpSp>
      <p:grpSp>
        <p:nvGrpSpPr>
          <p:cNvPr id="29" name="Group 28">
            <a:extLst>
              <a:ext uri="{FF2B5EF4-FFF2-40B4-BE49-F238E27FC236}">
                <a16:creationId xmlns:a16="http://schemas.microsoft.com/office/drawing/2014/main" id="{70917193-F61A-B148-D49C-798467F088AA}"/>
              </a:ext>
            </a:extLst>
          </p:cNvPr>
          <p:cNvGrpSpPr>
            <a:grpSpLocks/>
          </p:cNvGrpSpPr>
          <p:nvPr/>
        </p:nvGrpSpPr>
        <p:grpSpPr>
          <a:xfrm>
            <a:off x="7397116" y="1685070"/>
            <a:ext cx="703178" cy="703178"/>
            <a:chOff x="4887648" y="5202916"/>
            <a:chExt cx="503992" cy="503992"/>
          </a:xfrm>
        </p:grpSpPr>
        <p:sp>
          <p:nvSpPr>
            <p:cNvPr id="69" name="Google Shape;557;p30">
              <a:extLst>
                <a:ext uri="{FF2B5EF4-FFF2-40B4-BE49-F238E27FC236}">
                  <a16:creationId xmlns:a16="http://schemas.microsoft.com/office/drawing/2014/main" id="{C3C61E8F-B61E-43CE-6C9D-B7CAD5908DA2}"/>
                </a:ext>
              </a:extLst>
            </p:cNvPr>
            <p:cNvSpPr/>
            <p:nvPr/>
          </p:nvSpPr>
          <p:spPr>
            <a:xfrm>
              <a:off x="4887648" y="5202916"/>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452" dirty="0">
                <a:solidFill>
                  <a:srgbClr val="FFFFFF"/>
                </a:solidFill>
                <a:latin typeface="Calibri" panose="020F0502020204030204"/>
                <a:ea typeface="Calibri"/>
                <a:cs typeface="Calibri"/>
                <a:sym typeface="Calibri"/>
              </a:endParaRPr>
            </a:p>
          </p:txBody>
        </p:sp>
        <p:pic>
          <p:nvPicPr>
            <p:cNvPr id="70" name="Graphic 69">
              <a:extLst>
                <a:ext uri="{FF2B5EF4-FFF2-40B4-BE49-F238E27FC236}">
                  <a16:creationId xmlns:a16="http://schemas.microsoft.com/office/drawing/2014/main" id="{D29E85DB-8BB2-BFB6-AEA8-32F6E710DD6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99772" y="5321545"/>
              <a:ext cx="279745" cy="266734"/>
            </a:xfrm>
            <a:prstGeom prst="rect">
              <a:avLst/>
            </a:prstGeom>
          </p:spPr>
        </p:pic>
      </p:grpSp>
      <p:pic>
        <p:nvPicPr>
          <p:cNvPr id="3" name="Graphic 2">
            <a:extLst>
              <a:ext uri="{FF2B5EF4-FFF2-40B4-BE49-F238E27FC236}">
                <a16:creationId xmlns:a16="http://schemas.microsoft.com/office/drawing/2014/main" id="{65AA308F-9B36-1D35-FD09-90FED77904D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74019" y="3799696"/>
            <a:ext cx="356140" cy="356140"/>
          </a:xfrm>
          <a:prstGeom prst="rect">
            <a:avLst/>
          </a:prstGeom>
        </p:spPr>
      </p:pic>
    </p:spTree>
    <p:extLst>
      <p:ext uri="{BB962C8B-B14F-4D97-AF65-F5344CB8AC3E}">
        <p14:creationId xmlns:p14="http://schemas.microsoft.com/office/powerpoint/2010/main" val="3317441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C3D5D9-A4E4-2A8B-3312-A86545505D4B}"/>
              </a:ext>
            </a:extLst>
          </p:cNvPr>
          <p:cNvGraphicFramePr>
            <a:graphicFrameLocks noChangeAspect="1"/>
          </p:cNvGraphicFramePr>
          <p:nvPr>
            <p:custDataLst>
              <p:tags r:id="rId1"/>
            </p:custDataLst>
            <p:extLst>
              <p:ext uri="{D42A27DB-BD31-4B8C-83A1-F6EECF244321}">
                <p14:modId xmlns:p14="http://schemas.microsoft.com/office/powerpoint/2010/main" val="3721805046"/>
              </p:ext>
            </p:extLst>
          </p:nvPr>
        </p:nvGraphicFramePr>
        <p:xfrm>
          <a:off x="1601" y="1622"/>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ABC3D5D9-A4E4-2A8B-3312-A86545505D4B}"/>
                          </a:ext>
                        </a:extLst>
                      </p:cNvPr>
                      <p:cNvPicPr/>
                      <p:nvPr/>
                    </p:nvPicPr>
                    <p:blipFill>
                      <a:blip r:embed="rId4"/>
                      <a:stretch>
                        <a:fillRect/>
                      </a:stretch>
                    </p:blipFill>
                    <p:spPr>
                      <a:xfrm>
                        <a:off x="1601" y="1622"/>
                        <a:ext cx="1441" cy="144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4049970-A4FC-E703-56F8-F87E8EC94E43}"/>
              </a:ext>
            </a:extLst>
          </p:cNvPr>
          <p:cNvSpPr>
            <a:spLocks noGrp="1"/>
          </p:cNvSpPr>
          <p:nvPr>
            <p:ph type="title"/>
          </p:nvPr>
        </p:nvSpPr>
        <p:spPr>
          <a:xfrm>
            <a:off x="531960" y="560740"/>
            <a:ext cx="11089681" cy="415498"/>
          </a:xfrm>
        </p:spPr>
        <p:txBody>
          <a:bodyPr vert="horz"/>
          <a:lstStyle/>
          <a:p>
            <a:r>
              <a:rPr lang="en-US" sz="3000" kern="1200" dirty="0">
                <a:solidFill>
                  <a:schemeClr val="bg2"/>
                </a:solidFill>
                <a:latin typeface="Franklin Gothic" panose="020B0604020202020204" charset="0"/>
                <a:ea typeface="+mj-ea"/>
                <a:cs typeface="Calibri" panose="020F0502020204030204" pitchFamily="34" charset="0"/>
              </a:rPr>
              <a:t>Web Scraping Tool for Second-Hand Car Sales</a:t>
            </a:r>
          </a:p>
        </p:txBody>
      </p:sp>
      <p:sp>
        <p:nvSpPr>
          <p:cNvPr id="6" name="Arrow: Pentagon 5">
            <a:extLst>
              <a:ext uri="{FF2B5EF4-FFF2-40B4-BE49-F238E27FC236}">
                <a16:creationId xmlns:a16="http://schemas.microsoft.com/office/drawing/2014/main" id="{AA060237-E879-E368-4A4F-459E8A7B34E1}"/>
              </a:ext>
            </a:extLst>
          </p:cNvPr>
          <p:cNvSpPr>
            <a:spLocks/>
          </p:cNvSpPr>
          <p:nvPr/>
        </p:nvSpPr>
        <p:spPr>
          <a:xfrm flipH="1">
            <a:off x="10346878" y="560740"/>
            <a:ext cx="1844964" cy="886327"/>
          </a:xfrm>
          <a:prstGeom prst="homePlate">
            <a:avLst>
              <a:gd name="adj" fmla="val 1507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9"/>
            <a:endParaRPr lang="en-US" sz="1270">
              <a:solidFill>
                <a:srgbClr val="FFFFFF"/>
              </a:solidFill>
              <a:latin typeface="Calibri" panose="020F0502020204030204"/>
            </a:endParaRPr>
          </a:p>
        </p:txBody>
      </p:sp>
      <p:pic>
        <p:nvPicPr>
          <p:cNvPr id="7" name="Google Shape;547;p30">
            <a:extLst>
              <a:ext uri="{FF2B5EF4-FFF2-40B4-BE49-F238E27FC236}">
                <a16:creationId xmlns:a16="http://schemas.microsoft.com/office/drawing/2014/main" id="{14EEBC35-7C75-CC36-C151-1C15D60622D3}"/>
              </a:ext>
            </a:extLst>
          </p:cNvPr>
          <p:cNvPicPr preferRelativeResize="0"/>
          <p:nvPr/>
        </p:nvPicPr>
        <p:blipFill rotWithShape="1">
          <a:blip r:embed="rId5" cstate="print">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10819587" y="615136"/>
            <a:ext cx="861027" cy="777534"/>
          </a:xfrm>
          <a:prstGeom prst="rect">
            <a:avLst/>
          </a:prstGeom>
          <a:noFill/>
          <a:ln>
            <a:noFill/>
          </a:ln>
        </p:spPr>
      </p:pic>
      <p:sp>
        <p:nvSpPr>
          <p:cNvPr id="8" name="Google Shape;831;p25">
            <a:extLst>
              <a:ext uri="{FF2B5EF4-FFF2-40B4-BE49-F238E27FC236}">
                <a16:creationId xmlns:a16="http://schemas.microsoft.com/office/drawing/2014/main" id="{437CDCD2-62E1-68A0-3BC4-ABE11E06E204}"/>
              </a:ext>
            </a:extLst>
          </p:cNvPr>
          <p:cNvSpPr>
            <a:spLocks/>
          </p:cNvSpPr>
          <p:nvPr/>
        </p:nvSpPr>
        <p:spPr>
          <a:xfrm>
            <a:off x="499868" y="2096818"/>
            <a:ext cx="3654797" cy="4238255"/>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lang="en-US" sz="1270" dirty="0">
              <a:ea typeface="+mn-ea"/>
            </a:endParaRPr>
          </a:p>
        </p:txBody>
      </p:sp>
      <p:sp>
        <p:nvSpPr>
          <p:cNvPr id="9" name="Google Shape;831;p25">
            <a:extLst>
              <a:ext uri="{FF2B5EF4-FFF2-40B4-BE49-F238E27FC236}">
                <a16:creationId xmlns:a16="http://schemas.microsoft.com/office/drawing/2014/main" id="{4BAA93C5-308E-A007-113A-B5C8467384B7}"/>
              </a:ext>
            </a:extLst>
          </p:cNvPr>
          <p:cNvSpPr>
            <a:spLocks/>
          </p:cNvSpPr>
          <p:nvPr/>
        </p:nvSpPr>
        <p:spPr>
          <a:xfrm>
            <a:off x="8035632" y="2096818"/>
            <a:ext cx="3654797" cy="4238255"/>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sz="1270" dirty="0">
              <a:ea typeface="+mn-ea"/>
            </a:endParaRPr>
          </a:p>
        </p:txBody>
      </p:sp>
      <p:sp>
        <p:nvSpPr>
          <p:cNvPr id="10" name="Google Shape;831;p25">
            <a:extLst>
              <a:ext uri="{FF2B5EF4-FFF2-40B4-BE49-F238E27FC236}">
                <a16:creationId xmlns:a16="http://schemas.microsoft.com/office/drawing/2014/main" id="{A0F3F831-A8B3-37F3-2E13-D75807978594}"/>
              </a:ext>
            </a:extLst>
          </p:cNvPr>
          <p:cNvSpPr>
            <a:spLocks/>
          </p:cNvSpPr>
          <p:nvPr/>
        </p:nvSpPr>
        <p:spPr>
          <a:xfrm>
            <a:off x="4267750" y="2096818"/>
            <a:ext cx="3654797" cy="4238255"/>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sz="1270" dirty="0">
              <a:ea typeface="+mn-ea"/>
            </a:endParaRPr>
          </a:p>
        </p:txBody>
      </p:sp>
      <p:sp>
        <p:nvSpPr>
          <p:cNvPr id="11" name="Google Shape;563;p30">
            <a:extLst>
              <a:ext uri="{FF2B5EF4-FFF2-40B4-BE49-F238E27FC236}">
                <a16:creationId xmlns:a16="http://schemas.microsoft.com/office/drawing/2014/main" id="{774AD125-EE4E-CA2E-479B-E3DEF47E72E6}"/>
              </a:ext>
            </a:extLst>
          </p:cNvPr>
          <p:cNvSpPr txBox="1">
            <a:spLocks/>
          </p:cNvSpPr>
          <p:nvPr/>
        </p:nvSpPr>
        <p:spPr>
          <a:xfrm>
            <a:off x="8177133" y="2479658"/>
            <a:ext cx="3412649" cy="3655174"/>
          </a:xfrm>
          <a:prstGeom prst="rect">
            <a:avLst/>
          </a:prstGeom>
          <a:noFill/>
          <a:ln>
            <a:noFill/>
          </a:ln>
        </p:spPr>
        <p:txBody>
          <a:bodyPr spcFirstLastPara="1" wrap="square" lIns="0" tIns="0" rIns="0" bIns="0" anchor="t" anchorCtr="0">
            <a:noAutofit/>
          </a:bodyPr>
          <a:lstStyle/>
          <a:p>
            <a:pPr defTabSz="829549">
              <a:lnSpc>
                <a:spcPts val="1633"/>
              </a:lnSpc>
              <a:buClr>
                <a:srgbClr val="00B9FF"/>
              </a:buClr>
              <a:buSzPct val="100000"/>
            </a:pPr>
            <a:r>
              <a:rPr lang="en-US" sz="1452" dirty="0">
                <a:solidFill>
                  <a:srgbClr val="444444"/>
                </a:solidFill>
                <a:latin typeface="Calibri" panose="020F0502020204030204"/>
                <a:ea typeface="Calibri"/>
                <a:cs typeface="Calibri"/>
                <a:sym typeface="Calibri"/>
              </a:rPr>
              <a:t>The client benefited from Infomineo Data Analytics service on multiple fronts: </a:t>
            </a:r>
          </a:p>
          <a:p>
            <a:pPr marL="259233" lvl="3" indent="-259233" defTabSz="829549">
              <a:lnSpc>
                <a:spcPts val="1814"/>
              </a:lnSpc>
              <a:buClr>
                <a:srgbClr val="0F47F2"/>
              </a:buClr>
              <a:buSzPct val="100000"/>
              <a:buFont typeface="Wingdings" panose="05000000000000000000" pitchFamily="2" charset="2"/>
              <a:buChar char="§"/>
            </a:pPr>
            <a:endParaRPr lang="en-US" sz="1452" b="1" dirty="0">
              <a:solidFill>
                <a:srgbClr val="0F47F2"/>
              </a:solidFill>
              <a:latin typeface="Calibri" panose="020F0502020204030204"/>
              <a:ea typeface="Calibri"/>
              <a:cs typeface="Calibri"/>
              <a:sym typeface="Calibri"/>
            </a:endParaRPr>
          </a:p>
          <a:p>
            <a:pPr marL="259233" lvl="3" indent="-259233" defTabSz="829549">
              <a:lnSpc>
                <a:spcPts val="1814"/>
              </a:lnSpc>
              <a:buClr>
                <a:srgbClr val="00B9FF"/>
              </a:buClr>
              <a:buSzPct val="100000"/>
              <a:buFont typeface="Wingdings" panose="05000000000000000000" pitchFamily="2" charset="2"/>
              <a:buChar char="§"/>
            </a:pPr>
            <a:r>
              <a:rPr lang="en-US" sz="1452" b="1" dirty="0">
                <a:solidFill>
                  <a:srgbClr val="00B9FF"/>
                </a:solidFill>
                <a:latin typeface="Calibri" panose="020F0502020204030204"/>
                <a:ea typeface="Calibri"/>
                <a:cs typeface="Calibri"/>
                <a:sym typeface="Calibri"/>
              </a:rPr>
              <a:t>User friendly Web Scraping Tool</a:t>
            </a:r>
          </a:p>
          <a:p>
            <a:pPr defTabSz="829549">
              <a:lnSpc>
                <a:spcPts val="1633"/>
              </a:lnSpc>
              <a:buClr>
                <a:srgbClr val="00B9FF"/>
              </a:buClr>
              <a:buSzPct val="100000"/>
            </a:pPr>
            <a:r>
              <a:rPr lang="en-US" sz="1270" dirty="0">
                <a:latin typeface="Calibri" panose="020F0502020204030204"/>
                <a:ea typeface="Calibri"/>
                <a:cs typeface="Calibri"/>
                <a:sym typeface="Calibri"/>
              </a:rPr>
              <a:t>The client received a user-friendly web scraping tool equipped with a user interface, enabling tailored requesting.</a:t>
            </a:r>
          </a:p>
          <a:p>
            <a:pPr defTabSz="829549">
              <a:lnSpc>
                <a:spcPts val="1633"/>
              </a:lnSpc>
              <a:buClr>
                <a:srgbClr val="00B9FF"/>
              </a:buClr>
              <a:buSzPct val="100000"/>
            </a:pPr>
            <a:endParaRPr lang="en-US" sz="1270" dirty="0">
              <a:latin typeface="Calibri" panose="020F0502020204030204"/>
              <a:ea typeface="Calibri"/>
              <a:cs typeface="Calibri"/>
              <a:sym typeface="Calibri"/>
            </a:endParaRPr>
          </a:p>
          <a:p>
            <a:pPr marL="259233" lvl="3" indent="-259233" defTabSz="829549">
              <a:lnSpc>
                <a:spcPts val="1814"/>
              </a:lnSpc>
              <a:buClr>
                <a:srgbClr val="00B9FF"/>
              </a:buClr>
              <a:buSzPct val="100000"/>
              <a:buFont typeface="Wingdings" panose="05000000000000000000" pitchFamily="2" charset="2"/>
              <a:buChar char="§"/>
            </a:pPr>
            <a:r>
              <a:rPr lang="en-US" sz="1452" b="1" dirty="0">
                <a:solidFill>
                  <a:srgbClr val="00B9FF"/>
                </a:solidFill>
                <a:latin typeface="Calibri" panose="020F0502020204030204"/>
                <a:ea typeface="Calibri"/>
                <a:cs typeface="Calibri"/>
                <a:sym typeface="Calibri"/>
              </a:rPr>
              <a:t>Expanded Data Extraction Capabilities</a:t>
            </a:r>
          </a:p>
          <a:p>
            <a:pPr defTabSz="829549">
              <a:lnSpc>
                <a:spcPts val="1633"/>
              </a:lnSpc>
              <a:buClr>
                <a:srgbClr val="00B9FF"/>
              </a:buClr>
              <a:buSzPct val="100000"/>
            </a:pPr>
            <a:r>
              <a:rPr lang="en-US" sz="1270" dirty="0">
                <a:latin typeface="Calibri" panose="020F0502020204030204"/>
                <a:ea typeface="Calibri"/>
                <a:cs typeface="Calibri"/>
                <a:sym typeface="Calibri"/>
              </a:rPr>
              <a:t>Datasets were created from the e-commerce platform across various cities and categories, enhancing data extraction capabilities.</a:t>
            </a:r>
          </a:p>
          <a:p>
            <a:pPr marL="259233" lvl="3" indent="-259233" defTabSz="829549">
              <a:lnSpc>
                <a:spcPts val="1814"/>
              </a:lnSpc>
              <a:spcBef>
                <a:spcPts val="544"/>
              </a:spcBef>
              <a:buClr>
                <a:srgbClr val="00B9FF"/>
              </a:buClr>
              <a:buSzPct val="100000"/>
              <a:buFont typeface="Wingdings" panose="05000000000000000000" pitchFamily="2" charset="2"/>
              <a:buChar char="§"/>
            </a:pPr>
            <a:r>
              <a:rPr lang="en-US" sz="1452" b="1" dirty="0">
                <a:solidFill>
                  <a:srgbClr val="00B9FF"/>
                </a:solidFill>
                <a:latin typeface="Calibri" panose="020F0502020204030204"/>
                <a:ea typeface="Calibri"/>
                <a:cs typeface="Calibri"/>
                <a:sym typeface="Calibri"/>
              </a:rPr>
              <a:t>Time and Resource Savings</a:t>
            </a:r>
          </a:p>
          <a:p>
            <a:pPr defTabSz="829549">
              <a:lnSpc>
                <a:spcPts val="1633"/>
              </a:lnSpc>
              <a:buClr>
                <a:srgbClr val="00B9FF"/>
              </a:buClr>
              <a:buSzPct val="100000"/>
            </a:pPr>
            <a:r>
              <a:rPr lang="en-US" sz="1270" dirty="0">
                <a:latin typeface="Calibri" panose="020F0502020204030204"/>
                <a:ea typeface="Calibri"/>
                <a:cs typeface="Calibri"/>
                <a:sym typeface="Calibri"/>
              </a:rPr>
              <a:t>The client achieved significant time efficiency in the data collection process, resulting in resource savings.</a:t>
            </a:r>
          </a:p>
          <a:p>
            <a:pPr marL="157614" indent="-157614" defTabSz="829549">
              <a:lnSpc>
                <a:spcPts val="1633"/>
              </a:lnSpc>
              <a:buClr>
                <a:srgbClr val="00B9FF"/>
              </a:buClr>
              <a:buSzPct val="100000"/>
              <a:buFont typeface="Wingdings" panose="05000000000000000000" pitchFamily="2" charset="2"/>
              <a:buChar char="§"/>
            </a:pPr>
            <a:endParaRPr lang="en-US" sz="1270" b="1" dirty="0">
              <a:latin typeface="Calibri" panose="020F0502020204030204"/>
              <a:ea typeface="Calibri"/>
              <a:cs typeface="Calibri"/>
              <a:sym typeface="Calibri"/>
            </a:endParaRPr>
          </a:p>
          <a:p>
            <a:pPr marL="157614" indent="-157614" defTabSz="829549">
              <a:lnSpc>
                <a:spcPts val="1633"/>
              </a:lnSpc>
              <a:buClr>
                <a:srgbClr val="00B9FF"/>
              </a:buClr>
              <a:buSzPct val="100000"/>
              <a:buFont typeface="Wingdings" panose="05000000000000000000" pitchFamily="2" charset="2"/>
              <a:buChar char="§"/>
            </a:pPr>
            <a:endParaRPr lang="en-US" sz="1270" b="1" dirty="0">
              <a:latin typeface="Calibri" panose="020F0502020204030204"/>
              <a:ea typeface="Calibri"/>
              <a:cs typeface="Calibri"/>
              <a:sym typeface="Calibri"/>
            </a:endParaRPr>
          </a:p>
          <a:p>
            <a:pPr marL="157614" indent="-157614" defTabSz="829549">
              <a:lnSpc>
                <a:spcPts val="1633"/>
              </a:lnSpc>
              <a:buClr>
                <a:srgbClr val="00B9FF"/>
              </a:buClr>
              <a:buSzPct val="100000"/>
              <a:buFont typeface="Wingdings" panose="05000000000000000000" pitchFamily="2" charset="2"/>
              <a:buChar char="§"/>
            </a:pPr>
            <a:endParaRPr lang="en-US" sz="1270" b="1" dirty="0">
              <a:latin typeface="Calibri" panose="020F0502020204030204"/>
              <a:ea typeface="Calibri"/>
              <a:cs typeface="Calibri"/>
              <a:sym typeface="Calibri"/>
            </a:endParaRPr>
          </a:p>
          <a:p>
            <a:pPr marL="157614" indent="-157614" defTabSz="829549">
              <a:lnSpc>
                <a:spcPts val="1633"/>
              </a:lnSpc>
              <a:buClr>
                <a:srgbClr val="00B9FF"/>
              </a:buClr>
              <a:buSzPct val="100000"/>
              <a:buFont typeface="Wingdings" panose="05000000000000000000" pitchFamily="2" charset="2"/>
              <a:buChar char="§"/>
            </a:pPr>
            <a:endParaRPr lang="en-US" sz="1270" b="1" dirty="0">
              <a:latin typeface="Calibri" panose="020F0502020204030204"/>
              <a:ea typeface="Calibri"/>
              <a:cs typeface="Calibri"/>
              <a:sym typeface="Calibri"/>
            </a:endParaRPr>
          </a:p>
          <a:p>
            <a:pPr marL="157614" indent="-157614" defTabSz="829549">
              <a:lnSpc>
                <a:spcPts val="1633"/>
              </a:lnSpc>
              <a:buClr>
                <a:srgbClr val="00B9FF"/>
              </a:buClr>
              <a:buSzPct val="100000"/>
              <a:buFont typeface="Wingdings" panose="05000000000000000000" pitchFamily="2" charset="2"/>
              <a:buChar char="§"/>
            </a:pPr>
            <a:endParaRPr lang="en-US" sz="1270" b="1" dirty="0">
              <a:latin typeface="Calibri" panose="020F0502020204030204"/>
              <a:ea typeface="Calibri"/>
              <a:cs typeface="Calibri"/>
              <a:sym typeface="Calibri"/>
            </a:endParaRPr>
          </a:p>
        </p:txBody>
      </p:sp>
      <p:sp>
        <p:nvSpPr>
          <p:cNvPr id="12" name="Google Shape;543;p30">
            <a:extLst>
              <a:ext uri="{FF2B5EF4-FFF2-40B4-BE49-F238E27FC236}">
                <a16:creationId xmlns:a16="http://schemas.microsoft.com/office/drawing/2014/main" id="{623E9CDE-389C-AC3E-0413-2E079F26F6B7}"/>
              </a:ext>
            </a:extLst>
          </p:cNvPr>
          <p:cNvSpPr txBox="1">
            <a:spLocks/>
          </p:cNvSpPr>
          <p:nvPr/>
        </p:nvSpPr>
        <p:spPr>
          <a:xfrm>
            <a:off x="727046" y="2479659"/>
            <a:ext cx="3331188" cy="1641475"/>
          </a:xfrm>
          <a:prstGeom prst="rect">
            <a:avLst/>
          </a:prstGeom>
          <a:noFill/>
          <a:ln>
            <a:noFill/>
          </a:ln>
        </p:spPr>
        <p:txBody>
          <a:bodyPr spcFirstLastPara="1" wrap="square" lIns="0" tIns="0" rIns="0" bIns="0" anchor="t" anchorCtr="0">
            <a:spAutoFit/>
          </a:bodyPr>
          <a:lstStyle/>
          <a:p>
            <a:pPr defTabSz="829549">
              <a:lnSpc>
                <a:spcPts val="1633"/>
              </a:lnSpc>
            </a:pPr>
            <a:r>
              <a:rPr lang="en-US" sz="1452" dirty="0">
                <a:solidFill>
                  <a:srgbClr val="444444"/>
                </a:solidFill>
                <a:latin typeface="Calibri" panose="020F0502020204030204"/>
                <a:ea typeface="Calibri"/>
                <a:cs typeface="Calibri"/>
                <a:sym typeface="Calibri"/>
              </a:rPr>
              <a:t>To analyze the secondhand automobile market in Morocco the client needed access to relevant and accurate data. </a:t>
            </a:r>
          </a:p>
          <a:p>
            <a:pPr defTabSz="829549">
              <a:lnSpc>
                <a:spcPts val="1633"/>
              </a:lnSpc>
            </a:pPr>
            <a:endParaRPr lang="en-US" sz="1452" dirty="0">
              <a:solidFill>
                <a:srgbClr val="444444"/>
              </a:solidFill>
              <a:latin typeface="Calibri" panose="020F0502020204030204"/>
              <a:ea typeface="Calibri"/>
              <a:cs typeface="Calibri"/>
              <a:sym typeface="Calibri"/>
            </a:endParaRPr>
          </a:p>
          <a:p>
            <a:pPr defTabSz="829549">
              <a:lnSpc>
                <a:spcPts val="1633"/>
              </a:lnSpc>
            </a:pPr>
            <a:r>
              <a:rPr lang="en-US" sz="1452" dirty="0">
                <a:solidFill>
                  <a:srgbClr val="444444"/>
                </a:solidFill>
                <a:latin typeface="Calibri" panose="020F0502020204030204"/>
                <a:ea typeface="Calibri"/>
                <a:cs typeface="Calibri"/>
                <a:sym typeface="Calibri"/>
              </a:rPr>
              <a:t>The client chose to use data of the country’s leading </a:t>
            </a:r>
            <a:r>
              <a:rPr lang="en-US" sz="1452" dirty="0" err="1">
                <a:solidFill>
                  <a:srgbClr val="444444"/>
                </a:solidFill>
                <a:latin typeface="Calibri" panose="020F0502020204030204"/>
                <a:ea typeface="Calibri"/>
                <a:cs typeface="Calibri"/>
                <a:sym typeface="Calibri"/>
              </a:rPr>
              <a:t>C2C</a:t>
            </a:r>
            <a:r>
              <a:rPr lang="en-US" sz="1452" dirty="0">
                <a:solidFill>
                  <a:srgbClr val="444444"/>
                </a:solidFill>
                <a:latin typeface="Calibri" panose="020F0502020204030204"/>
                <a:ea typeface="Calibri"/>
                <a:cs typeface="Calibri"/>
                <a:sym typeface="Calibri"/>
              </a:rPr>
              <a:t> e-commerce platform.</a:t>
            </a:r>
          </a:p>
          <a:p>
            <a:pPr defTabSz="829549">
              <a:lnSpc>
                <a:spcPts val="1633"/>
              </a:lnSpc>
            </a:pPr>
            <a:endParaRPr lang="en-US" sz="1452" dirty="0">
              <a:solidFill>
                <a:srgbClr val="444444"/>
              </a:solidFill>
              <a:latin typeface="Calibri" panose="020F0502020204030204"/>
              <a:ea typeface="Calibri"/>
              <a:cs typeface="Calibri"/>
              <a:sym typeface="Calibri"/>
            </a:endParaRPr>
          </a:p>
          <a:p>
            <a:pPr defTabSz="829549">
              <a:lnSpc>
                <a:spcPts val="1633"/>
              </a:lnSpc>
            </a:pPr>
            <a:r>
              <a:rPr lang="en-US" sz="1452" dirty="0">
                <a:latin typeface="Calibri" panose="020F0502020204030204"/>
                <a:ea typeface="Calibri"/>
                <a:cs typeface="Calibri"/>
                <a:sym typeface="Calibri"/>
              </a:rPr>
              <a:t>The firm was looking for: </a:t>
            </a:r>
            <a:endParaRPr lang="en-US" sz="1452" dirty="0">
              <a:solidFill>
                <a:srgbClr val="444444"/>
              </a:solidFill>
              <a:latin typeface="Calibri" panose="020F0502020204030204"/>
              <a:ea typeface="Calibri"/>
              <a:cs typeface="Calibri"/>
              <a:sym typeface="Calibri"/>
            </a:endParaRPr>
          </a:p>
        </p:txBody>
      </p:sp>
      <p:sp>
        <p:nvSpPr>
          <p:cNvPr id="13" name="Google Shape;565;p30">
            <a:extLst>
              <a:ext uri="{FF2B5EF4-FFF2-40B4-BE49-F238E27FC236}">
                <a16:creationId xmlns:a16="http://schemas.microsoft.com/office/drawing/2014/main" id="{7A6AC40E-0552-398A-D202-6FAF5E960267}"/>
              </a:ext>
            </a:extLst>
          </p:cNvPr>
          <p:cNvSpPr txBox="1">
            <a:spLocks/>
          </p:cNvSpPr>
          <p:nvPr/>
        </p:nvSpPr>
        <p:spPr>
          <a:xfrm>
            <a:off x="4393070" y="2479658"/>
            <a:ext cx="3427619" cy="654635"/>
          </a:xfrm>
          <a:prstGeom prst="rect">
            <a:avLst/>
          </a:prstGeom>
          <a:noFill/>
          <a:ln>
            <a:noFill/>
          </a:ln>
        </p:spPr>
        <p:txBody>
          <a:bodyPr spcFirstLastPara="1" wrap="square" lIns="0" tIns="0" rIns="0" bIns="0" anchor="t" anchorCtr="0">
            <a:noAutofit/>
          </a:bodyPr>
          <a:lstStyle/>
          <a:p>
            <a:pPr defTabSz="829549">
              <a:lnSpc>
                <a:spcPts val="1633"/>
              </a:lnSpc>
            </a:pPr>
            <a:r>
              <a:rPr lang="en-US" sz="1452" dirty="0">
                <a:solidFill>
                  <a:srgbClr val="222222"/>
                </a:solidFill>
                <a:latin typeface="Calibri" panose="020F0502020204030204"/>
                <a:ea typeface="Calibri"/>
                <a:cs typeface="Calibri"/>
                <a:sym typeface="Calibri"/>
              </a:rPr>
              <a:t>Infomineo’ s Data Analytics team addressed the client’s challenges by developing :</a:t>
            </a:r>
          </a:p>
        </p:txBody>
      </p:sp>
      <p:sp>
        <p:nvSpPr>
          <p:cNvPr id="14" name="Google Shape;540;p30">
            <a:extLst>
              <a:ext uri="{FF2B5EF4-FFF2-40B4-BE49-F238E27FC236}">
                <a16:creationId xmlns:a16="http://schemas.microsoft.com/office/drawing/2014/main" id="{B2AE7E99-5152-2E43-E2A1-5244A380D08C}"/>
              </a:ext>
            </a:extLst>
          </p:cNvPr>
          <p:cNvSpPr>
            <a:spLocks/>
          </p:cNvSpPr>
          <p:nvPr/>
        </p:nvSpPr>
        <p:spPr>
          <a:xfrm>
            <a:off x="8025818" y="1687982"/>
            <a:ext cx="3654797" cy="71384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endParaRPr b="1" kern="1200">
              <a:solidFill>
                <a:srgbClr val="FFFFFF"/>
              </a:solidFill>
              <a:latin typeface="Calibri" panose="020F0502020204030204" pitchFamily="34" charset="0"/>
              <a:cs typeface="Calibri" panose="020F0502020204030204" pitchFamily="34" charset="0"/>
            </a:endParaRPr>
          </a:p>
        </p:txBody>
      </p:sp>
      <p:sp>
        <p:nvSpPr>
          <p:cNvPr id="16" name="Google Shape;545;p30">
            <a:extLst>
              <a:ext uri="{FF2B5EF4-FFF2-40B4-BE49-F238E27FC236}">
                <a16:creationId xmlns:a16="http://schemas.microsoft.com/office/drawing/2014/main" id="{DE14FC74-4454-A0A2-3631-8F1ABE5F08E4}"/>
              </a:ext>
            </a:extLst>
          </p:cNvPr>
          <p:cNvSpPr>
            <a:spLocks/>
          </p:cNvSpPr>
          <p:nvPr/>
        </p:nvSpPr>
        <p:spPr>
          <a:xfrm>
            <a:off x="499868" y="1685069"/>
            <a:ext cx="3654797" cy="71685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endParaRPr b="1" kern="1200">
              <a:solidFill>
                <a:srgbClr val="FFFFFF"/>
              </a:solidFill>
              <a:latin typeface="Calibri" panose="020F0502020204030204" pitchFamily="34" charset="0"/>
              <a:cs typeface="Calibri" panose="020F0502020204030204" pitchFamily="34" charset="0"/>
            </a:endParaRPr>
          </a:p>
        </p:txBody>
      </p:sp>
      <p:grpSp>
        <p:nvGrpSpPr>
          <p:cNvPr id="18" name="Group 17">
            <a:extLst>
              <a:ext uri="{FF2B5EF4-FFF2-40B4-BE49-F238E27FC236}">
                <a16:creationId xmlns:a16="http://schemas.microsoft.com/office/drawing/2014/main" id="{00DE3B1A-0309-7790-11AB-E1A2BDE6DD4B}"/>
              </a:ext>
            </a:extLst>
          </p:cNvPr>
          <p:cNvGrpSpPr/>
          <p:nvPr/>
        </p:nvGrpSpPr>
        <p:grpSpPr>
          <a:xfrm>
            <a:off x="3466060" y="1746839"/>
            <a:ext cx="592175" cy="593316"/>
            <a:chOff x="3416568" y="1395569"/>
            <a:chExt cx="955760" cy="957600"/>
          </a:xfrm>
        </p:grpSpPr>
        <p:sp>
          <p:nvSpPr>
            <p:cNvPr id="19" name="Google Shape;551;p30">
              <a:extLst>
                <a:ext uri="{FF2B5EF4-FFF2-40B4-BE49-F238E27FC236}">
                  <a16:creationId xmlns:a16="http://schemas.microsoft.com/office/drawing/2014/main" id="{09DAD9EB-FACD-11F1-81A0-91BECBBB7ABE}"/>
                </a:ext>
              </a:extLst>
            </p:cNvPr>
            <p:cNvSpPr/>
            <p:nvPr/>
          </p:nvSpPr>
          <p:spPr>
            <a:xfrm>
              <a:off x="3416568"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401">
                <a:solidFill>
                  <a:srgbClr val="FFFFFF"/>
                </a:solidFill>
                <a:ea typeface="+mn-ea"/>
              </a:endParaRPr>
            </a:p>
          </p:txBody>
        </p:sp>
        <p:pic>
          <p:nvPicPr>
            <p:cNvPr id="20" name="Google Shape;552;p30">
              <a:extLst>
                <a:ext uri="{FF2B5EF4-FFF2-40B4-BE49-F238E27FC236}">
                  <a16:creationId xmlns:a16="http://schemas.microsoft.com/office/drawing/2014/main" id="{2ADA25A6-55BB-375C-3FBC-0D3A1967BAA7}"/>
                </a:ext>
              </a:extLst>
            </p:cNvPr>
            <p:cNvPicPr preferRelativeResize="0"/>
            <p:nvPr/>
          </p:nvPicPr>
          <p:blipFill rotWithShape="1">
            <a:blip r:embed="rId7" cstate="print">
              <a:alphaModFix/>
              <a:extLst>
                <a:ext uri="{28A0092B-C50C-407E-A947-70E740481C1C}">
                  <a14:useLocalDpi xmlns:a14="http://schemas.microsoft.com/office/drawing/2010/main" val="0"/>
                </a:ext>
              </a:extLst>
            </a:blip>
            <a:srcRect/>
            <a:stretch/>
          </p:blipFill>
          <p:spPr>
            <a:xfrm>
              <a:off x="3568608" y="1548529"/>
              <a:ext cx="651681" cy="651681"/>
            </a:xfrm>
            <a:prstGeom prst="rect">
              <a:avLst/>
            </a:prstGeom>
            <a:noFill/>
            <a:ln>
              <a:noFill/>
            </a:ln>
          </p:spPr>
        </p:pic>
      </p:grpSp>
      <p:sp>
        <p:nvSpPr>
          <p:cNvPr id="21" name="Google Shape;566;p30">
            <a:extLst>
              <a:ext uri="{FF2B5EF4-FFF2-40B4-BE49-F238E27FC236}">
                <a16:creationId xmlns:a16="http://schemas.microsoft.com/office/drawing/2014/main" id="{CFF90EF1-108A-552A-987E-AAB081B8A93D}"/>
              </a:ext>
            </a:extLst>
          </p:cNvPr>
          <p:cNvSpPr>
            <a:spLocks/>
          </p:cNvSpPr>
          <p:nvPr/>
        </p:nvSpPr>
        <p:spPr>
          <a:xfrm>
            <a:off x="4262843" y="1685069"/>
            <a:ext cx="3654797" cy="71685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endParaRPr b="1" kern="1200">
              <a:solidFill>
                <a:srgbClr val="FFFFFF"/>
              </a:solidFill>
              <a:latin typeface="Calibri" panose="020F0502020204030204" pitchFamily="34" charset="0"/>
              <a:cs typeface="Calibri" panose="020F0502020204030204" pitchFamily="34" charset="0"/>
            </a:endParaRPr>
          </a:p>
        </p:txBody>
      </p:sp>
      <p:grpSp>
        <p:nvGrpSpPr>
          <p:cNvPr id="23" name="Group 22">
            <a:extLst>
              <a:ext uri="{FF2B5EF4-FFF2-40B4-BE49-F238E27FC236}">
                <a16:creationId xmlns:a16="http://schemas.microsoft.com/office/drawing/2014/main" id="{F58CF39B-A9E8-096B-A98F-6B8BDC120665}"/>
              </a:ext>
            </a:extLst>
          </p:cNvPr>
          <p:cNvGrpSpPr/>
          <p:nvPr/>
        </p:nvGrpSpPr>
        <p:grpSpPr>
          <a:xfrm>
            <a:off x="7222928" y="1746839"/>
            <a:ext cx="592175" cy="593316"/>
            <a:chOff x="7762572" y="1395569"/>
            <a:chExt cx="955760" cy="957600"/>
          </a:xfrm>
        </p:grpSpPr>
        <p:sp>
          <p:nvSpPr>
            <p:cNvPr id="24" name="Google Shape;568;p30">
              <a:extLst>
                <a:ext uri="{FF2B5EF4-FFF2-40B4-BE49-F238E27FC236}">
                  <a16:creationId xmlns:a16="http://schemas.microsoft.com/office/drawing/2014/main" id="{B888F0DF-C8E7-C5C4-4B74-B13C37E69855}"/>
                </a:ext>
              </a:extLst>
            </p:cNvPr>
            <p:cNvSpPr/>
            <p:nvPr/>
          </p:nvSpPr>
          <p:spPr>
            <a:xfrm>
              <a:off x="7762572"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597">
                <a:solidFill>
                  <a:srgbClr val="FFFFFF"/>
                </a:solidFill>
                <a:ea typeface="+mn-ea"/>
              </a:endParaRPr>
            </a:p>
          </p:txBody>
        </p:sp>
        <p:pic>
          <p:nvPicPr>
            <p:cNvPr id="25" name="Google Shape;569;p30">
              <a:extLst>
                <a:ext uri="{FF2B5EF4-FFF2-40B4-BE49-F238E27FC236}">
                  <a16:creationId xmlns:a16="http://schemas.microsoft.com/office/drawing/2014/main" id="{A1410139-8304-D436-8B99-717601F526CA}"/>
                </a:ext>
              </a:extLst>
            </p:cNvPr>
            <p:cNvPicPr preferRelativeResize="0"/>
            <p:nvPr/>
          </p:nvPicPr>
          <p:blipFill rotWithShape="1">
            <a:blip r:embed="rId8" cstate="print">
              <a:alphaModFix/>
              <a:extLst>
                <a:ext uri="{28A0092B-C50C-407E-A947-70E740481C1C}">
                  <a14:useLocalDpi xmlns:a14="http://schemas.microsoft.com/office/drawing/2010/main" val="0"/>
                </a:ext>
              </a:extLst>
            </a:blip>
            <a:srcRect/>
            <a:stretch/>
          </p:blipFill>
          <p:spPr>
            <a:xfrm>
              <a:off x="7909107" y="1543024"/>
              <a:ext cx="662691" cy="662691"/>
            </a:xfrm>
            <a:prstGeom prst="rect">
              <a:avLst/>
            </a:prstGeom>
            <a:noFill/>
            <a:ln>
              <a:noFill/>
            </a:ln>
          </p:spPr>
        </p:pic>
      </p:grpSp>
      <p:grpSp>
        <p:nvGrpSpPr>
          <p:cNvPr id="26" name="Group 25">
            <a:extLst>
              <a:ext uri="{FF2B5EF4-FFF2-40B4-BE49-F238E27FC236}">
                <a16:creationId xmlns:a16="http://schemas.microsoft.com/office/drawing/2014/main" id="{EFB3134A-BF84-6564-36D8-3F0E0D1E8998}"/>
              </a:ext>
            </a:extLst>
          </p:cNvPr>
          <p:cNvGrpSpPr/>
          <p:nvPr/>
        </p:nvGrpSpPr>
        <p:grpSpPr>
          <a:xfrm>
            <a:off x="10997607" y="1746839"/>
            <a:ext cx="592175" cy="593316"/>
            <a:chOff x="12019931" y="1366765"/>
            <a:chExt cx="955760" cy="957600"/>
          </a:xfrm>
        </p:grpSpPr>
        <p:sp>
          <p:nvSpPr>
            <p:cNvPr id="27" name="Google Shape;583;p30">
              <a:extLst>
                <a:ext uri="{FF2B5EF4-FFF2-40B4-BE49-F238E27FC236}">
                  <a16:creationId xmlns:a16="http://schemas.microsoft.com/office/drawing/2014/main" id="{D3CC03A4-60C0-F0F8-DFCA-32F9B9F64F55}"/>
                </a:ext>
              </a:extLst>
            </p:cNvPr>
            <p:cNvSpPr/>
            <p:nvPr/>
          </p:nvSpPr>
          <p:spPr>
            <a:xfrm>
              <a:off x="12019931" y="1366765"/>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401">
                <a:solidFill>
                  <a:srgbClr val="FFFFFF"/>
                </a:solidFill>
                <a:highlight>
                  <a:srgbClr val="FFFF00"/>
                </a:highlight>
                <a:ea typeface="+mn-ea"/>
              </a:endParaRPr>
            </a:p>
          </p:txBody>
        </p:sp>
        <p:grpSp>
          <p:nvGrpSpPr>
            <p:cNvPr id="28" name="Google Shape;584;p30">
              <a:extLst>
                <a:ext uri="{FF2B5EF4-FFF2-40B4-BE49-F238E27FC236}">
                  <a16:creationId xmlns:a16="http://schemas.microsoft.com/office/drawing/2014/main" id="{4DDEBE46-120B-C78E-737B-72E758847E55}"/>
                </a:ext>
              </a:extLst>
            </p:cNvPr>
            <p:cNvGrpSpPr/>
            <p:nvPr/>
          </p:nvGrpSpPr>
          <p:grpSpPr>
            <a:xfrm>
              <a:off x="12226115" y="1593618"/>
              <a:ext cx="543392" cy="503895"/>
              <a:chOff x="10915170" y="2075424"/>
              <a:chExt cx="432288" cy="400866"/>
            </a:xfrm>
          </p:grpSpPr>
          <p:sp>
            <p:nvSpPr>
              <p:cNvPr id="29" name="Google Shape;585;p30">
                <a:extLst>
                  <a:ext uri="{FF2B5EF4-FFF2-40B4-BE49-F238E27FC236}">
                    <a16:creationId xmlns:a16="http://schemas.microsoft.com/office/drawing/2014/main" id="{37CF0385-F04F-6170-5C0E-9A692BB40773}"/>
                  </a:ext>
                </a:extLst>
              </p:cNvPr>
              <p:cNvSpPr/>
              <p:nvPr/>
            </p:nvSpPr>
            <p:spPr>
              <a:xfrm>
                <a:off x="10915170" y="2075424"/>
                <a:ext cx="432288" cy="400866"/>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noFill/>
              <a:ln w="6350" cap="flat" cmpd="sng">
                <a:solidFill>
                  <a:schemeClr val="accent1"/>
                </a:solidFill>
                <a:prstDash val="solid"/>
                <a:round/>
                <a:headEnd type="none" w="sm" len="sm"/>
                <a:tailEnd type="none" w="sm" len="sm"/>
              </a:ln>
            </p:spPr>
            <p:txBody>
              <a:bodyPr spcFirstLastPara="1" wrap="square" lIns="91422" tIns="45697" rIns="91422" bIns="45697" anchor="t" anchorCtr="0">
                <a:noAutofit/>
              </a:bodyPr>
              <a:lstStyle/>
              <a:p>
                <a:pPr defTabSz="829549"/>
                <a:endParaRPr sz="1801">
                  <a:solidFill>
                    <a:srgbClr val="444444"/>
                  </a:solidFill>
                  <a:highlight>
                    <a:srgbClr val="FFFF00"/>
                  </a:highlight>
                  <a:latin typeface="Calibri"/>
                  <a:ea typeface="Calibri"/>
                  <a:cs typeface="Calibri"/>
                  <a:sym typeface="Calibri"/>
                </a:endParaRPr>
              </a:p>
            </p:txBody>
          </p:sp>
          <p:sp>
            <p:nvSpPr>
              <p:cNvPr id="30" name="Google Shape;586;p30">
                <a:extLst>
                  <a:ext uri="{FF2B5EF4-FFF2-40B4-BE49-F238E27FC236}">
                    <a16:creationId xmlns:a16="http://schemas.microsoft.com/office/drawing/2014/main" id="{CC271DE2-2D86-0B4A-591F-DD3BD6AE75F1}"/>
                  </a:ext>
                </a:extLst>
              </p:cNvPr>
              <p:cNvSpPr/>
              <p:nvPr/>
            </p:nvSpPr>
            <p:spPr>
              <a:xfrm>
                <a:off x="11005647" y="2167089"/>
                <a:ext cx="282550" cy="266407"/>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3175" cap="flat" cmpd="sng">
                <a:solidFill>
                  <a:schemeClr val="accent1"/>
                </a:solidFill>
                <a:prstDash val="solid"/>
                <a:round/>
                <a:headEnd type="none" w="sm" len="sm"/>
                <a:tailEnd type="none" w="sm" len="sm"/>
              </a:ln>
            </p:spPr>
            <p:txBody>
              <a:bodyPr spcFirstLastPara="1" wrap="square" lIns="91422" tIns="45697" rIns="91422" bIns="45697" anchor="t" anchorCtr="0">
                <a:noAutofit/>
              </a:bodyPr>
              <a:lstStyle/>
              <a:p>
                <a:pPr defTabSz="829549"/>
                <a:endParaRPr sz="1801">
                  <a:solidFill>
                    <a:srgbClr val="444444"/>
                  </a:solidFill>
                  <a:highlight>
                    <a:srgbClr val="FFFF00"/>
                  </a:highlight>
                  <a:latin typeface="Calibri"/>
                  <a:ea typeface="Calibri"/>
                  <a:cs typeface="Calibri"/>
                  <a:sym typeface="Calibri"/>
                </a:endParaRPr>
              </a:p>
            </p:txBody>
          </p:sp>
        </p:grpSp>
      </p:grpSp>
      <p:sp>
        <p:nvSpPr>
          <p:cNvPr id="47" name="Google Shape;574;p30">
            <a:extLst>
              <a:ext uri="{FF2B5EF4-FFF2-40B4-BE49-F238E27FC236}">
                <a16:creationId xmlns:a16="http://schemas.microsoft.com/office/drawing/2014/main" id="{288B7B49-D940-EE65-AFD5-45D2FC972FEC}"/>
              </a:ext>
            </a:extLst>
          </p:cNvPr>
          <p:cNvSpPr txBox="1">
            <a:spLocks/>
          </p:cNvSpPr>
          <p:nvPr/>
        </p:nvSpPr>
        <p:spPr>
          <a:xfrm>
            <a:off x="4523875" y="3083089"/>
            <a:ext cx="3319094" cy="3171870"/>
          </a:xfrm>
          <a:prstGeom prst="rect">
            <a:avLst/>
          </a:prstGeom>
          <a:noFill/>
          <a:ln>
            <a:noFill/>
          </a:ln>
        </p:spPr>
        <p:txBody>
          <a:bodyPr spcFirstLastPara="1" wrap="square" lIns="0" tIns="0" rIns="0" bIns="0" anchor="t" anchorCtr="0">
            <a:noAutofit/>
          </a:bodyPr>
          <a:lstStyle/>
          <a:p>
            <a:pPr defTabSz="829549">
              <a:lnSpc>
                <a:spcPts val="1633"/>
              </a:lnSpc>
              <a:buClrTx/>
              <a:buSzPct val="100000"/>
            </a:pPr>
            <a:r>
              <a:rPr lang="en-US" sz="1452" b="1" dirty="0">
                <a:solidFill>
                  <a:srgbClr val="0F47F2"/>
                </a:solidFill>
                <a:latin typeface="Calibri" panose="020F0502020204030204"/>
                <a:ea typeface="Calibri"/>
                <a:cs typeface="Calibri"/>
                <a:sym typeface="Calibri"/>
              </a:rPr>
              <a:t>Comprehensive Data Collection Strategy</a:t>
            </a:r>
            <a:endParaRPr lang="en-US" sz="1270" b="1" dirty="0">
              <a:solidFill>
                <a:srgbClr val="0F47F2"/>
              </a:solidFill>
              <a:latin typeface="Calibri" panose="020F0502020204030204"/>
              <a:ea typeface="Calibri"/>
              <a:cs typeface="Calibri"/>
              <a:sym typeface="Calibri"/>
            </a:endParaRPr>
          </a:p>
          <a:p>
            <a:pPr defTabSz="829549">
              <a:lnSpc>
                <a:spcPts val="1633"/>
              </a:lnSpc>
              <a:buClr>
                <a:srgbClr val="00B9FF"/>
              </a:buClr>
              <a:buSzPct val="100000"/>
            </a:pPr>
            <a:r>
              <a:rPr lang="en-US" sz="1270" dirty="0">
                <a:latin typeface="Calibri" panose="020F0502020204030204"/>
                <a:ea typeface="Calibri"/>
                <a:cs typeface="Calibri"/>
                <a:sym typeface="Calibri"/>
              </a:rPr>
              <a:t>Establishing a robust data collection framework and implementing efficient methodologies to gather the required data.</a:t>
            </a:r>
          </a:p>
          <a:p>
            <a:pPr marL="157614" indent="-157614" defTabSz="829549">
              <a:lnSpc>
                <a:spcPts val="1633"/>
              </a:lnSpc>
              <a:buClr>
                <a:srgbClr val="0F47F2"/>
              </a:buClr>
              <a:buSzPct val="100000"/>
              <a:buFont typeface="Wingdings" panose="05000000000000000000" pitchFamily="2" charset="2"/>
              <a:buChar char="§"/>
            </a:pPr>
            <a:endParaRPr lang="en-US" sz="1270" dirty="0">
              <a:latin typeface="Calibri" panose="020F0502020204030204"/>
              <a:ea typeface="Calibri"/>
              <a:cs typeface="Calibri"/>
              <a:sym typeface="Calibri"/>
            </a:endParaRPr>
          </a:p>
          <a:p>
            <a:pPr defTabSz="829549">
              <a:lnSpc>
                <a:spcPts val="1633"/>
              </a:lnSpc>
              <a:buClrTx/>
              <a:buSzPct val="100000"/>
            </a:pPr>
            <a:r>
              <a:rPr lang="en-US" sz="1452" b="1" dirty="0">
                <a:solidFill>
                  <a:srgbClr val="0F47F2"/>
                </a:solidFill>
                <a:latin typeface="Calibri" panose="020F0502020204030204"/>
                <a:ea typeface="Calibri"/>
                <a:cs typeface="Calibri"/>
                <a:sym typeface="Calibri"/>
              </a:rPr>
              <a:t>User-Centric Interface Design</a:t>
            </a:r>
          </a:p>
          <a:p>
            <a:pPr defTabSz="829549">
              <a:lnSpc>
                <a:spcPts val="1633"/>
              </a:lnSpc>
              <a:buClr>
                <a:srgbClr val="00B9FF"/>
              </a:buClr>
              <a:buSzPct val="100000"/>
            </a:pPr>
            <a:r>
              <a:rPr lang="en-US" sz="1270" dirty="0">
                <a:latin typeface="Calibri" panose="020F0502020204030204"/>
                <a:ea typeface="Calibri"/>
                <a:cs typeface="Calibri"/>
                <a:sym typeface="Calibri"/>
              </a:rPr>
              <a:t>Crafting a user-friendly graphical user interface (GUI) that simplified the data collection process for the client</a:t>
            </a:r>
          </a:p>
          <a:p>
            <a:pPr marL="157614" indent="-157614" defTabSz="829549">
              <a:lnSpc>
                <a:spcPts val="1633"/>
              </a:lnSpc>
              <a:buClr>
                <a:srgbClr val="0F47F2"/>
              </a:buClr>
              <a:buSzPct val="100000"/>
              <a:buFont typeface="Wingdings" panose="05000000000000000000" pitchFamily="2" charset="2"/>
              <a:buChar char="§"/>
            </a:pPr>
            <a:endParaRPr lang="en-US" sz="1452" dirty="0">
              <a:solidFill>
                <a:srgbClr val="0F47F2"/>
              </a:solidFill>
              <a:latin typeface="Calibri" panose="020F0502020204030204"/>
              <a:ea typeface="Calibri"/>
              <a:cs typeface="Calibri"/>
              <a:sym typeface="Calibri"/>
            </a:endParaRPr>
          </a:p>
          <a:p>
            <a:pPr defTabSz="829549">
              <a:lnSpc>
                <a:spcPts val="1633"/>
              </a:lnSpc>
              <a:buClrTx/>
              <a:buSzPct val="100000"/>
            </a:pPr>
            <a:r>
              <a:rPr lang="en-US" sz="1452" b="1" dirty="0">
                <a:solidFill>
                  <a:srgbClr val="0F47F2"/>
                </a:solidFill>
                <a:latin typeface="Calibri" panose="020F0502020204030204"/>
                <a:ea typeface="Calibri"/>
                <a:cs typeface="Calibri"/>
                <a:sym typeface="Calibri"/>
              </a:rPr>
              <a:t>Data Quality Assurance</a:t>
            </a:r>
          </a:p>
          <a:p>
            <a:pPr defTabSz="829549">
              <a:lnSpc>
                <a:spcPts val="1633"/>
              </a:lnSpc>
              <a:buClr>
                <a:srgbClr val="00B9FF"/>
              </a:buClr>
              <a:buSzPct val="100000"/>
            </a:pPr>
            <a:r>
              <a:rPr lang="en-US" sz="1270" dirty="0">
                <a:latin typeface="Calibri" panose="020F0502020204030204"/>
                <a:ea typeface="Calibri"/>
                <a:cs typeface="Calibri"/>
                <a:sym typeface="Calibri"/>
              </a:rPr>
              <a:t>Implementing rigorous cleaning and preprocessing techniques to ensure the integrity and reliability of the collected data. </a:t>
            </a:r>
          </a:p>
        </p:txBody>
      </p:sp>
      <p:grpSp>
        <p:nvGrpSpPr>
          <p:cNvPr id="33" name="Group 32">
            <a:extLst>
              <a:ext uri="{FF2B5EF4-FFF2-40B4-BE49-F238E27FC236}">
                <a16:creationId xmlns:a16="http://schemas.microsoft.com/office/drawing/2014/main" id="{BA11EE3D-44AE-4AA2-06D3-819C5D978E6F}"/>
              </a:ext>
            </a:extLst>
          </p:cNvPr>
          <p:cNvGrpSpPr/>
          <p:nvPr/>
        </p:nvGrpSpPr>
        <p:grpSpPr>
          <a:xfrm>
            <a:off x="778545" y="4455237"/>
            <a:ext cx="3097443" cy="787298"/>
            <a:chOff x="803725" y="4920772"/>
            <a:chExt cx="3414536" cy="867896"/>
          </a:xfrm>
        </p:grpSpPr>
        <p:sp>
          <p:nvSpPr>
            <p:cNvPr id="34" name="Google Shape;561;p30">
              <a:extLst>
                <a:ext uri="{FF2B5EF4-FFF2-40B4-BE49-F238E27FC236}">
                  <a16:creationId xmlns:a16="http://schemas.microsoft.com/office/drawing/2014/main" id="{1CD9C9B4-265E-2982-A1E5-282D4D7CD76F}"/>
                </a:ext>
              </a:extLst>
            </p:cNvPr>
            <p:cNvSpPr txBox="1">
              <a:spLocks/>
            </p:cNvSpPr>
            <p:nvPr/>
          </p:nvSpPr>
          <p:spPr>
            <a:xfrm>
              <a:off x="1437182" y="4920772"/>
              <a:ext cx="2781079" cy="867896"/>
            </a:xfrm>
            <a:prstGeom prst="rect">
              <a:avLst/>
            </a:prstGeom>
            <a:noFill/>
            <a:ln>
              <a:noFill/>
            </a:ln>
          </p:spPr>
          <p:txBody>
            <a:bodyPr spcFirstLastPara="1" wrap="square" lIns="0" tIns="0" rIns="0" bIns="0" anchor="t" anchorCtr="0">
              <a:noAutofit/>
            </a:bodyPr>
            <a:lstStyle/>
            <a:p>
              <a:pPr defTabSz="829549">
                <a:lnSpc>
                  <a:spcPts val="1633"/>
                </a:lnSpc>
              </a:pPr>
              <a:r>
                <a:rPr lang="en-US" sz="1452" dirty="0">
                  <a:solidFill>
                    <a:srgbClr val="444444"/>
                  </a:solidFill>
                  <a:latin typeface="Calibri" panose="020F0502020204030204"/>
                  <a:ea typeface="Calibri"/>
                  <a:cs typeface="Calibri"/>
                  <a:sym typeface="Calibri"/>
                </a:rPr>
                <a:t>An efficient and consistent way to regularly collect data from an e-commerce website</a:t>
              </a:r>
              <a:endParaRPr lang="en-US" sz="1452" dirty="0">
                <a:latin typeface="Calibri" panose="020F0502020204030204"/>
                <a:ea typeface="Calibri"/>
                <a:cs typeface="Calibri"/>
                <a:sym typeface="Calibri"/>
              </a:endParaRPr>
            </a:p>
          </p:txBody>
        </p:sp>
        <p:grpSp>
          <p:nvGrpSpPr>
            <p:cNvPr id="180" name="Group 179">
              <a:extLst>
                <a:ext uri="{FF2B5EF4-FFF2-40B4-BE49-F238E27FC236}">
                  <a16:creationId xmlns:a16="http://schemas.microsoft.com/office/drawing/2014/main" id="{7D721D98-2F3D-BE39-4A33-AF7458DDA7DA}"/>
                </a:ext>
              </a:extLst>
            </p:cNvPr>
            <p:cNvGrpSpPr/>
            <p:nvPr/>
          </p:nvGrpSpPr>
          <p:grpSpPr>
            <a:xfrm>
              <a:off x="803725" y="4920772"/>
              <a:ext cx="503992" cy="503992"/>
              <a:chOff x="803725" y="4811208"/>
              <a:chExt cx="503992" cy="503992"/>
            </a:xfrm>
          </p:grpSpPr>
          <p:sp>
            <p:nvSpPr>
              <p:cNvPr id="36" name="Google Shape;554;p30">
                <a:extLst>
                  <a:ext uri="{FF2B5EF4-FFF2-40B4-BE49-F238E27FC236}">
                    <a16:creationId xmlns:a16="http://schemas.microsoft.com/office/drawing/2014/main" id="{AE1A80AB-92C3-FEBF-8029-F670F717BF21}"/>
                  </a:ext>
                </a:extLst>
              </p:cNvPr>
              <p:cNvSpPr/>
              <p:nvPr/>
            </p:nvSpPr>
            <p:spPr>
              <a:xfrm>
                <a:off x="803725" y="4811208"/>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lnSpc>
                    <a:spcPts val="1633"/>
                  </a:lnSpc>
                </a:pPr>
                <a:endParaRPr sz="1452" dirty="0">
                  <a:solidFill>
                    <a:srgbClr val="FFFFFF"/>
                  </a:solidFill>
                  <a:latin typeface="Calibri" panose="020F0502020204030204"/>
                  <a:ea typeface="Calibri"/>
                  <a:cs typeface="Calibri"/>
                  <a:sym typeface="Calibri"/>
                </a:endParaRPr>
              </a:p>
            </p:txBody>
          </p:sp>
          <p:sp>
            <p:nvSpPr>
              <p:cNvPr id="176" name="Freeform 8">
                <a:extLst>
                  <a:ext uri="{FF2B5EF4-FFF2-40B4-BE49-F238E27FC236}">
                    <a16:creationId xmlns:a16="http://schemas.microsoft.com/office/drawing/2014/main" id="{83AA069D-3D80-73AB-0884-9E5A8379FED1}"/>
                  </a:ext>
                </a:extLst>
              </p:cNvPr>
              <p:cNvSpPr>
                <a:spLocks/>
              </p:cNvSpPr>
              <p:nvPr/>
            </p:nvSpPr>
            <p:spPr bwMode="auto">
              <a:xfrm rot="4742745">
                <a:off x="872239" y="4916586"/>
                <a:ext cx="376479" cy="259422"/>
              </a:xfrm>
              <a:custGeom>
                <a:avLst/>
                <a:gdLst/>
                <a:ahLst/>
                <a:cxnLst>
                  <a:cxn ang="0">
                    <a:pos x="12" y="486"/>
                  </a:cxn>
                  <a:cxn ang="0">
                    <a:pos x="36" y="474"/>
                  </a:cxn>
                  <a:cxn ang="0">
                    <a:pos x="78" y="462"/>
                  </a:cxn>
                  <a:cxn ang="0">
                    <a:pos x="114" y="444"/>
                  </a:cxn>
                  <a:cxn ang="0">
                    <a:pos x="180" y="396"/>
                  </a:cxn>
                  <a:cxn ang="0">
                    <a:pos x="204" y="354"/>
                  </a:cxn>
                  <a:cxn ang="0">
                    <a:pos x="210" y="324"/>
                  </a:cxn>
                  <a:cxn ang="0">
                    <a:pos x="198" y="312"/>
                  </a:cxn>
                  <a:cxn ang="0">
                    <a:pos x="204" y="276"/>
                  </a:cxn>
                  <a:cxn ang="0">
                    <a:pos x="210" y="258"/>
                  </a:cxn>
                  <a:cxn ang="0">
                    <a:pos x="234" y="222"/>
                  </a:cxn>
                  <a:cxn ang="0">
                    <a:pos x="240" y="204"/>
                  </a:cxn>
                  <a:cxn ang="0">
                    <a:pos x="252" y="186"/>
                  </a:cxn>
                  <a:cxn ang="0">
                    <a:pos x="270" y="174"/>
                  </a:cxn>
                  <a:cxn ang="0">
                    <a:pos x="282" y="162"/>
                  </a:cxn>
                  <a:cxn ang="0">
                    <a:pos x="312" y="144"/>
                  </a:cxn>
                  <a:cxn ang="0">
                    <a:pos x="342" y="132"/>
                  </a:cxn>
                  <a:cxn ang="0">
                    <a:pos x="360" y="126"/>
                  </a:cxn>
                  <a:cxn ang="0">
                    <a:pos x="384" y="108"/>
                  </a:cxn>
                  <a:cxn ang="0">
                    <a:pos x="396" y="90"/>
                  </a:cxn>
                  <a:cxn ang="0">
                    <a:pos x="414" y="48"/>
                  </a:cxn>
                  <a:cxn ang="0">
                    <a:pos x="438" y="6"/>
                  </a:cxn>
                  <a:cxn ang="0">
                    <a:pos x="456" y="0"/>
                  </a:cxn>
                  <a:cxn ang="0">
                    <a:pos x="468" y="12"/>
                  </a:cxn>
                  <a:cxn ang="0">
                    <a:pos x="480" y="30"/>
                  </a:cxn>
                  <a:cxn ang="0">
                    <a:pos x="504" y="42"/>
                  </a:cxn>
                  <a:cxn ang="0">
                    <a:pos x="546" y="42"/>
                  </a:cxn>
                  <a:cxn ang="0">
                    <a:pos x="570" y="42"/>
                  </a:cxn>
                  <a:cxn ang="0">
                    <a:pos x="594" y="36"/>
                  </a:cxn>
                  <a:cxn ang="0">
                    <a:pos x="606" y="36"/>
                  </a:cxn>
                  <a:cxn ang="0">
                    <a:pos x="618" y="48"/>
                  </a:cxn>
                  <a:cxn ang="0">
                    <a:pos x="642" y="48"/>
                  </a:cxn>
                  <a:cxn ang="0">
                    <a:pos x="660" y="60"/>
                  </a:cxn>
                  <a:cxn ang="0">
                    <a:pos x="672" y="72"/>
                  </a:cxn>
                  <a:cxn ang="0">
                    <a:pos x="666" y="90"/>
                  </a:cxn>
                  <a:cxn ang="0">
                    <a:pos x="672" y="132"/>
                  </a:cxn>
                  <a:cxn ang="0">
                    <a:pos x="678" y="156"/>
                  </a:cxn>
                  <a:cxn ang="0">
                    <a:pos x="684" y="180"/>
                  </a:cxn>
                  <a:cxn ang="0">
                    <a:pos x="708" y="210"/>
                  </a:cxn>
                  <a:cxn ang="0">
                    <a:pos x="702" y="216"/>
                  </a:cxn>
                  <a:cxn ang="0">
                    <a:pos x="702" y="228"/>
                  </a:cxn>
                  <a:cxn ang="0">
                    <a:pos x="666" y="228"/>
                  </a:cxn>
                  <a:cxn ang="0">
                    <a:pos x="606" y="228"/>
                  </a:cxn>
                  <a:cxn ang="0">
                    <a:pos x="606" y="246"/>
                  </a:cxn>
                  <a:cxn ang="0">
                    <a:pos x="558" y="264"/>
                  </a:cxn>
                  <a:cxn ang="0">
                    <a:pos x="552" y="282"/>
                  </a:cxn>
                  <a:cxn ang="0">
                    <a:pos x="564" y="294"/>
                  </a:cxn>
                  <a:cxn ang="0">
                    <a:pos x="552" y="300"/>
                  </a:cxn>
                  <a:cxn ang="0">
                    <a:pos x="528" y="312"/>
                  </a:cxn>
                  <a:cxn ang="0">
                    <a:pos x="492" y="318"/>
                  </a:cxn>
                  <a:cxn ang="0">
                    <a:pos x="474" y="354"/>
                  </a:cxn>
                  <a:cxn ang="0">
                    <a:pos x="432" y="366"/>
                  </a:cxn>
                  <a:cxn ang="0">
                    <a:pos x="396" y="372"/>
                  </a:cxn>
                  <a:cxn ang="0">
                    <a:pos x="378" y="378"/>
                  </a:cxn>
                  <a:cxn ang="0">
                    <a:pos x="348" y="378"/>
                  </a:cxn>
                  <a:cxn ang="0">
                    <a:pos x="324" y="396"/>
                  </a:cxn>
                  <a:cxn ang="0">
                    <a:pos x="300" y="414"/>
                  </a:cxn>
                  <a:cxn ang="0">
                    <a:pos x="264" y="432"/>
                  </a:cxn>
                </a:cxnLst>
                <a:rect l="0" t="0" r="r" b="b"/>
                <a:pathLst>
                  <a:path w="714" h="492">
                    <a:moveTo>
                      <a:pt x="0" y="492"/>
                    </a:moveTo>
                    <a:lnTo>
                      <a:pt x="6" y="492"/>
                    </a:lnTo>
                    <a:lnTo>
                      <a:pt x="12" y="486"/>
                    </a:lnTo>
                    <a:lnTo>
                      <a:pt x="18" y="480"/>
                    </a:lnTo>
                    <a:lnTo>
                      <a:pt x="18" y="474"/>
                    </a:lnTo>
                    <a:lnTo>
                      <a:pt x="36" y="474"/>
                    </a:lnTo>
                    <a:lnTo>
                      <a:pt x="60" y="468"/>
                    </a:lnTo>
                    <a:lnTo>
                      <a:pt x="66" y="468"/>
                    </a:lnTo>
                    <a:lnTo>
                      <a:pt x="78" y="462"/>
                    </a:lnTo>
                    <a:lnTo>
                      <a:pt x="102" y="456"/>
                    </a:lnTo>
                    <a:lnTo>
                      <a:pt x="102" y="450"/>
                    </a:lnTo>
                    <a:lnTo>
                      <a:pt x="114" y="444"/>
                    </a:lnTo>
                    <a:lnTo>
                      <a:pt x="126" y="432"/>
                    </a:lnTo>
                    <a:lnTo>
                      <a:pt x="156" y="414"/>
                    </a:lnTo>
                    <a:lnTo>
                      <a:pt x="180" y="396"/>
                    </a:lnTo>
                    <a:lnTo>
                      <a:pt x="192" y="372"/>
                    </a:lnTo>
                    <a:lnTo>
                      <a:pt x="204" y="360"/>
                    </a:lnTo>
                    <a:lnTo>
                      <a:pt x="204" y="354"/>
                    </a:lnTo>
                    <a:lnTo>
                      <a:pt x="210" y="342"/>
                    </a:lnTo>
                    <a:lnTo>
                      <a:pt x="216" y="330"/>
                    </a:lnTo>
                    <a:lnTo>
                      <a:pt x="210" y="324"/>
                    </a:lnTo>
                    <a:lnTo>
                      <a:pt x="204" y="318"/>
                    </a:lnTo>
                    <a:lnTo>
                      <a:pt x="198" y="318"/>
                    </a:lnTo>
                    <a:lnTo>
                      <a:pt x="198" y="312"/>
                    </a:lnTo>
                    <a:lnTo>
                      <a:pt x="204" y="306"/>
                    </a:lnTo>
                    <a:lnTo>
                      <a:pt x="198" y="288"/>
                    </a:lnTo>
                    <a:lnTo>
                      <a:pt x="204" y="276"/>
                    </a:lnTo>
                    <a:lnTo>
                      <a:pt x="198" y="270"/>
                    </a:lnTo>
                    <a:lnTo>
                      <a:pt x="204" y="264"/>
                    </a:lnTo>
                    <a:lnTo>
                      <a:pt x="210" y="258"/>
                    </a:lnTo>
                    <a:lnTo>
                      <a:pt x="210" y="252"/>
                    </a:lnTo>
                    <a:lnTo>
                      <a:pt x="228" y="234"/>
                    </a:lnTo>
                    <a:lnTo>
                      <a:pt x="234" y="222"/>
                    </a:lnTo>
                    <a:lnTo>
                      <a:pt x="234" y="216"/>
                    </a:lnTo>
                    <a:lnTo>
                      <a:pt x="234" y="210"/>
                    </a:lnTo>
                    <a:lnTo>
                      <a:pt x="240" y="204"/>
                    </a:lnTo>
                    <a:lnTo>
                      <a:pt x="234" y="204"/>
                    </a:lnTo>
                    <a:lnTo>
                      <a:pt x="246" y="198"/>
                    </a:lnTo>
                    <a:lnTo>
                      <a:pt x="252" y="186"/>
                    </a:lnTo>
                    <a:lnTo>
                      <a:pt x="258" y="186"/>
                    </a:lnTo>
                    <a:lnTo>
                      <a:pt x="264" y="180"/>
                    </a:lnTo>
                    <a:lnTo>
                      <a:pt x="270" y="174"/>
                    </a:lnTo>
                    <a:lnTo>
                      <a:pt x="276" y="168"/>
                    </a:lnTo>
                    <a:lnTo>
                      <a:pt x="276" y="162"/>
                    </a:lnTo>
                    <a:lnTo>
                      <a:pt x="282" y="162"/>
                    </a:lnTo>
                    <a:lnTo>
                      <a:pt x="288" y="156"/>
                    </a:lnTo>
                    <a:lnTo>
                      <a:pt x="294" y="150"/>
                    </a:lnTo>
                    <a:lnTo>
                      <a:pt x="312" y="144"/>
                    </a:lnTo>
                    <a:lnTo>
                      <a:pt x="330" y="138"/>
                    </a:lnTo>
                    <a:lnTo>
                      <a:pt x="336" y="138"/>
                    </a:lnTo>
                    <a:lnTo>
                      <a:pt x="342" y="132"/>
                    </a:lnTo>
                    <a:lnTo>
                      <a:pt x="348" y="132"/>
                    </a:lnTo>
                    <a:lnTo>
                      <a:pt x="354" y="126"/>
                    </a:lnTo>
                    <a:lnTo>
                      <a:pt x="360" y="126"/>
                    </a:lnTo>
                    <a:lnTo>
                      <a:pt x="366" y="120"/>
                    </a:lnTo>
                    <a:lnTo>
                      <a:pt x="378" y="114"/>
                    </a:lnTo>
                    <a:lnTo>
                      <a:pt x="384" y="108"/>
                    </a:lnTo>
                    <a:lnTo>
                      <a:pt x="390" y="102"/>
                    </a:lnTo>
                    <a:lnTo>
                      <a:pt x="390" y="96"/>
                    </a:lnTo>
                    <a:lnTo>
                      <a:pt x="396" y="90"/>
                    </a:lnTo>
                    <a:lnTo>
                      <a:pt x="402" y="84"/>
                    </a:lnTo>
                    <a:lnTo>
                      <a:pt x="408" y="60"/>
                    </a:lnTo>
                    <a:lnTo>
                      <a:pt x="414" y="48"/>
                    </a:lnTo>
                    <a:lnTo>
                      <a:pt x="420" y="42"/>
                    </a:lnTo>
                    <a:lnTo>
                      <a:pt x="432" y="6"/>
                    </a:lnTo>
                    <a:lnTo>
                      <a:pt x="438" y="6"/>
                    </a:lnTo>
                    <a:lnTo>
                      <a:pt x="444" y="6"/>
                    </a:lnTo>
                    <a:lnTo>
                      <a:pt x="450" y="6"/>
                    </a:lnTo>
                    <a:lnTo>
                      <a:pt x="456" y="0"/>
                    </a:lnTo>
                    <a:lnTo>
                      <a:pt x="462" y="0"/>
                    </a:lnTo>
                    <a:lnTo>
                      <a:pt x="468" y="6"/>
                    </a:lnTo>
                    <a:lnTo>
                      <a:pt x="468" y="12"/>
                    </a:lnTo>
                    <a:lnTo>
                      <a:pt x="468" y="24"/>
                    </a:lnTo>
                    <a:lnTo>
                      <a:pt x="474" y="24"/>
                    </a:lnTo>
                    <a:lnTo>
                      <a:pt x="480" y="30"/>
                    </a:lnTo>
                    <a:lnTo>
                      <a:pt x="492" y="36"/>
                    </a:lnTo>
                    <a:lnTo>
                      <a:pt x="498" y="42"/>
                    </a:lnTo>
                    <a:lnTo>
                      <a:pt x="504" y="42"/>
                    </a:lnTo>
                    <a:lnTo>
                      <a:pt x="522" y="48"/>
                    </a:lnTo>
                    <a:lnTo>
                      <a:pt x="540" y="42"/>
                    </a:lnTo>
                    <a:lnTo>
                      <a:pt x="546" y="42"/>
                    </a:lnTo>
                    <a:lnTo>
                      <a:pt x="552" y="42"/>
                    </a:lnTo>
                    <a:lnTo>
                      <a:pt x="558" y="36"/>
                    </a:lnTo>
                    <a:lnTo>
                      <a:pt x="570" y="42"/>
                    </a:lnTo>
                    <a:lnTo>
                      <a:pt x="582" y="42"/>
                    </a:lnTo>
                    <a:lnTo>
                      <a:pt x="588" y="42"/>
                    </a:lnTo>
                    <a:lnTo>
                      <a:pt x="594" y="36"/>
                    </a:lnTo>
                    <a:lnTo>
                      <a:pt x="600" y="30"/>
                    </a:lnTo>
                    <a:lnTo>
                      <a:pt x="600" y="36"/>
                    </a:lnTo>
                    <a:lnTo>
                      <a:pt x="606" y="36"/>
                    </a:lnTo>
                    <a:lnTo>
                      <a:pt x="606" y="42"/>
                    </a:lnTo>
                    <a:lnTo>
                      <a:pt x="612" y="48"/>
                    </a:lnTo>
                    <a:lnTo>
                      <a:pt x="618" y="48"/>
                    </a:lnTo>
                    <a:lnTo>
                      <a:pt x="624" y="48"/>
                    </a:lnTo>
                    <a:lnTo>
                      <a:pt x="630" y="48"/>
                    </a:lnTo>
                    <a:lnTo>
                      <a:pt x="642" y="48"/>
                    </a:lnTo>
                    <a:lnTo>
                      <a:pt x="642" y="54"/>
                    </a:lnTo>
                    <a:lnTo>
                      <a:pt x="654" y="60"/>
                    </a:lnTo>
                    <a:lnTo>
                      <a:pt x="660" y="60"/>
                    </a:lnTo>
                    <a:lnTo>
                      <a:pt x="660" y="66"/>
                    </a:lnTo>
                    <a:lnTo>
                      <a:pt x="666" y="66"/>
                    </a:lnTo>
                    <a:lnTo>
                      <a:pt x="672" y="72"/>
                    </a:lnTo>
                    <a:lnTo>
                      <a:pt x="666" y="78"/>
                    </a:lnTo>
                    <a:lnTo>
                      <a:pt x="672" y="84"/>
                    </a:lnTo>
                    <a:lnTo>
                      <a:pt x="666" y="90"/>
                    </a:lnTo>
                    <a:lnTo>
                      <a:pt x="678" y="108"/>
                    </a:lnTo>
                    <a:lnTo>
                      <a:pt x="672" y="126"/>
                    </a:lnTo>
                    <a:lnTo>
                      <a:pt x="672" y="132"/>
                    </a:lnTo>
                    <a:lnTo>
                      <a:pt x="678" y="138"/>
                    </a:lnTo>
                    <a:lnTo>
                      <a:pt x="678" y="144"/>
                    </a:lnTo>
                    <a:lnTo>
                      <a:pt x="678" y="156"/>
                    </a:lnTo>
                    <a:lnTo>
                      <a:pt x="678" y="162"/>
                    </a:lnTo>
                    <a:lnTo>
                      <a:pt x="684" y="174"/>
                    </a:lnTo>
                    <a:lnTo>
                      <a:pt x="684" y="180"/>
                    </a:lnTo>
                    <a:lnTo>
                      <a:pt x="690" y="192"/>
                    </a:lnTo>
                    <a:lnTo>
                      <a:pt x="714" y="204"/>
                    </a:lnTo>
                    <a:lnTo>
                      <a:pt x="708" y="210"/>
                    </a:lnTo>
                    <a:lnTo>
                      <a:pt x="702" y="210"/>
                    </a:lnTo>
                    <a:lnTo>
                      <a:pt x="696" y="216"/>
                    </a:lnTo>
                    <a:lnTo>
                      <a:pt x="702" y="216"/>
                    </a:lnTo>
                    <a:lnTo>
                      <a:pt x="696" y="222"/>
                    </a:lnTo>
                    <a:lnTo>
                      <a:pt x="702" y="222"/>
                    </a:lnTo>
                    <a:lnTo>
                      <a:pt x="702" y="228"/>
                    </a:lnTo>
                    <a:lnTo>
                      <a:pt x="696" y="228"/>
                    </a:lnTo>
                    <a:lnTo>
                      <a:pt x="684" y="228"/>
                    </a:lnTo>
                    <a:lnTo>
                      <a:pt x="666" y="228"/>
                    </a:lnTo>
                    <a:lnTo>
                      <a:pt x="636" y="222"/>
                    </a:lnTo>
                    <a:lnTo>
                      <a:pt x="612" y="228"/>
                    </a:lnTo>
                    <a:lnTo>
                      <a:pt x="606" y="228"/>
                    </a:lnTo>
                    <a:lnTo>
                      <a:pt x="600" y="234"/>
                    </a:lnTo>
                    <a:lnTo>
                      <a:pt x="606" y="240"/>
                    </a:lnTo>
                    <a:lnTo>
                      <a:pt x="606" y="246"/>
                    </a:lnTo>
                    <a:lnTo>
                      <a:pt x="606" y="252"/>
                    </a:lnTo>
                    <a:lnTo>
                      <a:pt x="558" y="258"/>
                    </a:lnTo>
                    <a:lnTo>
                      <a:pt x="558" y="264"/>
                    </a:lnTo>
                    <a:lnTo>
                      <a:pt x="558" y="270"/>
                    </a:lnTo>
                    <a:lnTo>
                      <a:pt x="552" y="276"/>
                    </a:lnTo>
                    <a:lnTo>
                      <a:pt x="552" y="282"/>
                    </a:lnTo>
                    <a:lnTo>
                      <a:pt x="552" y="288"/>
                    </a:lnTo>
                    <a:lnTo>
                      <a:pt x="558" y="288"/>
                    </a:lnTo>
                    <a:lnTo>
                      <a:pt x="564" y="294"/>
                    </a:lnTo>
                    <a:lnTo>
                      <a:pt x="564" y="300"/>
                    </a:lnTo>
                    <a:lnTo>
                      <a:pt x="558" y="300"/>
                    </a:lnTo>
                    <a:lnTo>
                      <a:pt x="552" y="300"/>
                    </a:lnTo>
                    <a:lnTo>
                      <a:pt x="546" y="300"/>
                    </a:lnTo>
                    <a:lnTo>
                      <a:pt x="534" y="306"/>
                    </a:lnTo>
                    <a:lnTo>
                      <a:pt x="528" y="312"/>
                    </a:lnTo>
                    <a:lnTo>
                      <a:pt x="516" y="312"/>
                    </a:lnTo>
                    <a:lnTo>
                      <a:pt x="498" y="312"/>
                    </a:lnTo>
                    <a:lnTo>
                      <a:pt x="492" y="318"/>
                    </a:lnTo>
                    <a:lnTo>
                      <a:pt x="480" y="336"/>
                    </a:lnTo>
                    <a:lnTo>
                      <a:pt x="480" y="342"/>
                    </a:lnTo>
                    <a:lnTo>
                      <a:pt x="474" y="354"/>
                    </a:lnTo>
                    <a:lnTo>
                      <a:pt x="450" y="366"/>
                    </a:lnTo>
                    <a:lnTo>
                      <a:pt x="438" y="366"/>
                    </a:lnTo>
                    <a:lnTo>
                      <a:pt x="432" y="366"/>
                    </a:lnTo>
                    <a:lnTo>
                      <a:pt x="420" y="372"/>
                    </a:lnTo>
                    <a:lnTo>
                      <a:pt x="402" y="372"/>
                    </a:lnTo>
                    <a:lnTo>
                      <a:pt x="396" y="372"/>
                    </a:lnTo>
                    <a:lnTo>
                      <a:pt x="390" y="378"/>
                    </a:lnTo>
                    <a:lnTo>
                      <a:pt x="384" y="378"/>
                    </a:lnTo>
                    <a:lnTo>
                      <a:pt x="378" y="378"/>
                    </a:lnTo>
                    <a:lnTo>
                      <a:pt x="366" y="378"/>
                    </a:lnTo>
                    <a:lnTo>
                      <a:pt x="360" y="378"/>
                    </a:lnTo>
                    <a:lnTo>
                      <a:pt x="348" y="378"/>
                    </a:lnTo>
                    <a:lnTo>
                      <a:pt x="336" y="390"/>
                    </a:lnTo>
                    <a:lnTo>
                      <a:pt x="324" y="390"/>
                    </a:lnTo>
                    <a:lnTo>
                      <a:pt x="324" y="396"/>
                    </a:lnTo>
                    <a:lnTo>
                      <a:pt x="318" y="396"/>
                    </a:lnTo>
                    <a:lnTo>
                      <a:pt x="306" y="408"/>
                    </a:lnTo>
                    <a:lnTo>
                      <a:pt x="300" y="414"/>
                    </a:lnTo>
                    <a:lnTo>
                      <a:pt x="282" y="420"/>
                    </a:lnTo>
                    <a:lnTo>
                      <a:pt x="282" y="426"/>
                    </a:lnTo>
                    <a:lnTo>
                      <a:pt x="264" y="432"/>
                    </a:lnTo>
                    <a:lnTo>
                      <a:pt x="264" y="492"/>
                    </a:lnTo>
                    <a:lnTo>
                      <a:pt x="0" y="492"/>
                    </a:lnTo>
                    <a:close/>
                  </a:path>
                </a:pathLst>
              </a:custGeom>
              <a:noFill/>
              <a:ln w="6350" cmpd="sng">
                <a:solidFill>
                  <a:schemeClr val="bg1"/>
                </a:solidFill>
                <a:round/>
                <a:headEnd/>
                <a:tailEnd/>
              </a:ln>
              <a:effectLst/>
            </p:spPr>
            <p:txBody>
              <a:bodyPr vert="horz" wrap="square" lIns="91435" tIns="45718" rIns="91435" bIns="45718" numCol="1" anchor="t" anchorCtr="0" compatLnSpc="1">
                <a:prstTxWarp prst="textNoShape">
                  <a:avLst/>
                </a:prstTxWarp>
              </a:bodyPr>
              <a:lstStyle/>
              <a:p>
                <a:pPr defTabSz="829549">
                  <a:lnSpc>
                    <a:spcPts val="1633"/>
                  </a:lnSpc>
                </a:pPr>
                <a:endParaRPr lang="en-US" sz="1452">
                  <a:latin typeface="Calibri" panose="020F0502020204030204"/>
                  <a:ea typeface="+mn-ea"/>
                </a:endParaRPr>
              </a:p>
            </p:txBody>
          </p:sp>
        </p:grpSp>
      </p:grpSp>
      <p:grpSp>
        <p:nvGrpSpPr>
          <p:cNvPr id="32" name="Group 31">
            <a:extLst>
              <a:ext uri="{FF2B5EF4-FFF2-40B4-BE49-F238E27FC236}">
                <a16:creationId xmlns:a16="http://schemas.microsoft.com/office/drawing/2014/main" id="{36574DEA-07CE-36EC-9630-8524FD110C2E}"/>
              </a:ext>
            </a:extLst>
          </p:cNvPr>
          <p:cNvGrpSpPr/>
          <p:nvPr/>
        </p:nvGrpSpPr>
        <p:grpSpPr>
          <a:xfrm>
            <a:off x="778545" y="5424563"/>
            <a:ext cx="3097443" cy="582556"/>
            <a:chOff x="803725" y="5928057"/>
            <a:chExt cx="3414536" cy="642193"/>
          </a:xfrm>
        </p:grpSpPr>
        <p:sp>
          <p:nvSpPr>
            <p:cNvPr id="39" name="Google Shape;562;p30">
              <a:extLst>
                <a:ext uri="{FF2B5EF4-FFF2-40B4-BE49-F238E27FC236}">
                  <a16:creationId xmlns:a16="http://schemas.microsoft.com/office/drawing/2014/main" id="{2A7013BA-0A2D-A4DA-82DC-24805E241672}"/>
                </a:ext>
              </a:extLst>
            </p:cNvPr>
            <p:cNvSpPr txBox="1"/>
            <p:nvPr/>
          </p:nvSpPr>
          <p:spPr>
            <a:xfrm>
              <a:off x="1437182" y="5928057"/>
              <a:ext cx="2781079" cy="642193"/>
            </a:xfrm>
            <a:prstGeom prst="rect">
              <a:avLst/>
            </a:prstGeom>
            <a:noFill/>
            <a:ln>
              <a:noFill/>
            </a:ln>
          </p:spPr>
          <p:txBody>
            <a:bodyPr spcFirstLastPara="1" vert="horz" wrap="square" lIns="0" tIns="0" rIns="0" bIns="0" anchor="t" anchorCtr="0">
              <a:noAutofit/>
            </a:bodyPr>
            <a:lstStyle/>
            <a:p>
              <a:pPr defTabSz="829549">
                <a:lnSpc>
                  <a:spcPts val="1633"/>
                </a:lnSpc>
              </a:pPr>
              <a:r>
                <a:rPr lang="en-US" sz="1452" dirty="0">
                  <a:solidFill>
                    <a:srgbClr val="444444"/>
                  </a:solidFill>
                  <a:latin typeface="Calibri" panose="020F0502020204030204"/>
                  <a:ea typeface="Calibri"/>
                  <a:cs typeface="Calibri"/>
                  <a:sym typeface="Calibri"/>
                </a:rPr>
                <a:t>Create a database with the data collected daily to avoid bias of unsold items</a:t>
              </a:r>
              <a:endParaRPr lang="en-US" sz="1452" dirty="0">
                <a:latin typeface="Calibri" panose="020F0502020204030204"/>
                <a:ea typeface="Calibri"/>
                <a:cs typeface="Calibri"/>
                <a:sym typeface="Calibri"/>
              </a:endParaRPr>
            </a:p>
          </p:txBody>
        </p:sp>
        <p:grpSp>
          <p:nvGrpSpPr>
            <p:cNvPr id="179" name="Group 178">
              <a:extLst>
                <a:ext uri="{FF2B5EF4-FFF2-40B4-BE49-F238E27FC236}">
                  <a16:creationId xmlns:a16="http://schemas.microsoft.com/office/drawing/2014/main" id="{C46A55DE-BCF2-04E6-05C7-2EE14B93F4E0}"/>
                </a:ext>
              </a:extLst>
            </p:cNvPr>
            <p:cNvGrpSpPr/>
            <p:nvPr/>
          </p:nvGrpSpPr>
          <p:grpSpPr>
            <a:xfrm>
              <a:off x="803725" y="5928057"/>
              <a:ext cx="503992" cy="503992"/>
              <a:chOff x="803725" y="5691182"/>
              <a:chExt cx="503992" cy="503992"/>
            </a:xfrm>
          </p:grpSpPr>
          <p:sp>
            <p:nvSpPr>
              <p:cNvPr id="41" name="Google Shape;557;p30">
                <a:extLst>
                  <a:ext uri="{FF2B5EF4-FFF2-40B4-BE49-F238E27FC236}">
                    <a16:creationId xmlns:a16="http://schemas.microsoft.com/office/drawing/2014/main" id="{A8CAE4E5-54A4-E896-179A-92FB21D23C82}"/>
                  </a:ext>
                </a:extLst>
              </p:cNvPr>
              <p:cNvSpPr/>
              <p:nvPr/>
            </p:nvSpPr>
            <p:spPr>
              <a:xfrm>
                <a:off x="803725" y="5691182"/>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lnSpc>
                    <a:spcPts val="1633"/>
                  </a:lnSpc>
                </a:pPr>
                <a:endParaRPr sz="1452">
                  <a:solidFill>
                    <a:srgbClr val="FFFFFF"/>
                  </a:solidFill>
                  <a:latin typeface="Calibri" panose="020F0502020204030204"/>
                  <a:ea typeface="Calibri"/>
                  <a:cs typeface="Calibri"/>
                  <a:sym typeface="Calibri"/>
                </a:endParaRPr>
              </a:p>
            </p:txBody>
          </p:sp>
          <p:pic>
            <p:nvPicPr>
              <p:cNvPr id="178" name="Graphic 177">
                <a:extLst>
                  <a:ext uri="{FF2B5EF4-FFF2-40B4-BE49-F238E27FC236}">
                    <a16:creationId xmlns:a16="http://schemas.microsoft.com/office/drawing/2014/main" id="{08B11E22-383D-60DA-111A-706DDE30D1D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86475" y="5805420"/>
                <a:ext cx="338492" cy="275516"/>
              </a:xfrm>
              <a:prstGeom prst="rect">
                <a:avLst/>
              </a:prstGeom>
            </p:spPr>
          </p:pic>
        </p:grpSp>
      </p:grpSp>
      <p:sp>
        <p:nvSpPr>
          <p:cNvPr id="2" name="Google Shape;541;p30">
            <a:extLst>
              <a:ext uri="{FF2B5EF4-FFF2-40B4-BE49-F238E27FC236}">
                <a16:creationId xmlns:a16="http://schemas.microsoft.com/office/drawing/2014/main" id="{70B35DA0-55F3-97D3-61F0-F24C0C1B7488}"/>
              </a:ext>
            </a:extLst>
          </p:cNvPr>
          <p:cNvSpPr txBox="1"/>
          <p:nvPr/>
        </p:nvSpPr>
        <p:spPr>
          <a:xfrm>
            <a:off x="8998176" y="1901105"/>
            <a:ext cx="1710080" cy="284758"/>
          </a:xfrm>
          <a:prstGeom prst="rect">
            <a:avLst/>
          </a:prstGeom>
          <a:noFill/>
          <a:ln>
            <a:noFill/>
          </a:ln>
        </p:spPr>
        <p:txBody>
          <a:bodyPr spcFirstLastPara="1" wrap="square" lIns="0" tIns="0" rIns="0" bIns="0" anchor="t" anchorCtr="0">
            <a:spAutoFit/>
          </a:bodyPr>
          <a:lstStyle/>
          <a:p>
            <a:pPr algn="ctr" defTabSz="829549">
              <a:lnSpc>
                <a:spcPct val="85000"/>
              </a:lnSpc>
            </a:pPr>
            <a:r>
              <a:rPr lang="en-IN" sz="2177" b="1" dirty="0">
                <a:solidFill>
                  <a:srgbClr val="FFFFFF"/>
                </a:solidFill>
                <a:latin typeface="Calibri" panose="020F0502020204030204"/>
                <a:ea typeface="Franklin Gothic"/>
                <a:cs typeface="Franklin Gothic"/>
                <a:sym typeface="Franklin Gothic"/>
              </a:rPr>
              <a:t>Outcome</a:t>
            </a:r>
            <a:endParaRPr sz="2177" b="1" dirty="0">
              <a:latin typeface="Calibri" panose="020F0502020204030204"/>
              <a:ea typeface="+mn-ea"/>
            </a:endParaRPr>
          </a:p>
        </p:txBody>
      </p:sp>
      <p:sp>
        <p:nvSpPr>
          <p:cNvPr id="3" name="Google Shape;546;p30">
            <a:extLst>
              <a:ext uri="{FF2B5EF4-FFF2-40B4-BE49-F238E27FC236}">
                <a16:creationId xmlns:a16="http://schemas.microsoft.com/office/drawing/2014/main" id="{926F6433-AADB-48C1-48E3-3991E5BEA5CA}"/>
              </a:ext>
            </a:extLst>
          </p:cNvPr>
          <p:cNvSpPr txBox="1"/>
          <p:nvPr/>
        </p:nvSpPr>
        <p:spPr>
          <a:xfrm>
            <a:off x="1218521" y="1901105"/>
            <a:ext cx="2217491" cy="284758"/>
          </a:xfrm>
          <a:prstGeom prst="rect">
            <a:avLst/>
          </a:prstGeom>
          <a:noFill/>
          <a:ln>
            <a:noFill/>
          </a:ln>
        </p:spPr>
        <p:txBody>
          <a:bodyPr spcFirstLastPara="1" wrap="square" lIns="0" tIns="0" rIns="0" bIns="0" anchor="t" anchorCtr="0">
            <a:spAutoFit/>
          </a:bodyPr>
          <a:lstStyle/>
          <a:p>
            <a:pPr algn="ctr" defTabSz="829549">
              <a:lnSpc>
                <a:spcPct val="85000"/>
              </a:lnSpc>
            </a:pPr>
            <a:r>
              <a:rPr lang="en-IN" sz="2177" b="1" dirty="0">
                <a:solidFill>
                  <a:srgbClr val="FFFFFF"/>
                </a:solidFill>
                <a:latin typeface="Calibri" panose="020F0502020204030204"/>
                <a:ea typeface="Franklin Gothic"/>
                <a:cs typeface="Franklin Gothic"/>
                <a:sym typeface="Franklin Gothic"/>
              </a:rPr>
              <a:t>Client Challenge</a:t>
            </a:r>
            <a:endParaRPr sz="2177" b="1" dirty="0">
              <a:latin typeface="Calibri" panose="020F0502020204030204"/>
              <a:ea typeface="+mn-ea"/>
            </a:endParaRPr>
          </a:p>
        </p:txBody>
      </p:sp>
      <p:sp>
        <p:nvSpPr>
          <p:cNvPr id="31" name="Google Shape;567;p30">
            <a:extLst>
              <a:ext uri="{FF2B5EF4-FFF2-40B4-BE49-F238E27FC236}">
                <a16:creationId xmlns:a16="http://schemas.microsoft.com/office/drawing/2014/main" id="{93FF24BB-A9B2-328E-48EA-F20777E72020}"/>
              </a:ext>
            </a:extLst>
          </p:cNvPr>
          <p:cNvSpPr txBox="1"/>
          <p:nvPr/>
        </p:nvSpPr>
        <p:spPr>
          <a:xfrm>
            <a:off x="5210256" y="1901105"/>
            <a:ext cx="1759969" cy="284758"/>
          </a:xfrm>
          <a:prstGeom prst="rect">
            <a:avLst/>
          </a:prstGeom>
          <a:noFill/>
          <a:ln>
            <a:noFill/>
          </a:ln>
        </p:spPr>
        <p:txBody>
          <a:bodyPr spcFirstLastPara="1" wrap="square" lIns="0" tIns="0" rIns="0" bIns="0" anchor="t" anchorCtr="0">
            <a:spAutoFit/>
          </a:bodyPr>
          <a:lstStyle/>
          <a:p>
            <a:pPr algn="ctr" defTabSz="829549">
              <a:lnSpc>
                <a:spcPct val="85000"/>
              </a:lnSpc>
            </a:pPr>
            <a:r>
              <a:rPr lang="en-IN" sz="2177" b="1" dirty="0">
                <a:solidFill>
                  <a:srgbClr val="FFFFFF"/>
                </a:solidFill>
                <a:latin typeface="Calibri" panose="020F0502020204030204"/>
                <a:ea typeface="Franklin Gothic"/>
                <a:cs typeface="Franklin Gothic"/>
                <a:sym typeface="Franklin Gothic"/>
              </a:rPr>
              <a:t>Our Solution</a:t>
            </a:r>
            <a:endParaRPr sz="2177" b="1" dirty="0">
              <a:latin typeface="Calibri" panose="020F0502020204030204"/>
              <a:ea typeface="+mn-ea"/>
            </a:endParaRPr>
          </a:p>
        </p:txBody>
      </p:sp>
      <p:cxnSp>
        <p:nvCxnSpPr>
          <p:cNvPr id="35" name="Straight Connector 34">
            <a:extLst>
              <a:ext uri="{FF2B5EF4-FFF2-40B4-BE49-F238E27FC236}">
                <a16:creationId xmlns:a16="http://schemas.microsoft.com/office/drawing/2014/main" id="{10F44A0B-44A7-0066-B0BB-AFADDD7A462A}"/>
              </a:ext>
            </a:extLst>
          </p:cNvPr>
          <p:cNvCxnSpPr/>
          <p:nvPr/>
        </p:nvCxnSpPr>
        <p:spPr>
          <a:xfrm>
            <a:off x="694237" y="5333549"/>
            <a:ext cx="3266059"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83249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C3D5D9-A4E4-2A8B-3312-A86545505D4B}"/>
              </a:ext>
            </a:extLst>
          </p:cNvPr>
          <p:cNvGraphicFramePr>
            <a:graphicFrameLocks noChangeAspect="1"/>
          </p:cNvGraphicFramePr>
          <p:nvPr>
            <p:custDataLst>
              <p:tags r:id="rId1"/>
            </p:custDataLst>
            <p:extLst>
              <p:ext uri="{D42A27DB-BD31-4B8C-83A1-F6EECF244321}">
                <p14:modId xmlns:p14="http://schemas.microsoft.com/office/powerpoint/2010/main" val="3202481061"/>
              </p:ext>
            </p:extLst>
          </p:nvPr>
        </p:nvGraphicFramePr>
        <p:xfrm>
          <a:off x="1601" y="1622"/>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ABC3D5D9-A4E4-2A8B-3312-A86545505D4B}"/>
                          </a:ext>
                        </a:extLst>
                      </p:cNvPr>
                      <p:cNvPicPr/>
                      <p:nvPr/>
                    </p:nvPicPr>
                    <p:blipFill>
                      <a:blip r:embed="rId4"/>
                      <a:stretch>
                        <a:fillRect/>
                      </a:stretch>
                    </p:blipFill>
                    <p:spPr>
                      <a:xfrm>
                        <a:off x="1601" y="1622"/>
                        <a:ext cx="1441" cy="1441"/>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D1271DD5-0E2F-2673-6E5B-1C0B00F1F0CB}"/>
              </a:ext>
            </a:extLst>
          </p:cNvPr>
          <p:cNvGrpSpPr/>
          <p:nvPr/>
        </p:nvGrpSpPr>
        <p:grpSpPr>
          <a:xfrm>
            <a:off x="6312733" y="1627258"/>
            <a:ext cx="3701804" cy="2232046"/>
            <a:chOff x="1329003" y="3864105"/>
            <a:chExt cx="4080768" cy="2460547"/>
          </a:xfrm>
        </p:grpSpPr>
        <p:sp>
          <p:nvSpPr>
            <p:cNvPr id="37" name="Freeform: Shape 36">
              <a:extLst>
                <a:ext uri="{FF2B5EF4-FFF2-40B4-BE49-F238E27FC236}">
                  <a16:creationId xmlns:a16="http://schemas.microsoft.com/office/drawing/2014/main" id="{C52E9759-5FBD-19F5-097F-8A5010656DEC}"/>
                </a:ext>
              </a:extLst>
            </p:cNvPr>
            <p:cNvSpPr/>
            <p:nvPr/>
          </p:nvSpPr>
          <p:spPr>
            <a:xfrm>
              <a:off x="1650498" y="3935972"/>
              <a:ext cx="3437725" cy="2259434"/>
            </a:xfrm>
            <a:custGeom>
              <a:avLst/>
              <a:gdLst>
                <a:gd name="connsiteX0" fmla="*/ 123909 w 3437725"/>
                <a:gd name="connsiteY0" fmla="*/ 2259371 h 2259434"/>
                <a:gd name="connsiteX1" fmla="*/ 0 w 3437725"/>
                <a:gd name="connsiteY1" fmla="*/ 2195620 h 2259434"/>
                <a:gd name="connsiteX2" fmla="*/ 0 w 3437725"/>
                <a:gd name="connsiteY2" fmla="*/ 123909 h 2259434"/>
                <a:gd name="connsiteX3" fmla="*/ 123909 w 3437725"/>
                <a:gd name="connsiteY3" fmla="*/ 0 h 2259434"/>
                <a:gd name="connsiteX4" fmla="*/ 3313817 w 3437725"/>
                <a:gd name="connsiteY4" fmla="*/ 0 h 2259434"/>
                <a:gd name="connsiteX5" fmla="*/ 3437725 w 3437725"/>
                <a:gd name="connsiteY5" fmla="*/ 123909 h 2259434"/>
                <a:gd name="connsiteX6" fmla="*/ 3437725 w 3437725"/>
                <a:gd name="connsiteY6" fmla="*/ 2195620 h 2259434"/>
                <a:gd name="connsiteX7" fmla="*/ 3313817 w 3437725"/>
                <a:gd name="connsiteY7" fmla="*/ 2259371 h 2259434"/>
                <a:gd name="connsiteX8" fmla="*/ 123909 w 3437725"/>
                <a:gd name="connsiteY8" fmla="*/ 2259371 h 225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7725" h="2259434">
                  <a:moveTo>
                    <a:pt x="123909" y="2259371"/>
                  </a:moveTo>
                  <a:cubicBezTo>
                    <a:pt x="55579" y="2259371"/>
                    <a:pt x="0" y="2263950"/>
                    <a:pt x="0" y="2195620"/>
                  </a:cubicBezTo>
                  <a:lnTo>
                    <a:pt x="0" y="123909"/>
                  </a:lnTo>
                  <a:cubicBezTo>
                    <a:pt x="0" y="55579"/>
                    <a:pt x="55579" y="0"/>
                    <a:pt x="123909" y="0"/>
                  </a:cubicBezTo>
                  <a:lnTo>
                    <a:pt x="3313817" y="0"/>
                  </a:lnTo>
                  <a:cubicBezTo>
                    <a:pt x="3382146" y="0"/>
                    <a:pt x="3437725" y="55579"/>
                    <a:pt x="3437725" y="123909"/>
                  </a:cubicBezTo>
                  <a:lnTo>
                    <a:pt x="3437725" y="2195620"/>
                  </a:lnTo>
                  <a:cubicBezTo>
                    <a:pt x="3437725" y="2263950"/>
                    <a:pt x="3382146" y="2259371"/>
                    <a:pt x="3313817" y="2259371"/>
                  </a:cubicBezTo>
                  <a:lnTo>
                    <a:pt x="123909" y="2259371"/>
                  </a:lnTo>
                  <a:close/>
                </a:path>
              </a:pathLst>
            </a:custGeom>
            <a:gradFill>
              <a:gsLst>
                <a:gs pos="0">
                  <a:srgbClr val="E6E6E6"/>
                </a:gs>
                <a:gs pos="36000">
                  <a:srgbClr val="4D4D4D"/>
                </a:gs>
                <a:gs pos="56000">
                  <a:srgbClr val="CCCCCC"/>
                </a:gs>
                <a:gs pos="76000">
                  <a:srgbClr val="575757"/>
                </a:gs>
                <a:gs pos="100000">
                  <a:srgbClr val="919191"/>
                </a:gs>
              </a:gsLst>
              <a:lin ang="0" scaled="1"/>
            </a:gra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38" name="Freeform: Shape 37">
              <a:extLst>
                <a:ext uri="{FF2B5EF4-FFF2-40B4-BE49-F238E27FC236}">
                  <a16:creationId xmlns:a16="http://schemas.microsoft.com/office/drawing/2014/main" id="{999457D6-5F23-A440-FA71-F5DA1695B05F}"/>
                </a:ext>
              </a:extLst>
            </p:cNvPr>
            <p:cNvSpPr/>
            <p:nvPr/>
          </p:nvSpPr>
          <p:spPr>
            <a:xfrm>
              <a:off x="1650498" y="3935972"/>
              <a:ext cx="3437725" cy="2259434"/>
            </a:xfrm>
            <a:custGeom>
              <a:avLst/>
              <a:gdLst>
                <a:gd name="connsiteX0" fmla="*/ 123909 w 3437725"/>
                <a:gd name="connsiteY0" fmla="*/ 2259371 h 2259434"/>
                <a:gd name="connsiteX1" fmla="*/ 0 w 3437725"/>
                <a:gd name="connsiteY1" fmla="*/ 2195620 h 2259434"/>
                <a:gd name="connsiteX2" fmla="*/ 0 w 3437725"/>
                <a:gd name="connsiteY2" fmla="*/ 123909 h 2259434"/>
                <a:gd name="connsiteX3" fmla="*/ 123909 w 3437725"/>
                <a:gd name="connsiteY3" fmla="*/ 0 h 2259434"/>
                <a:gd name="connsiteX4" fmla="*/ 3313817 w 3437725"/>
                <a:gd name="connsiteY4" fmla="*/ 0 h 2259434"/>
                <a:gd name="connsiteX5" fmla="*/ 3437725 w 3437725"/>
                <a:gd name="connsiteY5" fmla="*/ 123909 h 2259434"/>
                <a:gd name="connsiteX6" fmla="*/ 3437725 w 3437725"/>
                <a:gd name="connsiteY6" fmla="*/ 2195620 h 2259434"/>
                <a:gd name="connsiteX7" fmla="*/ 3313817 w 3437725"/>
                <a:gd name="connsiteY7" fmla="*/ 2259371 h 2259434"/>
                <a:gd name="connsiteX8" fmla="*/ 123909 w 3437725"/>
                <a:gd name="connsiteY8" fmla="*/ 2259371 h 225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7725" h="2259434">
                  <a:moveTo>
                    <a:pt x="123909" y="2259371"/>
                  </a:moveTo>
                  <a:cubicBezTo>
                    <a:pt x="55579" y="2259371"/>
                    <a:pt x="0" y="2263950"/>
                    <a:pt x="0" y="2195620"/>
                  </a:cubicBezTo>
                  <a:lnTo>
                    <a:pt x="0" y="123909"/>
                  </a:lnTo>
                  <a:cubicBezTo>
                    <a:pt x="0" y="55579"/>
                    <a:pt x="55579" y="0"/>
                    <a:pt x="123909" y="0"/>
                  </a:cubicBezTo>
                  <a:lnTo>
                    <a:pt x="3313817" y="0"/>
                  </a:lnTo>
                  <a:cubicBezTo>
                    <a:pt x="3382146" y="0"/>
                    <a:pt x="3437725" y="55579"/>
                    <a:pt x="3437725" y="123909"/>
                  </a:cubicBezTo>
                  <a:lnTo>
                    <a:pt x="3437725" y="2195620"/>
                  </a:lnTo>
                  <a:cubicBezTo>
                    <a:pt x="3437725" y="2263950"/>
                    <a:pt x="3382146" y="2259371"/>
                    <a:pt x="3313817" y="2259371"/>
                  </a:cubicBezTo>
                  <a:lnTo>
                    <a:pt x="123909" y="2259371"/>
                  </a:lnTo>
                  <a:close/>
                </a:path>
              </a:pathLst>
            </a:custGeom>
            <a:solidFill>
              <a:srgbClr val="000000"/>
            </a:solidFill>
            <a:ln w="2742" cap="flat">
              <a:noFill/>
              <a:prstDash val="solid"/>
              <a:miter/>
            </a:ln>
          </p:spPr>
          <p:txBody>
            <a:bodyPr rtlCol="0" anchor="ctr"/>
            <a:lstStyle/>
            <a:p>
              <a:pPr defTabSz="914406">
                <a:buClrTx/>
              </a:pPr>
              <a:endParaRPr lang="en-US" sz="1633" kern="1200">
                <a:solidFill>
                  <a:srgbClr val="444444"/>
                </a:solidFill>
                <a:ea typeface="+mn-ea"/>
              </a:endParaRPr>
            </a:p>
          </p:txBody>
        </p:sp>
        <p:grpSp>
          <p:nvGrpSpPr>
            <p:cNvPr id="40" name="Graphic 2">
              <a:extLst>
                <a:ext uri="{FF2B5EF4-FFF2-40B4-BE49-F238E27FC236}">
                  <a16:creationId xmlns:a16="http://schemas.microsoft.com/office/drawing/2014/main" id="{FF6E914E-B9A0-0339-BF2B-96CA4AEE41A6}"/>
                </a:ext>
              </a:extLst>
            </p:cNvPr>
            <p:cNvGrpSpPr/>
            <p:nvPr/>
          </p:nvGrpSpPr>
          <p:grpSpPr>
            <a:xfrm>
              <a:off x="1655461" y="3940304"/>
              <a:ext cx="3426565" cy="2251885"/>
              <a:chOff x="1655461" y="3940304"/>
              <a:chExt cx="3426565" cy="2251885"/>
            </a:xfrm>
          </p:grpSpPr>
          <p:sp>
            <p:nvSpPr>
              <p:cNvPr id="138" name="Freeform: Shape 137">
                <a:extLst>
                  <a:ext uri="{FF2B5EF4-FFF2-40B4-BE49-F238E27FC236}">
                    <a16:creationId xmlns:a16="http://schemas.microsoft.com/office/drawing/2014/main" id="{0338B6BE-9A68-4041-2E90-296F2F63D172}"/>
                  </a:ext>
                </a:extLst>
              </p:cNvPr>
              <p:cNvSpPr/>
              <p:nvPr/>
            </p:nvSpPr>
            <p:spPr>
              <a:xfrm>
                <a:off x="1678740" y="3940304"/>
                <a:ext cx="3403286" cy="2228359"/>
              </a:xfrm>
              <a:custGeom>
                <a:avLst/>
                <a:gdLst>
                  <a:gd name="connsiteX0" fmla="*/ 3403286 w 3403286"/>
                  <a:gd name="connsiteY0" fmla="*/ 112749 h 2228359"/>
                  <a:gd name="connsiteX1" fmla="*/ 3290565 w 3403286"/>
                  <a:gd name="connsiteY1" fmla="*/ 0 h 2228359"/>
                  <a:gd name="connsiteX2" fmla="*/ 97723 w 3403286"/>
                  <a:gd name="connsiteY2" fmla="*/ 0 h 2228359"/>
                  <a:gd name="connsiteX3" fmla="*/ 0 w 3403286"/>
                  <a:gd name="connsiteY3" fmla="*/ 56567 h 2228359"/>
                  <a:gd name="connsiteX4" fmla="*/ 89497 w 3403286"/>
                  <a:gd name="connsiteY4" fmla="*/ 12366 h 2228359"/>
                  <a:gd name="connsiteX5" fmla="*/ 3282284 w 3403286"/>
                  <a:gd name="connsiteY5" fmla="*/ 12366 h 2228359"/>
                  <a:gd name="connsiteX6" fmla="*/ 3395033 w 3403286"/>
                  <a:gd name="connsiteY6" fmla="*/ 125115 h 2228359"/>
                  <a:gd name="connsiteX7" fmla="*/ 3395033 w 3403286"/>
                  <a:gd name="connsiteY7" fmla="*/ 2198774 h 2228359"/>
                  <a:gd name="connsiteX8" fmla="*/ 3384312 w 3403286"/>
                  <a:gd name="connsiteY8" fmla="*/ 2228359 h 2228359"/>
                  <a:gd name="connsiteX9" fmla="*/ 3403259 w 3403286"/>
                  <a:gd name="connsiteY9" fmla="*/ 2186407 h 2228359"/>
                  <a:gd name="connsiteX10" fmla="*/ 3403259 w 3403286"/>
                  <a:gd name="connsiteY10" fmla="*/ 112749 h 222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03286" h="2228359">
                    <a:moveTo>
                      <a:pt x="3403286" y="112749"/>
                    </a:moveTo>
                    <a:cubicBezTo>
                      <a:pt x="3403286" y="50479"/>
                      <a:pt x="3352807" y="0"/>
                      <a:pt x="3290565" y="0"/>
                    </a:cubicBezTo>
                    <a:lnTo>
                      <a:pt x="97723" y="0"/>
                    </a:lnTo>
                    <a:cubicBezTo>
                      <a:pt x="55908" y="0"/>
                      <a:pt x="19468" y="22786"/>
                      <a:pt x="0" y="56567"/>
                    </a:cubicBezTo>
                    <a:cubicBezTo>
                      <a:pt x="20620" y="29695"/>
                      <a:pt x="53029" y="12366"/>
                      <a:pt x="89497" y="12366"/>
                    </a:cubicBezTo>
                    <a:lnTo>
                      <a:pt x="3282284" y="12366"/>
                    </a:lnTo>
                    <a:cubicBezTo>
                      <a:pt x="3344554" y="12366"/>
                      <a:pt x="3395033" y="62846"/>
                      <a:pt x="3395033" y="125115"/>
                    </a:cubicBezTo>
                    <a:lnTo>
                      <a:pt x="3395033" y="2198774"/>
                    </a:lnTo>
                    <a:cubicBezTo>
                      <a:pt x="3395033" y="2219256"/>
                      <a:pt x="3393854" y="2211825"/>
                      <a:pt x="3384312" y="2228359"/>
                    </a:cubicBezTo>
                    <a:cubicBezTo>
                      <a:pt x="3398872" y="2209357"/>
                      <a:pt x="3403259" y="2212182"/>
                      <a:pt x="3403259" y="2186407"/>
                    </a:cubicBezTo>
                    <a:lnTo>
                      <a:pt x="3403259" y="112749"/>
                    </a:lnTo>
                    <a:close/>
                  </a:path>
                </a:pathLst>
              </a:custGeom>
              <a:gradFill>
                <a:gsLst>
                  <a:gs pos="0">
                    <a:srgbClr val="919191"/>
                  </a:gs>
                  <a:gs pos="17000">
                    <a:srgbClr val="979797"/>
                  </a:gs>
                  <a:gs pos="40000">
                    <a:srgbClr val="A9A9A9"/>
                  </a:gs>
                  <a:gs pos="67000">
                    <a:srgbClr val="C7C7C7"/>
                  </a:gs>
                  <a:gs pos="97000">
                    <a:srgbClr val="EFEFEF"/>
                  </a:gs>
                  <a:gs pos="100000">
                    <a:srgbClr val="F5F5F5"/>
                  </a:gs>
                </a:gsLst>
                <a:lin ang="14099989" scaled="1"/>
              </a:gra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139" name="Freeform: Shape 138">
                <a:extLst>
                  <a:ext uri="{FF2B5EF4-FFF2-40B4-BE49-F238E27FC236}">
                    <a16:creationId xmlns:a16="http://schemas.microsoft.com/office/drawing/2014/main" id="{30CE862C-4C83-8A1E-CF78-A133D144DF3A}"/>
                  </a:ext>
                </a:extLst>
              </p:cNvPr>
              <p:cNvSpPr/>
              <p:nvPr/>
            </p:nvSpPr>
            <p:spPr>
              <a:xfrm>
                <a:off x="1655461" y="3996871"/>
                <a:ext cx="3415487" cy="2195318"/>
              </a:xfrm>
              <a:custGeom>
                <a:avLst/>
                <a:gdLst>
                  <a:gd name="connsiteX0" fmla="*/ 3313816 w 3415487"/>
                  <a:gd name="connsiteY0" fmla="*/ 2182404 h 2195318"/>
                  <a:gd name="connsiteX1" fmla="*/ 121002 w 3415487"/>
                  <a:gd name="connsiteY1" fmla="*/ 2182404 h 2195318"/>
                  <a:gd name="connsiteX2" fmla="*/ 8253 w 3415487"/>
                  <a:gd name="connsiteY2" fmla="*/ 2129841 h 2195318"/>
                  <a:gd name="connsiteX3" fmla="*/ 8253 w 3415487"/>
                  <a:gd name="connsiteY3" fmla="*/ 56183 h 2195318"/>
                  <a:gd name="connsiteX4" fmla="*/ 23252 w 3415487"/>
                  <a:gd name="connsiteY4" fmla="*/ 0 h 2195318"/>
                  <a:gd name="connsiteX5" fmla="*/ 0 w 3415487"/>
                  <a:gd name="connsiteY5" fmla="*/ 68549 h 2195318"/>
                  <a:gd name="connsiteX6" fmla="*/ 0 w 3415487"/>
                  <a:gd name="connsiteY6" fmla="*/ 2142207 h 2195318"/>
                  <a:gd name="connsiteX7" fmla="*/ 112749 w 3415487"/>
                  <a:gd name="connsiteY7" fmla="*/ 2194770 h 2195318"/>
                  <a:gd name="connsiteX8" fmla="*/ 3305536 w 3415487"/>
                  <a:gd name="connsiteY8" fmla="*/ 2194770 h 2195318"/>
                  <a:gd name="connsiteX9" fmla="*/ 3415488 w 3415487"/>
                  <a:gd name="connsiteY9" fmla="*/ 2151502 h 2195318"/>
                  <a:gd name="connsiteX10" fmla="*/ 3313789 w 3415487"/>
                  <a:gd name="connsiteY10" fmla="*/ 2182432 h 219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5487" h="2195318">
                    <a:moveTo>
                      <a:pt x="3313816" y="2182404"/>
                    </a:moveTo>
                    <a:lnTo>
                      <a:pt x="121002" y="2182404"/>
                    </a:lnTo>
                    <a:cubicBezTo>
                      <a:pt x="58733" y="2182404"/>
                      <a:pt x="8253" y="2192111"/>
                      <a:pt x="8253" y="2129841"/>
                    </a:cubicBezTo>
                    <a:lnTo>
                      <a:pt x="8253" y="56183"/>
                    </a:lnTo>
                    <a:cubicBezTo>
                      <a:pt x="8253" y="35728"/>
                      <a:pt x="13737" y="16534"/>
                      <a:pt x="23252" y="0"/>
                    </a:cubicBezTo>
                    <a:cubicBezTo>
                      <a:pt x="8665" y="19002"/>
                      <a:pt x="0" y="42747"/>
                      <a:pt x="0" y="68549"/>
                    </a:cubicBezTo>
                    <a:lnTo>
                      <a:pt x="0" y="2142207"/>
                    </a:lnTo>
                    <a:cubicBezTo>
                      <a:pt x="0" y="2204477"/>
                      <a:pt x="50479" y="2194770"/>
                      <a:pt x="112749" y="2194770"/>
                    </a:cubicBezTo>
                    <a:lnTo>
                      <a:pt x="3305536" y="2194770"/>
                    </a:lnTo>
                    <a:cubicBezTo>
                      <a:pt x="3347350" y="2194770"/>
                      <a:pt x="3396020" y="2185283"/>
                      <a:pt x="3415488" y="2151502"/>
                    </a:cubicBezTo>
                    <a:cubicBezTo>
                      <a:pt x="3394869" y="2178346"/>
                      <a:pt x="3350230" y="2182432"/>
                      <a:pt x="3313789" y="2182432"/>
                    </a:cubicBezTo>
                    <a:close/>
                  </a:path>
                </a:pathLst>
              </a:custGeom>
              <a:gradFill>
                <a:gsLst>
                  <a:gs pos="0">
                    <a:srgbClr val="E6E6E6"/>
                  </a:gs>
                  <a:gs pos="36000">
                    <a:srgbClr val="4D4D4D"/>
                  </a:gs>
                  <a:gs pos="56000">
                    <a:srgbClr val="CCCCCC"/>
                  </a:gs>
                  <a:gs pos="100000">
                    <a:srgbClr val="919191"/>
                  </a:gs>
                </a:gsLst>
                <a:lin ang="14099993" scaled="1"/>
              </a:gradFill>
              <a:ln w="2742" cap="flat">
                <a:noFill/>
                <a:prstDash val="solid"/>
                <a:miter/>
              </a:ln>
            </p:spPr>
            <p:txBody>
              <a:bodyPr rtlCol="0" anchor="ctr"/>
              <a:lstStyle/>
              <a:p>
                <a:pPr defTabSz="914406">
                  <a:buClrTx/>
                </a:pPr>
                <a:endParaRPr lang="en-US" sz="1633" kern="1200">
                  <a:solidFill>
                    <a:srgbClr val="444444"/>
                  </a:solidFill>
                  <a:ea typeface="+mn-ea"/>
                </a:endParaRPr>
              </a:p>
            </p:txBody>
          </p:sp>
        </p:grpSp>
        <p:grpSp>
          <p:nvGrpSpPr>
            <p:cNvPr id="42" name="Graphic 2">
              <a:extLst>
                <a:ext uri="{FF2B5EF4-FFF2-40B4-BE49-F238E27FC236}">
                  <a16:creationId xmlns:a16="http://schemas.microsoft.com/office/drawing/2014/main" id="{F91F9B77-C4FD-75BB-1D1F-4BD284A6253A}"/>
                </a:ext>
              </a:extLst>
            </p:cNvPr>
            <p:cNvGrpSpPr/>
            <p:nvPr/>
          </p:nvGrpSpPr>
          <p:grpSpPr>
            <a:xfrm>
              <a:off x="1672735" y="3864105"/>
              <a:ext cx="3496677" cy="2460547"/>
              <a:chOff x="1672735" y="3864105"/>
              <a:chExt cx="3496677" cy="2460547"/>
            </a:xfrm>
          </p:grpSpPr>
          <p:sp>
            <p:nvSpPr>
              <p:cNvPr id="136" name="Freeform: Shape 135">
                <a:extLst>
                  <a:ext uri="{FF2B5EF4-FFF2-40B4-BE49-F238E27FC236}">
                    <a16:creationId xmlns:a16="http://schemas.microsoft.com/office/drawing/2014/main" id="{AD87D8F8-4BD3-9E2C-A692-D72DB75B8897}"/>
                  </a:ext>
                </a:extLst>
              </p:cNvPr>
              <p:cNvSpPr/>
              <p:nvPr/>
            </p:nvSpPr>
            <p:spPr>
              <a:xfrm>
                <a:off x="1672735" y="3961801"/>
                <a:ext cx="3393278" cy="2216967"/>
              </a:xfrm>
              <a:custGeom>
                <a:avLst/>
                <a:gdLst>
                  <a:gd name="connsiteX0" fmla="*/ 90759 w 3393278"/>
                  <a:gd name="connsiteY0" fmla="*/ 2207767 h 2216967"/>
                  <a:gd name="connsiteX1" fmla="*/ 0 w 3393278"/>
                  <a:gd name="connsiteY1" fmla="*/ 2177195 h 2216967"/>
                  <a:gd name="connsiteX2" fmla="*/ 0 w 3393278"/>
                  <a:gd name="connsiteY2" fmla="*/ 90759 h 2216967"/>
                  <a:gd name="connsiteX3" fmla="*/ 90759 w 3393278"/>
                  <a:gd name="connsiteY3" fmla="*/ 0 h 2216967"/>
                  <a:gd name="connsiteX4" fmla="*/ 3302520 w 3393278"/>
                  <a:gd name="connsiteY4" fmla="*/ 0 h 2216967"/>
                  <a:gd name="connsiteX5" fmla="*/ 3393278 w 3393278"/>
                  <a:gd name="connsiteY5" fmla="*/ 90759 h 2216967"/>
                  <a:gd name="connsiteX6" fmla="*/ 3393278 w 3393278"/>
                  <a:gd name="connsiteY6" fmla="*/ 2177195 h 2216967"/>
                  <a:gd name="connsiteX7" fmla="*/ 3302931 w 3393278"/>
                  <a:gd name="connsiteY7" fmla="*/ 2215856 h 2216967"/>
                  <a:gd name="connsiteX8" fmla="*/ 90786 w 3393278"/>
                  <a:gd name="connsiteY8" fmla="*/ 2207794 h 2216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3278" h="2216967">
                    <a:moveTo>
                      <a:pt x="90759" y="2207767"/>
                    </a:moveTo>
                    <a:cubicBezTo>
                      <a:pt x="40718" y="2207767"/>
                      <a:pt x="0" y="2227235"/>
                      <a:pt x="0" y="2177195"/>
                    </a:cubicBezTo>
                    <a:lnTo>
                      <a:pt x="0" y="90759"/>
                    </a:lnTo>
                    <a:cubicBezTo>
                      <a:pt x="0" y="40718"/>
                      <a:pt x="40718" y="0"/>
                      <a:pt x="90759" y="0"/>
                    </a:cubicBezTo>
                    <a:lnTo>
                      <a:pt x="3302520" y="0"/>
                    </a:lnTo>
                    <a:cubicBezTo>
                      <a:pt x="3352560" y="0"/>
                      <a:pt x="3393278" y="40718"/>
                      <a:pt x="3393278" y="90759"/>
                    </a:cubicBezTo>
                    <a:lnTo>
                      <a:pt x="3393278" y="2177195"/>
                    </a:lnTo>
                    <a:cubicBezTo>
                      <a:pt x="3393278" y="2227235"/>
                      <a:pt x="3352971" y="2215856"/>
                      <a:pt x="3302931" y="2215856"/>
                    </a:cubicBezTo>
                    <a:lnTo>
                      <a:pt x="90786" y="2207794"/>
                    </a:lnTo>
                    <a:close/>
                  </a:path>
                </a:pathLst>
              </a:custGeom>
              <a:solidFill>
                <a:srgbClr val="000000"/>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137" name="Freeform: Shape 136">
                <a:extLst>
                  <a:ext uri="{FF2B5EF4-FFF2-40B4-BE49-F238E27FC236}">
                    <a16:creationId xmlns:a16="http://schemas.microsoft.com/office/drawing/2014/main" id="{83FCA202-5531-DA05-67A1-D587EB3DF2D5}"/>
                  </a:ext>
                </a:extLst>
              </p:cNvPr>
              <p:cNvSpPr/>
              <p:nvPr/>
            </p:nvSpPr>
            <p:spPr>
              <a:xfrm>
                <a:off x="3175134" y="3864105"/>
                <a:ext cx="1994278" cy="2460547"/>
              </a:xfrm>
              <a:custGeom>
                <a:avLst/>
                <a:gdLst>
                  <a:gd name="connsiteX0" fmla="*/ 1809608 w 1994278"/>
                  <a:gd name="connsiteY0" fmla="*/ 0 h 2460547"/>
                  <a:gd name="connsiteX1" fmla="*/ 0 w 1994278"/>
                  <a:gd name="connsiteY1" fmla="*/ 274 h 2460547"/>
                  <a:gd name="connsiteX2" fmla="*/ 701447 w 1994278"/>
                  <a:gd name="connsiteY2" fmla="*/ 2460548 h 2460547"/>
                  <a:gd name="connsiteX3" fmla="*/ 1809608 w 1994278"/>
                  <a:gd name="connsiteY3" fmla="*/ 2460274 h 2460547"/>
                  <a:gd name="connsiteX4" fmla="*/ 1994278 w 1994278"/>
                  <a:gd name="connsiteY4" fmla="*/ 2303105 h 2460547"/>
                  <a:gd name="connsiteX5" fmla="*/ 1994278 w 1994278"/>
                  <a:gd name="connsiteY5" fmla="*/ 157169 h 2460547"/>
                  <a:gd name="connsiteX6" fmla="*/ 1809608 w 1994278"/>
                  <a:gd name="connsiteY6" fmla="*/ 0 h 246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4278" h="2460547">
                    <a:moveTo>
                      <a:pt x="1809608" y="0"/>
                    </a:moveTo>
                    <a:lnTo>
                      <a:pt x="0" y="274"/>
                    </a:lnTo>
                    <a:lnTo>
                      <a:pt x="701447" y="2460548"/>
                    </a:lnTo>
                    <a:lnTo>
                      <a:pt x="1809608" y="2460274"/>
                    </a:lnTo>
                    <a:cubicBezTo>
                      <a:pt x="1911581" y="2460274"/>
                      <a:pt x="1994278" y="2389888"/>
                      <a:pt x="1994278" y="2303105"/>
                    </a:cubicBezTo>
                    <a:lnTo>
                      <a:pt x="1994278" y="157169"/>
                    </a:lnTo>
                    <a:cubicBezTo>
                      <a:pt x="1994278" y="70358"/>
                      <a:pt x="1911608" y="0"/>
                      <a:pt x="1809608" y="0"/>
                    </a:cubicBezTo>
                    <a:close/>
                  </a:path>
                </a:pathLst>
              </a:custGeom>
              <a:solidFill>
                <a:srgbClr val="FFFFFF">
                  <a:alpha val="5000"/>
                </a:srgbClr>
              </a:solidFill>
              <a:ln w="2742" cap="flat">
                <a:noFill/>
                <a:prstDash val="solid"/>
                <a:miter/>
              </a:ln>
            </p:spPr>
            <p:txBody>
              <a:bodyPr rtlCol="0" anchor="ctr"/>
              <a:lstStyle/>
              <a:p>
                <a:pPr defTabSz="914406">
                  <a:buClrTx/>
                </a:pPr>
                <a:endParaRPr lang="en-US" sz="1633" kern="1200">
                  <a:solidFill>
                    <a:srgbClr val="444444"/>
                  </a:solidFill>
                  <a:ea typeface="+mn-ea"/>
                </a:endParaRPr>
              </a:p>
            </p:txBody>
          </p:sp>
        </p:grpSp>
        <p:sp>
          <p:nvSpPr>
            <p:cNvPr id="43" name="Freeform: Shape 42">
              <a:extLst>
                <a:ext uri="{FF2B5EF4-FFF2-40B4-BE49-F238E27FC236}">
                  <a16:creationId xmlns:a16="http://schemas.microsoft.com/office/drawing/2014/main" id="{9976B8EB-5E8E-EC8E-04C5-C9A67146192D}"/>
                </a:ext>
              </a:extLst>
            </p:cNvPr>
            <p:cNvSpPr/>
            <p:nvPr/>
          </p:nvSpPr>
          <p:spPr>
            <a:xfrm>
              <a:off x="1672735" y="6067732"/>
              <a:ext cx="3393250" cy="7732"/>
            </a:xfrm>
            <a:custGeom>
              <a:avLst/>
              <a:gdLst>
                <a:gd name="connsiteX0" fmla="*/ 0 w 3393250"/>
                <a:gd name="connsiteY0" fmla="*/ 0 h 7732"/>
                <a:gd name="connsiteX1" fmla="*/ 3393251 w 3393250"/>
                <a:gd name="connsiteY1" fmla="*/ 0 h 7732"/>
                <a:gd name="connsiteX2" fmla="*/ 3393251 w 3393250"/>
                <a:gd name="connsiteY2" fmla="*/ 7732 h 7732"/>
                <a:gd name="connsiteX3" fmla="*/ 0 w 3393250"/>
                <a:gd name="connsiteY3" fmla="*/ 7732 h 7732"/>
              </a:gdLst>
              <a:ahLst/>
              <a:cxnLst>
                <a:cxn ang="0">
                  <a:pos x="connsiteX0" y="connsiteY0"/>
                </a:cxn>
                <a:cxn ang="0">
                  <a:pos x="connsiteX1" y="connsiteY1"/>
                </a:cxn>
                <a:cxn ang="0">
                  <a:pos x="connsiteX2" y="connsiteY2"/>
                </a:cxn>
                <a:cxn ang="0">
                  <a:pos x="connsiteX3" y="connsiteY3"/>
                </a:cxn>
              </a:cxnLst>
              <a:rect l="l" t="t" r="r" b="b"/>
              <a:pathLst>
                <a:path w="3393250" h="7732">
                  <a:moveTo>
                    <a:pt x="0" y="0"/>
                  </a:moveTo>
                  <a:lnTo>
                    <a:pt x="3393251" y="0"/>
                  </a:lnTo>
                  <a:lnTo>
                    <a:pt x="3393251" y="7732"/>
                  </a:lnTo>
                  <a:lnTo>
                    <a:pt x="0" y="7732"/>
                  </a:lnTo>
                  <a:close/>
                </a:path>
              </a:pathLst>
            </a:custGeom>
            <a:solidFill>
              <a:srgbClr val="404041"/>
            </a:solidFill>
            <a:ln w="2742" cap="flat">
              <a:noFill/>
              <a:prstDash val="solid"/>
              <a:miter/>
            </a:ln>
          </p:spPr>
          <p:txBody>
            <a:bodyPr rtlCol="0" anchor="ctr"/>
            <a:lstStyle/>
            <a:p>
              <a:pPr defTabSz="914406">
                <a:buClrTx/>
              </a:pPr>
              <a:endParaRPr lang="en-US" sz="1633" kern="1200">
                <a:solidFill>
                  <a:srgbClr val="444444"/>
                </a:solidFill>
                <a:ea typeface="+mn-ea"/>
              </a:endParaRPr>
            </a:p>
          </p:txBody>
        </p:sp>
        <p:grpSp>
          <p:nvGrpSpPr>
            <p:cNvPr id="44" name="Graphic 2">
              <a:extLst>
                <a:ext uri="{FF2B5EF4-FFF2-40B4-BE49-F238E27FC236}">
                  <a16:creationId xmlns:a16="http://schemas.microsoft.com/office/drawing/2014/main" id="{DD7B08EB-D957-4F4A-E8A0-EEAE7D512194}"/>
                </a:ext>
              </a:extLst>
            </p:cNvPr>
            <p:cNvGrpSpPr/>
            <p:nvPr/>
          </p:nvGrpSpPr>
          <p:grpSpPr>
            <a:xfrm>
              <a:off x="3355034" y="3982421"/>
              <a:ext cx="28680" cy="28872"/>
              <a:chOff x="3355034" y="3982421"/>
              <a:chExt cx="28680" cy="28872"/>
            </a:xfrm>
          </p:grpSpPr>
          <p:sp>
            <p:nvSpPr>
              <p:cNvPr id="131" name="Freeform: Shape 130">
                <a:extLst>
                  <a:ext uri="{FF2B5EF4-FFF2-40B4-BE49-F238E27FC236}">
                    <a16:creationId xmlns:a16="http://schemas.microsoft.com/office/drawing/2014/main" id="{D5534CA4-5064-4D10-DF6D-DF3CF9741B71}"/>
                  </a:ext>
                </a:extLst>
              </p:cNvPr>
              <p:cNvSpPr/>
              <p:nvPr/>
            </p:nvSpPr>
            <p:spPr>
              <a:xfrm>
                <a:off x="3355746" y="3983325"/>
                <a:ext cx="27967" cy="27967"/>
              </a:xfrm>
              <a:custGeom>
                <a:avLst/>
                <a:gdLst>
                  <a:gd name="connsiteX0" fmla="*/ 27968 w 27967"/>
                  <a:gd name="connsiteY0" fmla="*/ 13984 h 27967"/>
                  <a:gd name="connsiteX1" fmla="*/ 13984 w 27967"/>
                  <a:gd name="connsiteY1" fmla="*/ 0 h 27967"/>
                  <a:gd name="connsiteX2" fmla="*/ 0 w 27967"/>
                  <a:gd name="connsiteY2" fmla="*/ 13984 h 27967"/>
                  <a:gd name="connsiteX3" fmla="*/ 13984 w 27967"/>
                  <a:gd name="connsiteY3" fmla="*/ 27968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6252"/>
                      <a:pt x="21689" y="0"/>
                      <a:pt x="13984" y="0"/>
                    </a:cubicBezTo>
                    <a:cubicBezTo>
                      <a:pt x="6279" y="0"/>
                      <a:pt x="0" y="6279"/>
                      <a:pt x="0" y="13984"/>
                    </a:cubicBezTo>
                    <a:cubicBezTo>
                      <a:pt x="0" y="21689"/>
                      <a:pt x="6252" y="27968"/>
                      <a:pt x="13984" y="27968"/>
                    </a:cubicBezTo>
                    <a:cubicBezTo>
                      <a:pt x="21716" y="27968"/>
                      <a:pt x="27968" y="21689"/>
                      <a:pt x="27968" y="13984"/>
                    </a:cubicBezTo>
                    <a:close/>
                  </a:path>
                </a:pathLst>
              </a:custGeom>
              <a:solidFill>
                <a:srgbClr val="58595B"/>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132" name="Freeform: Shape 131">
                <a:extLst>
                  <a:ext uri="{FF2B5EF4-FFF2-40B4-BE49-F238E27FC236}">
                    <a16:creationId xmlns:a16="http://schemas.microsoft.com/office/drawing/2014/main" id="{0A6A1C40-E16B-17C8-06CF-E68889D98024}"/>
                  </a:ext>
                </a:extLst>
              </p:cNvPr>
              <p:cNvSpPr/>
              <p:nvPr/>
            </p:nvSpPr>
            <p:spPr>
              <a:xfrm>
                <a:off x="3355034" y="3982421"/>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8F8F8F"/>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133" name="Freeform: Shape 132">
                <a:extLst>
                  <a:ext uri="{FF2B5EF4-FFF2-40B4-BE49-F238E27FC236}">
                    <a16:creationId xmlns:a16="http://schemas.microsoft.com/office/drawing/2014/main" id="{4E053C4D-0EC8-2A2A-D01C-E7BAE4C3349C}"/>
                  </a:ext>
                </a:extLst>
              </p:cNvPr>
              <p:cNvSpPr/>
              <p:nvPr/>
            </p:nvSpPr>
            <p:spPr>
              <a:xfrm>
                <a:off x="3357035" y="3984422"/>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231F20"/>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134" name="Freeform: Shape 133">
                <a:extLst>
                  <a:ext uri="{FF2B5EF4-FFF2-40B4-BE49-F238E27FC236}">
                    <a16:creationId xmlns:a16="http://schemas.microsoft.com/office/drawing/2014/main" id="{1CEDF13D-CF35-3E56-496A-4AD09C07998D}"/>
                  </a:ext>
                </a:extLst>
              </p:cNvPr>
              <p:cNvSpPr/>
              <p:nvPr/>
            </p:nvSpPr>
            <p:spPr>
              <a:xfrm>
                <a:off x="3360874" y="3988261"/>
                <a:ext cx="16287" cy="16287"/>
              </a:xfrm>
              <a:custGeom>
                <a:avLst/>
                <a:gdLst>
                  <a:gd name="connsiteX0" fmla="*/ 16287 w 16287"/>
                  <a:gd name="connsiteY0" fmla="*/ 8144 h 16287"/>
                  <a:gd name="connsiteX1" fmla="*/ 8144 w 16287"/>
                  <a:gd name="connsiteY1" fmla="*/ 16287 h 16287"/>
                  <a:gd name="connsiteX2" fmla="*/ 0 w 16287"/>
                  <a:gd name="connsiteY2" fmla="*/ 8144 h 16287"/>
                  <a:gd name="connsiteX3" fmla="*/ 8144 w 16287"/>
                  <a:gd name="connsiteY3" fmla="*/ 0 h 16287"/>
                  <a:gd name="connsiteX4" fmla="*/ 16287 w 16287"/>
                  <a:gd name="connsiteY4" fmla="*/ 8144 h 16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7" h="16287">
                    <a:moveTo>
                      <a:pt x="16287" y="8144"/>
                    </a:moveTo>
                    <a:cubicBezTo>
                      <a:pt x="16287" y="12641"/>
                      <a:pt x="12641" y="16287"/>
                      <a:pt x="8144" y="16287"/>
                    </a:cubicBezTo>
                    <a:cubicBezTo>
                      <a:pt x="3646" y="16287"/>
                      <a:pt x="0" y="12641"/>
                      <a:pt x="0" y="8144"/>
                    </a:cubicBezTo>
                    <a:cubicBezTo>
                      <a:pt x="0" y="3646"/>
                      <a:pt x="3646" y="0"/>
                      <a:pt x="8144" y="0"/>
                    </a:cubicBezTo>
                    <a:cubicBezTo>
                      <a:pt x="12641" y="0"/>
                      <a:pt x="16287" y="3646"/>
                      <a:pt x="16287" y="8144"/>
                    </a:cubicBezTo>
                    <a:close/>
                  </a:path>
                </a:pathLst>
              </a:custGeom>
              <a:solidFill>
                <a:srgbClr val="454545"/>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135" name="Freeform: Shape 134">
                <a:extLst>
                  <a:ext uri="{FF2B5EF4-FFF2-40B4-BE49-F238E27FC236}">
                    <a16:creationId xmlns:a16="http://schemas.microsoft.com/office/drawing/2014/main" id="{67886599-77AE-99EF-B8BB-0B2C62F736F8}"/>
                  </a:ext>
                </a:extLst>
              </p:cNvPr>
              <p:cNvSpPr/>
              <p:nvPr/>
            </p:nvSpPr>
            <p:spPr>
              <a:xfrm>
                <a:off x="3366742" y="3994129"/>
                <a:ext cx="4551" cy="4551"/>
              </a:xfrm>
              <a:custGeom>
                <a:avLst/>
                <a:gdLst>
                  <a:gd name="connsiteX0" fmla="*/ 4552 w 4551"/>
                  <a:gd name="connsiteY0" fmla="*/ 2276 h 4551"/>
                  <a:gd name="connsiteX1" fmla="*/ 2276 w 4551"/>
                  <a:gd name="connsiteY1" fmla="*/ 4552 h 4551"/>
                  <a:gd name="connsiteX2" fmla="*/ 0 w 4551"/>
                  <a:gd name="connsiteY2" fmla="*/ 2276 h 4551"/>
                  <a:gd name="connsiteX3" fmla="*/ 2276 w 4551"/>
                  <a:gd name="connsiteY3" fmla="*/ 0 h 4551"/>
                  <a:gd name="connsiteX4" fmla="*/ 4552 w 4551"/>
                  <a:gd name="connsiteY4" fmla="*/ 2276 h 4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 h="4551">
                    <a:moveTo>
                      <a:pt x="4552" y="2276"/>
                    </a:moveTo>
                    <a:cubicBezTo>
                      <a:pt x="4552" y="3533"/>
                      <a:pt x="3533" y="4552"/>
                      <a:pt x="2276" y="4552"/>
                    </a:cubicBezTo>
                    <a:cubicBezTo>
                      <a:pt x="1019" y="4552"/>
                      <a:pt x="0" y="3533"/>
                      <a:pt x="0" y="2276"/>
                    </a:cubicBezTo>
                    <a:cubicBezTo>
                      <a:pt x="0" y="1019"/>
                      <a:pt x="1019" y="0"/>
                      <a:pt x="2276" y="0"/>
                    </a:cubicBezTo>
                    <a:cubicBezTo>
                      <a:pt x="3533" y="0"/>
                      <a:pt x="4552" y="1019"/>
                      <a:pt x="4552" y="2276"/>
                    </a:cubicBezTo>
                    <a:close/>
                  </a:path>
                </a:pathLst>
              </a:custGeom>
              <a:solidFill>
                <a:srgbClr val="000000"/>
              </a:solidFill>
              <a:ln w="2742" cap="flat">
                <a:noFill/>
                <a:prstDash val="solid"/>
                <a:miter/>
              </a:ln>
            </p:spPr>
            <p:txBody>
              <a:bodyPr rtlCol="0" anchor="ctr"/>
              <a:lstStyle/>
              <a:p>
                <a:pPr defTabSz="914406">
                  <a:buClrTx/>
                </a:pPr>
                <a:endParaRPr lang="en-US" sz="1633" kern="1200">
                  <a:solidFill>
                    <a:srgbClr val="444444"/>
                  </a:solidFill>
                  <a:ea typeface="+mn-ea"/>
                </a:endParaRPr>
              </a:p>
            </p:txBody>
          </p:sp>
        </p:grpSp>
        <p:grpSp>
          <p:nvGrpSpPr>
            <p:cNvPr id="45" name="Graphic 2">
              <a:extLst>
                <a:ext uri="{FF2B5EF4-FFF2-40B4-BE49-F238E27FC236}">
                  <a16:creationId xmlns:a16="http://schemas.microsoft.com/office/drawing/2014/main" id="{42CB035A-3E6E-1CF7-B5C2-DBA2EBDF80C8}"/>
                </a:ext>
              </a:extLst>
            </p:cNvPr>
            <p:cNvGrpSpPr/>
            <p:nvPr/>
          </p:nvGrpSpPr>
          <p:grpSpPr>
            <a:xfrm>
              <a:off x="1329003" y="6140915"/>
              <a:ext cx="4080768" cy="99615"/>
              <a:chOff x="1329003" y="6140915"/>
              <a:chExt cx="4080768" cy="99615"/>
            </a:xfrm>
          </p:grpSpPr>
          <p:sp>
            <p:nvSpPr>
              <p:cNvPr id="46" name="Freeform: Shape 45">
                <a:extLst>
                  <a:ext uri="{FF2B5EF4-FFF2-40B4-BE49-F238E27FC236}">
                    <a16:creationId xmlns:a16="http://schemas.microsoft.com/office/drawing/2014/main" id="{0C0CD505-D358-A8D3-E5B1-C5D76E409385}"/>
                  </a:ext>
                </a:extLst>
              </p:cNvPr>
              <p:cNvSpPr/>
              <p:nvPr/>
            </p:nvSpPr>
            <p:spPr>
              <a:xfrm>
                <a:off x="1329003" y="6140915"/>
                <a:ext cx="4080740" cy="48559"/>
              </a:xfrm>
              <a:custGeom>
                <a:avLst/>
                <a:gdLst>
                  <a:gd name="connsiteX0" fmla="*/ 4080741 w 4080740"/>
                  <a:gd name="connsiteY0" fmla="*/ 0 h 48559"/>
                  <a:gd name="connsiteX1" fmla="*/ 2040371 w 4080740"/>
                  <a:gd name="connsiteY1" fmla="*/ 0 h 48559"/>
                  <a:gd name="connsiteX2" fmla="*/ 0 w 4080740"/>
                  <a:gd name="connsiteY2" fmla="*/ 0 h 48559"/>
                  <a:gd name="connsiteX3" fmla="*/ 0 w 4080740"/>
                  <a:gd name="connsiteY3" fmla="*/ 48560 h 48559"/>
                  <a:gd name="connsiteX4" fmla="*/ 4080741 w 4080740"/>
                  <a:gd name="connsiteY4" fmla="*/ 48560 h 48559"/>
                  <a:gd name="connsiteX5" fmla="*/ 4080741 w 4080740"/>
                  <a:gd name="connsiteY5" fmla="*/ 0 h 48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0740" h="48559">
                    <a:moveTo>
                      <a:pt x="4080741" y="0"/>
                    </a:moveTo>
                    <a:lnTo>
                      <a:pt x="2040371" y="0"/>
                    </a:lnTo>
                    <a:lnTo>
                      <a:pt x="0" y="0"/>
                    </a:lnTo>
                    <a:lnTo>
                      <a:pt x="0" y="48560"/>
                    </a:lnTo>
                    <a:lnTo>
                      <a:pt x="4080741" y="48560"/>
                    </a:lnTo>
                    <a:lnTo>
                      <a:pt x="4080741" y="0"/>
                    </a:lnTo>
                    <a:close/>
                  </a:path>
                </a:pathLst>
              </a:custGeom>
              <a:solidFill>
                <a:srgbClr val="000000"/>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48" name="Freeform: Shape 47">
                <a:extLst>
                  <a:ext uri="{FF2B5EF4-FFF2-40B4-BE49-F238E27FC236}">
                    <a16:creationId xmlns:a16="http://schemas.microsoft.com/office/drawing/2014/main" id="{6B840F8D-B34A-5A8D-7B8C-A186C9C3162A}"/>
                  </a:ext>
                </a:extLst>
              </p:cNvPr>
              <p:cNvSpPr/>
              <p:nvPr/>
            </p:nvSpPr>
            <p:spPr>
              <a:xfrm>
                <a:off x="1329003" y="6189475"/>
                <a:ext cx="4080768" cy="51055"/>
              </a:xfrm>
              <a:custGeom>
                <a:avLst/>
                <a:gdLst>
                  <a:gd name="connsiteX0" fmla="*/ 0 w 4080768"/>
                  <a:gd name="connsiteY0" fmla="*/ 0 h 51055"/>
                  <a:gd name="connsiteX1" fmla="*/ 0 w 4080768"/>
                  <a:gd name="connsiteY1" fmla="*/ 0 h 51055"/>
                  <a:gd name="connsiteX2" fmla="*/ 221385 w 4080768"/>
                  <a:gd name="connsiteY2" fmla="*/ 51001 h 51055"/>
                  <a:gd name="connsiteX3" fmla="*/ 2040398 w 4080768"/>
                  <a:gd name="connsiteY3" fmla="*/ 51055 h 51055"/>
                  <a:gd name="connsiteX4" fmla="*/ 3859383 w 4080768"/>
                  <a:gd name="connsiteY4" fmla="*/ 51001 h 51055"/>
                  <a:gd name="connsiteX5" fmla="*/ 4080769 w 4080768"/>
                  <a:gd name="connsiteY5" fmla="*/ 55 h 51055"/>
                  <a:gd name="connsiteX6" fmla="*/ 4080769 w 4080768"/>
                  <a:gd name="connsiteY6" fmla="*/ 55 h 51055"/>
                  <a:gd name="connsiteX7" fmla="*/ 0 w 4080768"/>
                  <a:gd name="connsiteY7" fmla="*/ 27 h 5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0768" h="51055">
                    <a:moveTo>
                      <a:pt x="0" y="0"/>
                    </a:moveTo>
                    <a:lnTo>
                      <a:pt x="0" y="0"/>
                    </a:lnTo>
                    <a:cubicBezTo>
                      <a:pt x="0" y="0"/>
                      <a:pt x="128269" y="52755"/>
                      <a:pt x="221385" y="51001"/>
                    </a:cubicBezTo>
                    <a:lnTo>
                      <a:pt x="2040398" y="51055"/>
                    </a:lnTo>
                    <a:lnTo>
                      <a:pt x="3859383" y="51001"/>
                    </a:lnTo>
                    <a:cubicBezTo>
                      <a:pt x="3952527" y="52755"/>
                      <a:pt x="4080769" y="55"/>
                      <a:pt x="4080769" y="55"/>
                    </a:cubicBezTo>
                    <a:lnTo>
                      <a:pt x="4080769" y="55"/>
                    </a:lnTo>
                    <a:cubicBezTo>
                      <a:pt x="4080769" y="55"/>
                      <a:pt x="0" y="27"/>
                      <a:pt x="0" y="27"/>
                    </a:cubicBezTo>
                    <a:close/>
                  </a:path>
                </a:pathLst>
              </a:custGeom>
              <a:solidFill>
                <a:srgbClr val="000000"/>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49" name="Freeform: Shape 48">
                <a:extLst>
                  <a:ext uri="{FF2B5EF4-FFF2-40B4-BE49-F238E27FC236}">
                    <a16:creationId xmlns:a16="http://schemas.microsoft.com/office/drawing/2014/main" id="{A6D4A32E-8D66-4398-1D7E-FE26F35DA66F}"/>
                  </a:ext>
                </a:extLst>
              </p:cNvPr>
              <p:cNvSpPr/>
              <p:nvPr/>
            </p:nvSpPr>
            <p:spPr>
              <a:xfrm>
                <a:off x="5398886" y="6140915"/>
                <a:ext cx="10858" cy="48560"/>
              </a:xfrm>
              <a:custGeom>
                <a:avLst/>
                <a:gdLst>
                  <a:gd name="connsiteX0" fmla="*/ 0 w 10858"/>
                  <a:gd name="connsiteY0" fmla="*/ 0 h 48560"/>
                  <a:gd name="connsiteX1" fmla="*/ 10858 w 10858"/>
                  <a:gd name="connsiteY1" fmla="*/ 0 h 48560"/>
                  <a:gd name="connsiteX2" fmla="*/ 10858 w 10858"/>
                  <a:gd name="connsiteY2" fmla="*/ 48560 h 48560"/>
                  <a:gd name="connsiteX3" fmla="*/ 0 w 10858"/>
                  <a:gd name="connsiteY3" fmla="*/ 48560 h 48560"/>
                </a:gdLst>
                <a:ahLst/>
                <a:cxnLst>
                  <a:cxn ang="0">
                    <a:pos x="connsiteX0" y="connsiteY0"/>
                  </a:cxn>
                  <a:cxn ang="0">
                    <a:pos x="connsiteX1" y="connsiteY1"/>
                  </a:cxn>
                  <a:cxn ang="0">
                    <a:pos x="connsiteX2" y="connsiteY2"/>
                  </a:cxn>
                  <a:cxn ang="0">
                    <a:pos x="connsiteX3" y="connsiteY3"/>
                  </a:cxn>
                </a:cxnLst>
                <a:rect l="l" t="t" r="r" b="b"/>
                <a:pathLst>
                  <a:path w="10858" h="48560">
                    <a:moveTo>
                      <a:pt x="0" y="0"/>
                    </a:moveTo>
                    <a:lnTo>
                      <a:pt x="10858" y="0"/>
                    </a:lnTo>
                    <a:lnTo>
                      <a:pt x="10858" y="48560"/>
                    </a:lnTo>
                    <a:lnTo>
                      <a:pt x="0" y="48560"/>
                    </a:lnTo>
                    <a:close/>
                  </a:path>
                </a:pathLst>
              </a:custGeom>
              <a:solidFill>
                <a:srgbClr val="E6E7E8"/>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50" name="Freeform: Shape 49">
                <a:extLst>
                  <a:ext uri="{FF2B5EF4-FFF2-40B4-BE49-F238E27FC236}">
                    <a16:creationId xmlns:a16="http://schemas.microsoft.com/office/drawing/2014/main" id="{87C005DB-3273-6BAA-58AC-382C8A80921B}"/>
                  </a:ext>
                </a:extLst>
              </p:cNvPr>
              <p:cNvSpPr/>
              <p:nvPr/>
            </p:nvSpPr>
            <p:spPr>
              <a:xfrm>
                <a:off x="1329278" y="6140915"/>
                <a:ext cx="10858" cy="48560"/>
              </a:xfrm>
              <a:custGeom>
                <a:avLst/>
                <a:gdLst>
                  <a:gd name="connsiteX0" fmla="*/ 0 w 10858"/>
                  <a:gd name="connsiteY0" fmla="*/ 0 h 48560"/>
                  <a:gd name="connsiteX1" fmla="*/ 10858 w 10858"/>
                  <a:gd name="connsiteY1" fmla="*/ 0 h 48560"/>
                  <a:gd name="connsiteX2" fmla="*/ 10858 w 10858"/>
                  <a:gd name="connsiteY2" fmla="*/ 48560 h 48560"/>
                  <a:gd name="connsiteX3" fmla="*/ 0 w 10858"/>
                  <a:gd name="connsiteY3" fmla="*/ 48560 h 48560"/>
                </a:gdLst>
                <a:ahLst/>
                <a:cxnLst>
                  <a:cxn ang="0">
                    <a:pos x="connsiteX0" y="connsiteY0"/>
                  </a:cxn>
                  <a:cxn ang="0">
                    <a:pos x="connsiteX1" y="connsiteY1"/>
                  </a:cxn>
                  <a:cxn ang="0">
                    <a:pos x="connsiteX2" y="connsiteY2"/>
                  </a:cxn>
                  <a:cxn ang="0">
                    <a:pos x="connsiteX3" y="connsiteY3"/>
                  </a:cxn>
                </a:cxnLst>
                <a:rect l="l" t="t" r="r" b="b"/>
                <a:pathLst>
                  <a:path w="10858" h="48560">
                    <a:moveTo>
                      <a:pt x="0" y="0"/>
                    </a:moveTo>
                    <a:lnTo>
                      <a:pt x="10858" y="0"/>
                    </a:lnTo>
                    <a:lnTo>
                      <a:pt x="10858" y="48560"/>
                    </a:lnTo>
                    <a:lnTo>
                      <a:pt x="0" y="48560"/>
                    </a:lnTo>
                    <a:close/>
                  </a:path>
                </a:pathLst>
              </a:custGeom>
              <a:solidFill>
                <a:srgbClr val="E6E7E8"/>
              </a:solidFill>
              <a:ln w="2742" cap="flat">
                <a:noFill/>
                <a:prstDash val="solid"/>
                <a:miter/>
              </a:ln>
            </p:spPr>
            <p:txBody>
              <a:bodyPr rtlCol="0" anchor="ctr"/>
              <a:lstStyle/>
              <a:p>
                <a:pPr defTabSz="914406">
                  <a:buClrTx/>
                </a:pPr>
                <a:endParaRPr lang="en-US" sz="1633" kern="1200">
                  <a:solidFill>
                    <a:srgbClr val="444444"/>
                  </a:solidFill>
                  <a:ea typeface="+mn-ea"/>
                </a:endParaRPr>
              </a:p>
            </p:txBody>
          </p:sp>
          <p:grpSp>
            <p:nvGrpSpPr>
              <p:cNvPr id="51" name="Graphic 2">
                <a:extLst>
                  <a:ext uri="{FF2B5EF4-FFF2-40B4-BE49-F238E27FC236}">
                    <a16:creationId xmlns:a16="http://schemas.microsoft.com/office/drawing/2014/main" id="{CB92F04D-CF08-5DBA-3BF0-A7780E94BC0D}"/>
                  </a:ext>
                </a:extLst>
              </p:cNvPr>
              <p:cNvGrpSpPr/>
              <p:nvPr/>
            </p:nvGrpSpPr>
            <p:grpSpPr>
              <a:xfrm>
                <a:off x="5069961" y="6151663"/>
                <a:ext cx="106223" cy="28872"/>
                <a:chOff x="5069961" y="6151663"/>
                <a:chExt cx="106223" cy="28872"/>
              </a:xfrm>
            </p:grpSpPr>
            <p:grpSp>
              <p:nvGrpSpPr>
                <p:cNvPr id="55" name="Graphic 2">
                  <a:extLst>
                    <a:ext uri="{FF2B5EF4-FFF2-40B4-BE49-F238E27FC236}">
                      <a16:creationId xmlns:a16="http://schemas.microsoft.com/office/drawing/2014/main" id="{533E5410-2D6B-ED24-F733-50E713E119DE}"/>
                    </a:ext>
                  </a:extLst>
                </p:cNvPr>
                <p:cNvGrpSpPr/>
                <p:nvPr/>
              </p:nvGrpSpPr>
              <p:grpSpPr>
                <a:xfrm>
                  <a:off x="5069961" y="6158765"/>
                  <a:ext cx="14559" cy="14669"/>
                  <a:chOff x="5069961" y="6158765"/>
                  <a:chExt cx="14559" cy="14669"/>
                </a:xfrm>
              </p:grpSpPr>
              <p:sp>
                <p:nvSpPr>
                  <p:cNvPr id="128" name="Freeform: Shape 127">
                    <a:extLst>
                      <a:ext uri="{FF2B5EF4-FFF2-40B4-BE49-F238E27FC236}">
                        <a16:creationId xmlns:a16="http://schemas.microsoft.com/office/drawing/2014/main" id="{2869E7A5-4509-BAE7-BC3C-0099993F9337}"/>
                      </a:ext>
                    </a:extLst>
                  </p:cNvPr>
                  <p:cNvSpPr/>
                  <p:nvPr/>
                </p:nvSpPr>
                <p:spPr>
                  <a:xfrm>
                    <a:off x="5070318" y="6159231"/>
                    <a:ext cx="14203" cy="14203"/>
                  </a:xfrm>
                  <a:custGeom>
                    <a:avLst/>
                    <a:gdLst>
                      <a:gd name="connsiteX0" fmla="*/ 14203 w 14203"/>
                      <a:gd name="connsiteY0" fmla="*/ 7102 h 14203"/>
                      <a:gd name="connsiteX1" fmla="*/ 7102 w 14203"/>
                      <a:gd name="connsiteY1" fmla="*/ 0 h 14203"/>
                      <a:gd name="connsiteX2" fmla="*/ 0 w 14203"/>
                      <a:gd name="connsiteY2" fmla="*/ 7102 h 14203"/>
                      <a:gd name="connsiteX3" fmla="*/ 7102 w 14203"/>
                      <a:gd name="connsiteY3" fmla="*/ 14203 h 14203"/>
                      <a:gd name="connsiteX4" fmla="*/ 14203 w 14203"/>
                      <a:gd name="connsiteY4" fmla="*/ 7102 h 1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 h="14203">
                        <a:moveTo>
                          <a:pt x="14203" y="7102"/>
                        </a:moveTo>
                        <a:cubicBezTo>
                          <a:pt x="14203" y="3180"/>
                          <a:pt x="11023" y="0"/>
                          <a:pt x="7102" y="0"/>
                        </a:cubicBezTo>
                        <a:cubicBezTo>
                          <a:pt x="3181" y="0"/>
                          <a:pt x="0" y="3180"/>
                          <a:pt x="0" y="7102"/>
                        </a:cubicBezTo>
                        <a:cubicBezTo>
                          <a:pt x="0" y="11022"/>
                          <a:pt x="3181" y="14203"/>
                          <a:pt x="7102" y="14203"/>
                        </a:cubicBezTo>
                        <a:cubicBezTo>
                          <a:pt x="11023" y="14203"/>
                          <a:pt x="14203" y="11022"/>
                          <a:pt x="14203" y="7102"/>
                        </a:cubicBezTo>
                        <a:close/>
                      </a:path>
                    </a:pathLst>
                  </a:custGeom>
                  <a:solidFill>
                    <a:srgbClr val="58595B"/>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129" name="Freeform: Shape 128">
                    <a:extLst>
                      <a:ext uri="{FF2B5EF4-FFF2-40B4-BE49-F238E27FC236}">
                        <a16:creationId xmlns:a16="http://schemas.microsoft.com/office/drawing/2014/main" id="{A9C85360-290E-903E-0BEA-5E6401F1D319}"/>
                      </a:ext>
                    </a:extLst>
                  </p:cNvPr>
                  <p:cNvSpPr/>
                  <p:nvPr/>
                </p:nvSpPr>
                <p:spPr>
                  <a:xfrm>
                    <a:off x="5069961" y="6158765"/>
                    <a:ext cx="14203" cy="14203"/>
                  </a:xfrm>
                  <a:custGeom>
                    <a:avLst/>
                    <a:gdLst>
                      <a:gd name="connsiteX0" fmla="*/ 14203 w 14203"/>
                      <a:gd name="connsiteY0" fmla="*/ 7102 h 14203"/>
                      <a:gd name="connsiteX1" fmla="*/ 7102 w 14203"/>
                      <a:gd name="connsiteY1" fmla="*/ 0 h 14203"/>
                      <a:gd name="connsiteX2" fmla="*/ 0 w 14203"/>
                      <a:gd name="connsiteY2" fmla="*/ 7102 h 14203"/>
                      <a:gd name="connsiteX3" fmla="*/ 7102 w 14203"/>
                      <a:gd name="connsiteY3" fmla="*/ 14203 h 14203"/>
                      <a:gd name="connsiteX4" fmla="*/ 14203 w 14203"/>
                      <a:gd name="connsiteY4" fmla="*/ 7102 h 14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 h="14203">
                        <a:moveTo>
                          <a:pt x="14203" y="7102"/>
                        </a:moveTo>
                        <a:cubicBezTo>
                          <a:pt x="14203" y="3181"/>
                          <a:pt x="11023" y="0"/>
                          <a:pt x="7102" y="0"/>
                        </a:cubicBezTo>
                        <a:cubicBezTo>
                          <a:pt x="3181" y="0"/>
                          <a:pt x="0" y="3181"/>
                          <a:pt x="0" y="7102"/>
                        </a:cubicBezTo>
                        <a:cubicBezTo>
                          <a:pt x="0" y="11023"/>
                          <a:pt x="3181" y="14203"/>
                          <a:pt x="7102" y="14203"/>
                        </a:cubicBezTo>
                        <a:cubicBezTo>
                          <a:pt x="11023" y="14203"/>
                          <a:pt x="14203" y="11023"/>
                          <a:pt x="14203" y="7102"/>
                        </a:cubicBezTo>
                        <a:close/>
                      </a:path>
                    </a:pathLst>
                  </a:custGeom>
                  <a:solidFill>
                    <a:srgbClr val="BCBEC0"/>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130" name="Freeform: Shape 129">
                    <a:extLst>
                      <a:ext uri="{FF2B5EF4-FFF2-40B4-BE49-F238E27FC236}">
                        <a16:creationId xmlns:a16="http://schemas.microsoft.com/office/drawing/2014/main" id="{63E11238-2F57-0AAE-A535-1F5EF95EE78B}"/>
                      </a:ext>
                    </a:extLst>
                  </p:cNvPr>
                  <p:cNvSpPr/>
                  <p:nvPr/>
                </p:nvSpPr>
                <p:spPr>
                  <a:xfrm>
                    <a:off x="5070976" y="6159779"/>
                    <a:ext cx="12174" cy="12174"/>
                  </a:xfrm>
                  <a:custGeom>
                    <a:avLst/>
                    <a:gdLst>
                      <a:gd name="connsiteX0" fmla="*/ 12174 w 12174"/>
                      <a:gd name="connsiteY0" fmla="*/ 6087 h 12174"/>
                      <a:gd name="connsiteX1" fmla="*/ 6087 w 12174"/>
                      <a:gd name="connsiteY1" fmla="*/ 0 h 12174"/>
                      <a:gd name="connsiteX2" fmla="*/ 0 w 12174"/>
                      <a:gd name="connsiteY2" fmla="*/ 6087 h 12174"/>
                      <a:gd name="connsiteX3" fmla="*/ 6087 w 12174"/>
                      <a:gd name="connsiteY3" fmla="*/ 12174 h 12174"/>
                      <a:gd name="connsiteX4" fmla="*/ 12174 w 12174"/>
                      <a:gd name="connsiteY4" fmla="*/ 6087 h 1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4" h="12174">
                        <a:moveTo>
                          <a:pt x="12174" y="6087"/>
                        </a:moveTo>
                        <a:cubicBezTo>
                          <a:pt x="12174" y="2742"/>
                          <a:pt x="9460" y="0"/>
                          <a:pt x="6087" y="0"/>
                        </a:cubicBezTo>
                        <a:cubicBezTo>
                          <a:pt x="2715" y="0"/>
                          <a:pt x="0" y="2715"/>
                          <a:pt x="0" y="6087"/>
                        </a:cubicBezTo>
                        <a:cubicBezTo>
                          <a:pt x="0" y="9460"/>
                          <a:pt x="2715" y="12174"/>
                          <a:pt x="6087" y="12174"/>
                        </a:cubicBezTo>
                        <a:cubicBezTo>
                          <a:pt x="9460" y="12174"/>
                          <a:pt x="12174" y="9460"/>
                          <a:pt x="12174" y="6087"/>
                        </a:cubicBezTo>
                        <a:close/>
                      </a:path>
                    </a:pathLst>
                  </a:custGeom>
                  <a:solidFill>
                    <a:srgbClr val="333333"/>
                  </a:solidFill>
                  <a:ln w="2742" cap="flat">
                    <a:noFill/>
                    <a:prstDash val="solid"/>
                    <a:miter/>
                  </a:ln>
                </p:spPr>
                <p:txBody>
                  <a:bodyPr rtlCol="0" anchor="ctr"/>
                  <a:lstStyle/>
                  <a:p>
                    <a:pPr defTabSz="914406">
                      <a:buClrTx/>
                    </a:pPr>
                    <a:endParaRPr lang="en-US" sz="1633" kern="1200">
                      <a:solidFill>
                        <a:srgbClr val="444444"/>
                      </a:solidFill>
                      <a:ea typeface="+mn-ea"/>
                    </a:endParaRPr>
                  </a:p>
                </p:txBody>
              </p:sp>
            </p:grpSp>
            <p:grpSp>
              <p:nvGrpSpPr>
                <p:cNvPr id="56" name="Graphic 2">
                  <a:extLst>
                    <a:ext uri="{FF2B5EF4-FFF2-40B4-BE49-F238E27FC236}">
                      <a16:creationId xmlns:a16="http://schemas.microsoft.com/office/drawing/2014/main" id="{BA403328-AFF4-1CF9-1640-7D3BF6647E50}"/>
                    </a:ext>
                  </a:extLst>
                </p:cNvPr>
                <p:cNvGrpSpPr/>
                <p:nvPr/>
              </p:nvGrpSpPr>
              <p:grpSpPr>
                <a:xfrm>
                  <a:off x="5105196" y="6151663"/>
                  <a:ext cx="28708" cy="28872"/>
                  <a:chOff x="5105196" y="6151663"/>
                  <a:chExt cx="28708" cy="28872"/>
                </a:xfrm>
              </p:grpSpPr>
              <p:sp>
                <p:nvSpPr>
                  <p:cNvPr id="61" name="Freeform: Shape 60">
                    <a:extLst>
                      <a:ext uri="{FF2B5EF4-FFF2-40B4-BE49-F238E27FC236}">
                        <a16:creationId xmlns:a16="http://schemas.microsoft.com/office/drawing/2014/main" id="{9AB82536-D6D9-0CAC-310F-BDC37D3713E7}"/>
                      </a:ext>
                    </a:extLst>
                  </p:cNvPr>
                  <p:cNvSpPr/>
                  <p:nvPr/>
                </p:nvSpPr>
                <p:spPr>
                  <a:xfrm>
                    <a:off x="5105936" y="6152568"/>
                    <a:ext cx="27968" cy="27967"/>
                  </a:xfrm>
                  <a:custGeom>
                    <a:avLst/>
                    <a:gdLst>
                      <a:gd name="connsiteX0" fmla="*/ 27968 w 27968"/>
                      <a:gd name="connsiteY0" fmla="*/ 13984 h 27967"/>
                      <a:gd name="connsiteX1" fmla="*/ 13984 w 27968"/>
                      <a:gd name="connsiteY1" fmla="*/ 0 h 27967"/>
                      <a:gd name="connsiteX2" fmla="*/ 0 w 27968"/>
                      <a:gd name="connsiteY2" fmla="*/ 13984 h 27967"/>
                      <a:gd name="connsiteX3" fmla="*/ 13984 w 27968"/>
                      <a:gd name="connsiteY3" fmla="*/ 27968 h 27967"/>
                      <a:gd name="connsiteX4" fmla="*/ 27968 w 27968"/>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8" h="27967">
                        <a:moveTo>
                          <a:pt x="27968" y="13984"/>
                        </a:moveTo>
                        <a:cubicBezTo>
                          <a:pt x="27968" y="6252"/>
                          <a:pt x="21716" y="0"/>
                          <a:pt x="13984" y="0"/>
                        </a:cubicBezTo>
                        <a:cubicBezTo>
                          <a:pt x="6252" y="0"/>
                          <a:pt x="0" y="6279"/>
                          <a:pt x="0" y="13984"/>
                        </a:cubicBezTo>
                        <a:cubicBezTo>
                          <a:pt x="0" y="21689"/>
                          <a:pt x="6279" y="27968"/>
                          <a:pt x="13984" y="27968"/>
                        </a:cubicBezTo>
                        <a:cubicBezTo>
                          <a:pt x="21689" y="27968"/>
                          <a:pt x="27968" y="21689"/>
                          <a:pt x="27968" y="13984"/>
                        </a:cubicBezTo>
                        <a:close/>
                      </a:path>
                    </a:pathLst>
                  </a:custGeom>
                  <a:solidFill>
                    <a:srgbClr val="58595B"/>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62" name="Freeform: Shape 61">
                    <a:extLst>
                      <a:ext uri="{FF2B5EF4-FFF2-40B4-BE49-F238E27FC236}">
                        <a16:creationId xmlns:a16="http://schemas.microsoft.com/office/drawing/2014/main" id="{3CEC9BE2-12BE-E9CE-041E-5F2B49453A38}"/>
                      </a:ext>
                    </a:extLst>
                  </p:cNvPr>
                  <p:cNvSpPr/>
                  <p:nvPr/>
                </p:nvSpPr>
                <p:spPr>
                  <a:xfrm>
                    <a:off x="5105196" y="6151663"/>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BCBEC0"/>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63" name="Freeform: Shape 62">
                    <a:extLst>
                      <a:ext uri="{FF2B5EF4-FFF2-40B4-BE49-F238E27FC236}">
                        <a16:creationId xmlns:a16="http://schemas.microsoft.com/office/drawing/2014/main" id="{84390741-3312-A92A-6F80-D202F754B758}"/>
                      </a:ext>
                    </a:extLst>
                  </p:cNvPr>
                  <p:cNvSpPr/>
                  <p:nvPr/>
                </p:nvSpPr>
                <p:spPr>
                  <a:xfrm>
                    <a:off x="5107197" y="6153665"/>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4D4D4D"/>
                  </a:solidFill>
                  <a:ln w="2742" cap="flat">
                    <a:noFill/>
                    <a:prstDash val="solid"/>
                    <a:miter/>
                  </a:ln>
                </p:spPr>
                <p:txBody>
                  <a:bodyPr rtlCol="0" anchor="ctr"/>
                  <a:lstStyle/>
                  <a:p>
                    <a:pPr defTabSz="914406">
                      <a:buClrTx/>
                    </a:pPr>
                    <a:endParaRPr lang="en-US" sz="1633" kern="1200">
                      <a:solidFill>
                        <a:srgbClr val="444444"/>
                      </a:solidFill>
                      <a:ea typeface="+mn-ea"/>
                    </a:endParaRPr>
                  </a:p>
                </p:txBody>
              </p:sp>
            </p:grpSp>
            <p:grpSp>
              <p:nvGrpSpPr>
                <p:cNvPr id="57" name="Graphic 2">
                  <a:extLst>
                    <a:ext uri="{FF2B5EF4-FFF2-40B4-BE49-F238E27FC236}">
                      <a16:creationId xmlns:a16="http://schemas.microsoft.com/office/drawing/2014/main" id="{B711F3D9-1C0C-7EAF-C077-42C0A98DCD3D}"/>
                    </a:ext>
                  </a:extLst>
                </p:cNvPr>
                <p:cNvGrpSpPr/>
                <p:nvPr/>
              </p:nvGrpSpPr>
              <p:grpSpPr>
                <a:xfrm>
                  <a:off x="5147504" y="6151663"/>
                  <a:ext cx="28680" cy="28872"/>
                  <a:chOff x="5147504" y="6151663"/>
                  <a:chExt cx="28680" cy="28872"/>
                </a:xfrm>
              </p:grpSpPr>
              <p:sp>
                <p:nvSpPr>
                  <p:cNvPr id="58" name="Freeform: Shape 57">
                    <a:extLst>
                      <a:ext uri="{FF2B5EF4-FFF2-40B4-BE49-F238E27FC236}">
                        <a16:creationId xmlns:a16="http://schemas.microsoft.com/office/drawing/2014/main" id="{9C1D79F6-D662-B0B5-1B4E-87341373D761}"/>
                      </a:ext>
                    </a:extLst>
                  </p:cNvPr>
                  <p:cNvSpPr/>
                  <p:nvPr/>
                </p:nvSpPr>
                <p:spPr>
                  <a:xfrm>
                    <a:off x="5148217" y="6152568"/>
                    <a:ext cx="27967" cy="27967"/>
                  </a:xfrm>
                  <a:custGeom>
                    <a:avLst/>
                    <a:gdLst>
                      <a:gd name="connsiteX0" fmla="*/ 27968 w 27967"/>
                      <a:gd name="connsiteY0" fmla="*/ 13984 h 27967"/>
                      <a:gd name="connsiteX1" fmla="*/ 13984 w 27967"/>
                      <a:gd name="connsiteY1" fmla="*/ 0 h 27967"/>
                      <a:gd name="connsiteX2" fmla="*/ 0 w 27967"/>
                      <a:gd name="connsiteY2" fmla="*/ 13984 h 27967"/>
                      <a:gd name="connsiteX3" fmla="*/ 13984 w 27967"/>
                      <a:gd name="connsiteY3" fmla="*/ 27968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6252"/>
                          <a:pt x="21689" y="0"/>
                          <a:pt x="13984" y="0"/>
                        </a:cubicBezTo>
                        <a:cubicBezTo>
                          <a:pt x="6279" y="0"/>
                          <a:pt x="0" y="6279"/>
                          <a:pt x="0" y="13984"/>
                        </a:cubicBezTo>
                        <a:cubicBezTo>
                          <a:pt x="0" y="21689"/>
                          <a:pt x="6279" y="27968"/>
                          <a:pt x="13984" y="27968"/>
                        </a:cubicBezTo>
                        <a:cubicBezTo>
                          <a:pt x="21689" y="27968"/>
                          <a:pt x="27968" y="21689"/>
                          <a:pt x="27968" y="13984"/>
                        </a:cubicBezTo>
                        <a:close/>
                      </a:path>
                    </a:pathLst>
                  </a:custGeom>
                  <a:solidFill>
                    <a:srgbClr val="58595B"/>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59" name="Freeform: Shape 58">
                    <a:extLst>
                      <a:ext uri="{FF2B5EF4-FFF2-40B4-BE49-F238E27FC236}">
                        <a16:creationId xmlns:a16="http://schemas.microsoft.com/office/drawing/2014/main" id="{62C43268-A14F-1706-33AB-9D06489D9A0E}"/>
                      </a:ext>
                    </a:extLst>
                  </p:cNvPr>
                  <p:cNvSpPr/>
                  <p:nvPr/>
                </p:nvSpPr>
                <p:spPr>
                  <a:xfrm>
                    <a:off x="5147504" y="6151663"/>
                    <a:ext cx="27967" cy="27967"/>
                  </a:xfrm>
                  <a:custGeom>
                    <a:avLst/>
                    <a:gdLst>
                      <a:gd name="connsiteX0" fmla="*/ 27968 w 27967"/>
                      <a:gd name="connsiteY0" fmla="*/ 13984 h 27967"/>
                      <a:gd name="connsiteX1" fmla="*/ 13984 w 27967"/>
                      <a:gd name="connsiteY1" fmla="*/ 27968 h 27967"/>
                      <a:gd name="connsiteX2" fmla="*/ 0 w 27967"/>
                      <a:gd name="connsiteY2" fmla="*/ 13984 h 27967"/>
                      <a:gd name="connsiteX3" fmla="*/ 13984 w 27967"/>
                      <a:gd name="connsiteY3" fmla="*/ 0 h 27967"/>
                      <a:gd name="connsiteX4" fmla="*/ 27968 w 27967"/>
                      <a:gd name="connsiteY4" fmla="*/ 13984 h 27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67" h="27967">
                        <a:moveTo>
                          <a:pt x="27968" y="13984"/>
                        </a:moveTo>
                        <a:cubicBezTo>
                          <a:pt x="27968" y="21707"/>
                          <a:pt x="21707" y="27968"/>
                          <a:pt x="13984" y="27968"/>
                        </a:cubicBezTo>
                        <a:cubicBezTo>
                          <a:pt x="6261" y="27968"/>
                          <a:pt x="0" y="21707"/>
                          <a:pt x="0" y="13984"/>
                        </a:cubicBezTo>
                        <a:cubicBezTo>
                          <a:pt x="0" y="6261"/>
                          <a:pt x="6261" y="0"/>
                          <a:pt x="13984" y="0"/>
                        </a:cubicBezTo>
                        <a:cubicBezTo>
                          <a:pt x="21707" y="0"/>
                          <a:pt x="27968" y="6261"/>
                          <a:pt x="27968" y="13984"/>
                        </a:cubicBezTo>
                        <a:close/>
                      </a:path>
                    </a:pathLst>
                  </a:custGeom>
                  <a:solidFill>
                    <a:srgbClr val="BCBEC0"/>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60" name="Freeform: Shape 59">
                    <a:extLst>
                      <a:ext uri="{FF2B5EF4-FFF2-40B4-BE49-F238E27FC236}">
                        <a16:creationId xmlns:a16="http://schemas.microsoft.com/office/drawing/2014/main" id="{4D0C1C70-1D9C-9F63-6489-CEAEE63FD3C4}"/>
                      </a:ext>
                    </a:extLst>
                  </p:cNvPr>
                  <p:cNvSpPr/>
                  <p:nvPr/>
                </p:nvSpPr>
                <p:spPr>
                  <a:xfrm>
                    <a:off x="5149506" y="6153665"/>
                    <a:ext cx="23964" cy="23964"/>
                  </a:xfrm>
                  <a:custGeom>
                    <a:avLst/>
                    <a:gdLst>
                      <a:gd name="connsiteX0" fmla="*/ 23965 w 23964"/>
                      <a:gd name="connsiteY0" fmla="*/ 11982 h 23964"/>
                      <a:gd name="connsiteX1" fmla="*/ 11982 w 23964"/>
                      <a:gd name="connsiteY1" fmla="*/ 23965 h 23964"/>
                      <a:gd name="connsiteX2" fmla="*/ 0 w 23964"/>
                      <a:gd name="connsiteY2" fmla="*/ 11982 h 23964"/>
                      <a:gd name="connsiteX3" fmla="*/ 11982 w 23964"/>
                      <a:gd name="connsiteY3" fmla="*/ 0 h 23964"/>
                      <a:gd name="connsiteX4" fmla="*/ 23965 w 23964"/>
                      <a:gd name="connsiteY4" fmla="*/ 11982 h 23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4" h="23964">
                        <a:moveTo>
                          <a:pt x="23965" y="11982"/>
                        </a:moveTo>
                        <a:cubicBezTo>
                          <a:pt x="23965" y="18600"/>
                          <a:pt x="18600" y="23965"/>
                          <a:pt x="11982" y="23965"/>
                        </a:cubicBezTo>
                        <a:cubicBezTo>
                          <a:pt x="5365" y="23965"/>
                          <a:pt x="0" y="18600"/>
                          <a:pt x="0" y="11982"/>
                        </a:cubicBezTo>
                        <a:cubicBezTo>
                          <a:pt x="0" y="5365"/>
                          <a:pt x="5365" y="0"/>
                          <a:pt x="11982" y="0"/>
                        </a:cubicBezTo>
                        <a:cubicBezTo>
                          <a:pt x="18600" y="0"/>
                          <a:pt x="23965" y="5365"/>
                          <a:pt x="23965" y="11982"/>
                        </a:cubicBezTo>
                        <a:close/>
                      </a:path>
                    </a:pathLst>
                  </a:custGeom>
                  <a:solidFill>
                    <a:srgbClr val="4D4D4D"/>
                  </a:solidFill>
                  <a:ln w="2742" cap="flat">
                    <a:noFill/>
                    <a:prstDash val="solid"/>
                    <a:miter/>
                  </a:ln>
                </p:spPr>
                <p:txBody>
                  <a:bodyPr rtlCol="0" anchor="ctr"/>
                  <a:lstStyle/>
                  <a:p>
                    <a:pPr defTabSz="914406">
                      <a:buClrTx/>
                    </a:pPr>
                    <a:endParaRPr lang="en-US" sz="1633" kern="1200">
                      <a:solidFill>
                        <a:srgbClr val="444444"/>
                      </a:solidFill>
                      <a:ea typeface="+mn-ea"/>
                    </a:endParaRPr>
                  </a:p>
                </p:txBody>
              </p:sp>
            </p:grpSp>
          </p:grpSp>
          <p:grpSp>
            <p:nvGrpSpPr>
              <p:cNvPr id="52" name="Graphic 2">
                <a:extLst>
                  <a:ext uri="{FF2B5EF4-FFF2-40B4-BE49-F238E27FC236}">
                    <a16:creationId xmlns:a16="http://schemas.microsoft.com/office/drawing/2014/main" id="{9B51333F-FC5C-E23A-5626-AE775CD7C25B}"/>
                  </a:ext>
                </a:extLst>
              </p:cNvPr>
              <p:cNvGrpSpPr/>
              <p:nvPr/>
            </p:nvGrpSpPr>
            <p:grpSpPr>
              <a:xfrm>
                <a:off x="3103267" y="6140915"/>
                <a:ext cx="532268" cy="27748"/>
                <a:chOff x="3103267" y="6140915"/>
                <a:chExt cx="532268" cy="27748"/>
              </a:xfrm>
            </p:grpSpPr>
            <p:sp>
              <p:nvSpPr>
                <p:cNvPr id="53" name="Freeform: Shape 52">
                  <a:extLst>
                    <a:ext uri="{FF2B5EF4-FFF2-40B4-BE49-F238E27FC236}">
                      <a16:creationId xmlns:a16="http://schemas.microsoft.com/office/drawing/2014/main" id="{B1D8B3FB-FAC2-B841-5871-A40190338203}"/>
                    </a:ext>
                  </a:extLst>
                </p:cNvPr>
                <p:cNvSpPr/>
                <p:nvPr/>
              </p:nvSpPr>
              <p:spPr>
                <a:xfrm>
                  <a:off x="3103267" y="6140915"/>
                  <a:ext cx="532240" cy="27748"/>
                </a:xfrm>
                <a:custGeom>
                  <a:avLst/>
                  <a:gdLst>
                    <a:gd name="connsiteX0" fmla="*/ 266381 w 532240"/>
                    <a:gd name="connsiteY0" fmla="*/ 0 h 27748"/>
                    <a:gd name="connsiteX1" fmla="*/ 0 w 532240"/>
                    <a:gd name="connsiteY1" fmla="*/ 0 h 27748"/>
                    <a:gd name="connsiteX2" fmla="*/ 63010 w 532240"/>
                    <a:gd name="connsiteY2" fmla="*/ 27749 h 27748"/>
                    <a:gd name="connsiteX3" fmla="*/ 469231 w 532240"/>
                    <a:gd name="connsiteY3" fmla="*/ 27749 h 27748"/>
                    <a:gd name="connsiteX4" fmla="*/ 532241 w 532240"/>
                    <a:gd name="connsiteY4" fmla="*/ 0 h 27748"/>
                    <a:gd name="connsiteX5" fmla="*/ 266381 w 532240"/>
                    <a:gd name="connsiteY5" fmla="*/ 0 h 2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240" h="27748">
                      <a:moveTo>
                        <a:pt x="266381" y="0"/>
                      </a:moveTo>
                      <a:lnTo>
                        <a:pt x="0" y="0"/>
                      </a:lnTo>
                      <a:cubicBezTo>
                        <a:pt x="0" y="0"/>
                        <a:pt x="5868" y="27749"/>
                        <a:pt x="63010" y="27749"/>
                      </a:cubicBezTo>
                      <a:lnTo>
                        <a:pt x="469231" y="27749"/>
                      </a:lnTo>
                      <a:cubicBezTo>
                        <a:pt x="526373" y="27749"/>
                        <a:pt x="532241" y="0"/>
                        <a:pt x="532241" y="0"/>
                      </a:cubicBezTo>
                      <a:lnTo>
                        <a:pt x="266381" y="0"/>
                      </a:lnTo>
                      <a:close/>
                    </a:path>
                  </a:pathLst>
                </a:custGeom>
                <a:solidFill>
                  <a:srgbClr val="000000"/>
                </a:soli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54" name="Freeform: Shape 53">
                  <a:extLst>
                    <a:ext uri="{FF2B5EF4-FFF2-40B4-BE49-F238E27FC236}">
                      <a16:creationId xmlns:a16="http://schemas.microsoft.com/office/drawing/2014/main" id="{F92D3D9C-4FA0-499F-4060-6EA61EDF66BE}"/>
                    </a:ext>
                  </a:extLst>
                </p:cNvPr>
                <p:cNvSpPr/>
                <p:nvPr/>
              </p:nvSpPr>
              <p:spPr>
                <a:xfrm>
                  <a:off x="3123338" y="6140915"/>
                  <a:ext cx="512197" cy="27748"/>
                </a:xfrm>
                <a:custGeom>
                  <a:avLst/>
                  <a:gdLst>
                    <a:gd name="connsiteX0" fmla="*/ 502299 w 512197"/>
                    <a:gd name="connsiteY0" fmla="*/ 0 h 27748"/>
                    <a:gd name="connsiteX1" fmla="*/ 440056 w 512197"/>
                    <a:gd name="connsiteY1" fmla="*/ 24349 h 27748"/>
                    <a:gd name="connsiteX2" fmla="*/ 36166 w 512197"/>
                    <a:gd name="connsiteY2" fmla="*/ 24349 h 27748"/>
                    <a:gd name="connsiteX3" fmla="*/ 0 w 512197"/>
                    <a:gd name="connsiteY3" fmla="*/ 19989 h 27748"/>
                    <a:gd name="connsiteX4" fmla="*/ 45187 w 512197"/>
                    <a:gd name="connsiteY4" fmla="*/ 27749 h 27748"/>
                    <a:gd name="connsiteX5" fmla="*/ 449077 w 512197"/>
                    <a:gd name="connsiteY5" fmla="*/ 27749 h 27748"/>
                    <a:gd name="connsiteX6" fmla="*/ 512197 w 512197"/>
                    <a:gd name="connsiteY6" fmla="*/ 0 h 27748"/>
                    <a:gd name="connsiteX7" fmla="*/ 502326 w 512197"/>
                    <a:gd name="connsiteY7" fmla="*/ 0 h 2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197" h="27748">
                      <a:moveTo>
                        <a:pt x="502299" y="0"/>
                      </a:moveTo>
                      <a:cubicBezTo>
                        <a:pt x="499392" y="9295"/>
                        <a:pt x="483544" y="24349"/>
                        <a:pt x="440056" y="24349"/>
                      </a:cubicBezTo>
                      <a:lnTo>
                        <a:pt x="36166" y="24349"/>
                      </a:lnTo>
                      <a:cubicBezTo>
                        <a:pt x="20565" y="24349"/>
                        <a:pt x="8829" y="22649"/>
                        <a:pt x="0" y="19989"/>
                      </a:cubicBezTo>
                      <a:cubicBezTo>
                        <a:pt x="9350" y="24349"/>
                        <a:pt x="23553" y="27749"/>
                        <a:pt x="45187" y="27749"/>
                      </a:cubicBezTo>
                      <a:lnTo>
                        <a:pt x="449077" y="27749"/>
                      </a:lnTo>
                      <a:cubicBezTo>
                        <a:pt x="505891" y="27749"/>
                        <a:pt x="512197" y="0"/>
                        <a:pt x="512197" y="0"/>
                      </a:cubicBezTo>
                      <a:lnTo>
                        <a:pt x="502326" y="0"/>
                      </a:lnTo>
                      <a:close/>
                    </a:path>
                  </a:pathLst>
                </a:custGeom>
                <a:solidFill>
                  <a:srgbClr val="D1D3D4"/>
                </a:solidFill>
                <a:ln w="2742" cap="flat">
                  <a:noFill/>
                  <a:prstDash val="solid"/>
                  <a:miter/>
                </a:ln>
              </p:spPr>
              <p:txBody>
                <a:bodyPr rtlCol="0" anchor="ctr"/>
                <a:lstStyle/>
                <a:p>
                  <a:pPr defTabSz="914406">
                    <a:buClrTx/>
                  </a:pPr>
                  <a:endParaRPr lang="en-US" sz="1633" kern="1200">
                    <a:solidFill>
                      <a:srgbClr val="444444"/>
                    </a:solidFill>
                    <a:ea typeface="+mn-ea"/>
                  </a:endParaRPr>
                </a:p>
              </p:txBody>
            </p:sp>
          </p:grpSp>
        </p:grpSp>
      </p:grpSp>
      <p:pic>
        <p:nvPicPr>
          <p:cNvPr id="163" name="Picture 162">
            <a:extLst>
              <a:ext uri="{FF2B5EF4-FFF2-40B4-BE49-F238E27FC236}">
                <a16:creationId xmlns:a16="http://schemas.microsoft.com/office/drawing/2014/main" id="{AD25483B-9E35-EE82-1B58-3FD57D979507}"/>
              </a:ext>
            </a:extLst>
          </p:cNvPr>
          <p:cNvPicPr>
            <a:picLocks noChangeAspect="1"/>
          </p:cNvPicPr>
          <p:nvPr/>
        </p:nvPicPr>
        <p:blipFill>
          <a:blip r:embed="rId5"/>
          <a:stretch>
            <a:fillRect/>
          </a:stretch>
        </p:blipFill>
        <p:spPr>
          <a:xfrm>
            <a:off x="6712119" y="1836300"/>
            <a:ext cx="2873206" cy="1738132"/>
          </a:xfrm>
          <a:prstGeom prst="rect">
            <a:avLst/>
          </a:prstGeom>
        </p:spPr>
      </p:pic>
      <p:sp>
        <p:nvSpPr>
          <p:cNvPr id="4" name="Title 3">
            <a:extLst>
              <a:ext uri="{FF2B5EF4-FFF2-40B4-BE49-F238E27FC236}">
                <a16:creationId xmlns:a16="http://schemas.microsoft.com/office/drawing/2014/main" id="{04049970-A4FC-E703-56F8-F87E8EC94E43}"/>
              </a:ext>
            </a:extLst>
          </p:cNvPr>
          <p:cNvSpPr>
            <a:spLocks noGrp="1"/>
          </p:cNvSpPr>
          <p:nvPr>
            <p:ph type="title"/>
          </p:nvPr>
        </p:nvSpPr>
        <p:spPr>
          <a:xfrm>
            <a:off x="531960" y="560740"/>
            <a:ext cx="11089681" cy="415498"/>
          </a:xfrm>
        </p:spPr>
        <p:txBody>
          <a:bodyPr vert="horz"/>
          <a:lstStyle/>
          <a:p>
            <a:r>
              <a:rPr lang="en-US" sz="3000" kern="1200" dirty="0">
                <a:solidFill>
                  <a:schemeClr val="bg2"/>
                </a:solidFill>
                <a:latin typeface="Franklin Gothic" panose="020B0604020202020204" charset="0"/>
                <a:ea typeface="+mj-ea"/>
                <a:cs typeface="Calibri" panose="020F0502020204030204" pitchFamily="34" charset="0"/>
              </a:rPr>
              <a:t>Web Scraping Tool for Second-Hand Car Sales</a:t>
            </a:r>
          </a:p>
        </p:txBody>
      </p:sp>
      <p:sp>
        <p:nvSpPr>
          <p:cNvPr id="15" name="Google Shape;831;p25">
            <a:extLst>
              <a:ext uri="{FF2B5EF4-FFF2-40B4-BE49-F238E27FC236}">
                <a16:creationId xmlns:a16="http://schemas.microsoft.com/office/drawing/2014/main" id="{BE9AC918-EE64-3C38-B970-B1FD8371B223}"/>
              </a:ext>
            </a:extLst>
          </p:cNvPr>
          <p:cNvSpPr>
            <a:spLocks/>
          </p:cNvSpPr>
          <p:nvPr/>
        </p:nvSpPr>
        <p:spPr>
          <a:xfrm>
            <a:off x="519490" y="1648551"/>
            <a:ext cx="5274302" cy="5008958"/>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914406">
              <a:lnSpc>
                <a:spcPct val="130769"/>
              </a:lnSpc>
              <a:buClr>
                <a:srgbClr val="00B9FF"/>
              </a:buClr>
              <a:buSzPts val="1300"/>
            </a:pPr>
            <a:endParaRPr lang="en-US" sz="1633" kern="1200" dirty="0">
              <a:solidFill>
                <a:srgbClr val="444444"/>
              </a:solidFill>
              <a:ea typeface="+mn-ea"/>
            </a:endParaRPr>
          </a:p>
        </p:txBody>
      </p:sp>
      <p:sp>
        <p:nvSpPr>
          <p:cNvPr id="17" name="TextBox 16">
            <a:extLst>
              <a:ext uri="{FF2B5EF4-FFF2-40B4-BE49-F238E27FC236}">
                <a16:creationId xmlns:a16="http://schemas.microsoft.com/office/drawing/2014/main" id="{662784F6-932D-341C-D037-8170B94B3351}"/>
              </a:ext>
            </a:extLst>
          </p:cNvPr>
          <p:cNvSpPr txBox="1"/>
          <p:nvPr/>
        </p:nvSpPr>
        <p:spPr>
          <a:xfrm>
            <a:off x="688589" y="2159839"/>
            <a:ext cx="4945735" cy="4403359"/>
          </a:xfrm>
          <a:prstGeom prst="rect">
            <a:avLst/>
          </a:prstGeom>
          <a:noFill/>
        </p:spPr>
        <p:txBody>
          <a:bodyPr wrap="square">
            <a:noAutofit/>
          </a:bodyPr>
          <a:lstStyle/>
          <a:p>
            <a:pPr marL="157614" indent="-157614" defTabSz="914406">
              <a:lnSpc>
                <a:spcPts val="1742"/>
              </a:lnSpc>
              <a:buClrTx/>
            </a:pPr>
            <a:r>
              <a:rPr lang="en-US" sz="1600" b="1" kern="1200" dirty="0">
                <a:solidFill>
                  <a:srgbClr val="00B9FF"/>
                </a:solidFill>
                <a:latin typeface="Calibri" panose="020F0502020204030204" pitchFamily="34" charset="0"/>
                <a:ea typeface="Calibri" panose="020F0502020204030204" pitchFamily="34" charset="0"/>
                <a:cs typeface="Calibri" panose="020F0502020204030204" pitchFamily="34" charset="0"/>
                <a:sym typeface="Calibri"/>
              </a:rPr>
              <a:t>Establishing Data Collection Requirements</a:t>
            </a:r>
            <a:endParaRPr lang="en-US" sz="1600" kern="1200" dirty="0">
              <a:solidFill>
                <a:srgbClr val="00B9FF"/>
              </a:solidFill>
              <a:latin typeface="Calibri" panose="020F0502020204030204" pitchFamily="34" charset="0"/>
              <a:ea typeface="Calibri" panose="020F0502020204030204" pitchFamily="34" charset="0"/>
              <a:cs typeface="Calibri" panose="020F0502020204030204" pitchFamily="34" charset="0"/>
            </a:endParaRPr>
          </a:p>
          <a:p>
            <a:pPr defTabSz="914406">
              <a:lnSpc>
                <a:spcPts val="1742"/>
              </a:lnSpc>
              <a:spcBef>
                <a:spcPts val="544"/>
              </a:spcBef>
              <a:buClr>
                <a:srgbClr val="0F47F2"/>
              </a:buClr>
              <a:buSzPts val="1400"/>
            </a:pPr>
            <a:r>
              <a:rPr lang="en-US" sz="1452" kern="1200" dirty="0">
                <a:solidFill>
                  <a:srgbClr val="444444"/>
                </a:solidFill>
                <a:latin typeface="Calibri" panose="020F0502020204030204" pitchFamily="34" charset="0"/>
                <a:ea typeface="Calibri" panose="020F0502020204030204" pitchFamily="34" charset="0"/>
                <a:cs typeface="Calibri" panose="020F0502020204030204" pitchFamily="34" charset="0"/>
              </a:rPr>
              <a:t>Identification and selection of </a:t>
            </a:r>
            <a:r>
              <a:rPr lang="en-US" sz="1452" b="1" kern="1200" dirty="0">
                <a:solidFill>
                  <a:srgbClr val="444444"/>
                </a:solidFill>
                <a:latin typeface="Calibri" panose="020F0502020204030204" pitchFamily="34" charset="0"/>
                <a:ea typeface="Calibri" panose="020F0502020204030204" pitchFamily="34" charset="0"/>
                <a:cs typeface="Calibri" panose="020F0502020204030204" pitchFamily="34" charset="0"/>
              </a:rPr>
              <a:t>+15 core data elements crucial for analysis</a:t>
            </a:r>
            <a:r>
              <a:rPr lang="en-US" sz="1452" kern="1200" dirty="0">
                <a:solidFill>
                  <a:srgbClr val="444444"/>
                </a:solidFill>
                <a:latin typeface="Calibri" panose="020F0502020204030204" pitchFamily="34" charset="0"/>
                <a:ea typeface="Calibri" panose="020F0502020204030204" pitchFamily="34" charset="0"/>
                <a:cs typeface="Calibri" panose="020F0502020204030204" pitchFamily="34" charset="0"/>
              </a:rPr>
              <a:t>, enabling the client to perform comprehensive insights generation.</a:t>
            </a:r>
          </a:p>
          <a:p>
            <a:pPr marL="157614" indent="-157614" defTabSz="914406">
              <a:lnSpc>
                <a:spcPts val="1742"/>
              </a:lnSpc>
              <a:spcBef>
                <a:spcPts val="544"/>
              </a:spcBef>
              <a:buClr>
                <a:srgbClr val="E6EBF5"/>
              </a:buClr>
            </a:pPr>
            <a:r>
              <a:rPr lang="en-US" sz="1600" b="1" kern="1200" dirty="0">
                <a:solidFill>
                  <a:srgbClr val="00B9FF"/>
                </a:solidFill>
                <a:latin typeface="Calibri" panose="020F0502020204030204" pitchFamily="34" charset="0"/>
                <a:ea typeface="Calibri" panose="020F0502020204030204" pitchFamily="34" charset="0"/>
                <a:cs typeface="Calibri" panose="020F0502020204030204" pitchFamily="34" charset="0"/>
                <a:sym typeface="Calibri"/>
              </a:rPr>
              <a:t>Developing a Data Collection Plan and Storage</a:t>
            </a:r>
          </a:p>
          <a:p>
            <a:pPr defTabSz="914406">
              <a:lnSpc>
                <a:spcPts val="1742"/>
              </a:lnSpc>
              <a:spcBef>
                <a:spcPts val="544"/>
              </a:spcBef>
              <a:buClr>
                <a:srgbClr val="0F47F2"/>
              </a:buClr>
              <a:buSzPts val="1400"/>
            </a:pPr>
            <a:r>
              <a:rPr lang="en-US" sz="1452" kern="1200"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rPr>
              <a:t>Implementation of a </a:t>
            </a:r>
            <a:r>
              <a:rPr lang="en-US" sz="1452" b="1" kern="1200"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rPr>
              <a:t>daily automated process</a:t>
            </a:r>
            <a:r>
              <a:rPr lang="en-US" sz="1452" kern="1200"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rPr>
              <a:t> to pull car listings from across the country, creating an up-to-date database for analysis purposes.</a:t>
            </a:r>
          </a:p>
          <a:p>
            <a:pPr marL="157614" indent="-157614" defTabSz="914406">
              <a:lnSpc>
                <a:spcPts val="1742"/>
              </a:lnSpc>
              <a:spcBef>
                <a:spcPts val="544"/>
              </a:spcBef>
              <a:buClr>
                <a:srgbClr val="E6EBF5"/>
              </a:buClr>
            </a:pPr>
            <a:r>
              <a:rPr lang="en-US" sz="1600" b="1" kern="1200" dirty="0">
                <a:solidFill>
                  <a:srgbClr val="00B9FF"/>
                </a:solidFill>
                <a:latin typeface="Calibri" panose="020F0502020204030204" pitchFamily="34" charset="0"/>
                <a:ea typeface="Calibri" panose="020F0502020204030204" pitchFamily="34" charset="0"/>
                <a:cs typeface="Calibri" panose="020F0502020204030204" pitchFamily="34" charset="0"/>
                <a:sym typeface="Calibri"/>
              </a:rPr>
              <a:t>Designing a graphical user interface (GUI)</a:t>
            </a:r>
          </a:p>
          <a:p>
            <a:pPr defTabSz="914406">
              <a:lnSpc>
                <a:spcPts val="1742"/>
              </a:lnSpc>
              <a:spcBef>
                <a:spcPts val="544"/>
              </a:spcBef>
              <a:buClr>
                <a:srgbClr val="0F47F2"/>
              </a:buClr>
              <a:buSzPts val="1400"/>
            </a:pPr>
            <a:r>
              <a:rPr lang="en-US" sz="1452" kern="1200" dirty="0">
                <a:solidFill>
                  <a:srgbClr val="444444"/>
                </a:solidFill>
                <a:latin typeface="Calibri" panose="020F0502020204030204" pitchFamily="34" charset="0"/>
                <a:ea typeface="Calibri" panose="020F0502020204030204" pitchFamily="34" charset="0"/>
                <a:cs typeface="Calibri" panose="020F0502020204030204" pitchFamily="34" charset="0"/>
              </a:rPr>
              <a:t>Development of </a:t>
            </a:r>
            <a:r>
              <a:rPr lang="en-US" sz="1452" b="1" kern="1200" dirty="0">
                <a:solidFill>
                  <a:srgbClr val="444444"/>
                </a:solidFill>
                <a:latin typeface="Calibri" panose="020F0502020204030204" pitchFamily="34" charset="0"/>
                <a:ea typeface="Calibri" panose="020F0502020204030204" pitchFamily="34" charset="0"/>
                <a:cs typeface="Calibri" panose="020F0502020204030204" pitchFamily="34" charset="0"/>
              </a:rPr>
              <a:t>a user-friendly GUI </a:t>
            </a:r>
            <a:r>
              <a:rPr lang="en-US" sz="1452" kern="1200" dirty="0">
                <a:solidFill>
                  <a:srgbClr val="444444"/>
                </a:solidFill>
                <a:latin typeface="Calibri" panose="020F0502020204030204" pitchFamily="34" charset="0"/>
                <a:ea typeface="Calibri" panose="020F0502020204030204" pitchFamily="34" charset="0"/>
                <a:cs typeface="Calibri" panose="020F0502020204030204" pitchFamily="34" charset="0"/>
              </a:rPr>
              <a:t>that allows the client to effortlessly select specific car brands/models and collect data on demand.</a:t>
            </a:r>
          </a:p>
          <a:p>
            <a:pPr marL="157614" indent="-157614" defTabSz="914406">
              <a:lnSpc>
                <a:spcPts val="1742"/>
              </a:lnSpc>
              <a:spcBef>
                <a:spcPts val="544"/>
              </a:spcBef>
              <a:buClr>
                <a:srgbClr val="E6EBF5"/>
              </a:buClr>
            </a:pPr>
            <a:r>
              <a:rPr lang="en-US" sz="1600" b="1" kern="1200" dirty="0">
                <a:solidFill>
                  <a:srgbClr val="00B9FF"/>
                </a:solidFill>
                <a:latin typeface="Calibri" panose="020F0502020204030204" pitchFamily="34" charset="0"/>
                <a:ea typeface="Calibri" panose="020F0502020204030204" pitchFamily="34" charset="0"/>
                <a:cs typeface="Calibri" panose="020F0502020204030204" pitchFamily="34" charset="0"/>
                <a:sym typeface="Calibri"/>
              </a:rPr>
              <a:t>Cleaning and preprocessing the data</a:t>
            </a:r>
            <a:endParaRPr lang="en-US" sz="1600" b="1" kern="1200" dirty="0">
              <a:solidFill>
                <a:srgbClr val="00B9FF"/>
              </a:solidFill>
              <a:latin typeface="Calibri" panose="020F0502020204030204" pitchFamily="34" charset="0"/>
              <a:ea typeface="Calibri" panose="020F0502020204030204" pitchFamily="34" charset="0"/>
              <a:cs typeface="Calibri" panose="020F0502020204030204" pitchFamily="34" charset="0"/>
            </a:endParaRPr>
          </a:p>
          <a:p>
            <a:pPr defTabSz="914406">
              <a:lnSpc>
                <a:spcPts val="1742"/>
              </a:lnSpc>
              <a:spcBef>
                <a:spcPts val="544"/>
              </a:spcBef>
              <a:buClr>
                <a:srgbClr val="0F47F2"/>
              </a:buClr>
              <a:buSzPts val="1400"/>
            </a:pPr>
            <a:r>
              <a:rPr lang="en-US" sz="1452" kern="1200"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rPr>
              <a:t>Built of </a:t>
            </a:r>
            <a:r>
              <a:rPr lang="en-US" sz="1452" b="1" kern="1200"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rPr>
              <a:t>robust cleaning and preprocessing techniques </a:t>
            </a:r>
            <a:r>
              <a:rPr lang="en-US" sz="1452" kern="1200" dirty="0">
                <a:solidFill>
                  <a:srgbClr val="444444"/>
                </a:solidFill>
                <a:latin typeface="Calibri" panose="020F0502020204030204" pitchFamily="34" charset="0"/>
                <a:ea typeface="Calibri" panose="020F0502020204030204" pitchFamily="34" charset="0"/>
                <a:cs typeface="Calibri" panose="020F0502020204030204" pitchFamily="34" charset="0"/>
                <a:sym typeface="Calibri"/>
              </a:rPr>
              <a:t>to enhance data quality and usability, including removing duplicates, correcting inconsistencies, and standardizing data formats.</a:t>
            </a:r>
          </a:p>
          <a:p>
            <a:pPr marL="157614" indent="-157614" defTabSz="914406">
              <a:lnSpc>
                <a:spcPts val="1742"/>
              </a:lnSpc>
              <a:buClrTx/>
            </a:pPr>
            <a:endParaRPr lang="en-US" sz="1633" kern="1200" dirty="0">
              <a:solidFill>
                <a:srgbClr val="444444"/>
              </a:solidFill>
              <a:latin typeface="Calibri" panose="020F0502020204030204" pitchFamily="34" charset="0"/>
              <a:ea typeface="Calibri" panose="020F0502020204030204" pitchFamily="34" charset="0"/>
              <a:cs typeface="Calibri" panose="020F0502020204030204" pitchFamily="34" charset="0"/>
            </a:endParaRPr>
          </a:p>
        </p:txBody>
      </p:sp>
      <p:grpSp>
        <p:nvGrpSpPr>
          <p:cNvPr id="141" name="Group 140">
            <a:extLst>
              <a:ext uri="{FF2B5EF4-FFF2-40B4-BE49-F238E27FC236}">
                <a16:creationId xmlns:a16="http://schemas.microsoft.com/office/drawing/2014/main" id="{B7DC795B-D0F1-1AA2-2393-D9E74965906E}"/>
              </a:ext>
            </a:extLst>
          </p:cNvPr>
          <p:cNvGrpSpPr/>
          <p:nvPr/>
        </p:nvGrpSpPr>
        <p:grpSpPr>
          <a:xfrm>
            <a:off x="7964296" y="3304655"/>
            <a:ext cx="3966553" cy="3040985"/>
            <a:chOff x="4662343" y="2693866"/>
            <a:chExt cx="4610513" cy="3534681"/>
          </a:xfrm>
        </p:grpSpPr>
        <p:sp>
          <p:nvSpPr>
            <p:cNvPr id="142" name="Freeform: Shape 141">
              <a:extLst>
                <a:ext uri="{FF2B5EF4-FFF2-40B4-BE49-F238E27FC236}">
                  <a16:creationId xmlns:a16="http://schemas.microsoft.com/office/drawing/2014/main" id="{94EEFE0D-C9A1-2441-93CB-02C05551B254}"/>
                </a:ext>
              </a:extLst>
            </p:cNvPr>
            <p:cNvSpPr/>
            <p:nvPr/>
          </p:nvSpPr>
          <p:spPr>
            <a:xfrm>
              <a:off x="4662343" y="2693866"/>
              <a:ext cx="4610513" cy="2788869"/>
            </a:xfrm>
            <a:custGeom>
              <a:avLst/>
              <a:gdLst>
                <a:gd name="connsiteX0" fmla="*/ 129502 w 4610513"/>
                <a:gd name="connsiteY0" fmla="*/ 0 h 2788869"/>
                <a:gd name="connsiteX1" fmla="*/ 4481011 w 4610513"/>
                <a:gd name="connsiteY1" fmla="*/ 0 h 2788869"/>
                <a:gd name="connsiteX2" fmla="*/ 4610514 w 4610513"/>
                <a:gd name="connsiteY2" fmla="*/ 129502 h 2788869"/>
                <a:gd name="connsiteX3" fmla="*/ 4610514 w 4610513"/>
                <a:gd name="connsiteY3" fmla="*/ 2659367 h 2788869"/>
                <a:gd name="connsiteX4" fmla="*/ 4481011 w 4610513"/>
                <a:gd name="connsiteY4" fmla="*/ 2788870 h 2788869"/>
                <a:gd name="connsiteX5" fmla="*/ 129502 w 4610513"/>
                <a:gd name="connsiteY5" fmla="*/ 2788870 h 2788869"/>
                <a:gd name="connsiteX6" fmla="*/ 0 w 4610513"/>
                <a:gd name="connsiteY6" fmla="*/ 2659367 h 2788869"/>
                <a:gd name="connsiteX7" fmla="*/ 0 w 4610513"/>
                <a:gd name="connsiteY7" fmla="*/ 129502 h 2788869"/>
                <a:gd name="connsiteX8" fmla="*/ 129502 w 4610513"/>
                <a:gd name="connsiteY8" fmla="*/ 0 h 278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513" h="2788869">
                  <a:moveTo>
                    <a:pt x="129502" y="0"/>
                  </a:moveTo>
                  <a:lnTo>
                    <a:pt x="4481011" y="0"/>
                  </a:lnTo>
                  <a:cubicBezTo>
                    <a:pt x="4552494" y="0"/>
                    <a:pt x="4610514" y="58020"/>
                    <a:pt x="4610514" y="129502"/>
                  </a:cubicBezTo>
                  <a:lnTo>
                    <a:pt x="4610514" y="2659367"/>
                  </a:lnTo>
                  <a:cubicBezTo>
                    <a:pt x="4610514" y="2730850"/>
                    <a:pt x="4552467" y="2788870"/>
                    <a:pt x="4481011" y="2788870"/>
                  </a:cubicBezTo>
                  <a:lnTo>
                    <a:pt x="129502" y="2788870"/>
                  </a:lnTo>
                  <a:cubicBezTo>
                    <a:pt x="58020" y="2788870"/>
                    <a:pt x="0" y="2730850"/>
                    <a:pt x="0" y="2659367"/>
                  </a:cubicBezTo>
                  <a:lnTo>
                    <a:pt x="0" y="129502"/>
                  </a:lnTo>
                  <a:cubicBezTo>
                    <a:pt x="0" y="58020"/>
                    <a:pt x="58020" y="0"/>
                    <a:pt x="129502" y="0"/>
                  </a:cubicBezTo>
                  <a:close/>
                </a:path>
              </a:pathLst>
            </a:custGeom>
            <a:solidFill>
              <a:srgbClr val="000000"/>
            </a:solidFill>
            <a:ln w="2742" cap="flat">
              <a:noFill/>
              <a:prstDash val="solid"/>
              <a:miter/>
            </a:ln>
          </p:spPr>
          <p:txBody>
            <a:bodyPr rtlCol="0" anchor="ctr"/>
            <a:lstStyle/>
            <a:p>
              <a:pPr defTabSz="914406">
                <a:buClrTx/>
              </a:pPr>
              <a:endParaRPr lang="en-US" sz="1633" kern="1200">
                <a:solidFill>
                  <a:srgbClr val="444444"/>
                </a:solidFill>
                <a:ea typeface="+mn-ea"/>
              </a:endParaRPr>
            </a:p>
          </p:txBody>
        </p:sp>
        <p:grpSp>
          <p:nvGrpSpPr>
            <p:cNvPr id="143" name="Graphic 2">
              <a:extLst>
                <a:ext uri="{FF2B5EF4-FFF2-40B4-BE49-F238E27FC236}">
                  <a16:creationId xmlns:a16="http://schemas.microsoft.com/office/drawing/2014/main" id="{57B97A73-B410-9EB5-B988-01688F68DEAC}"/>
                </a:ext>
              </a:extLst>
            </p:cNvPr>
            <p:cNvGrpSpPr/>
            <p:nvPr/>
          </p:nvGrpSpPr>
          <p:grpSpPr>
            <a:xfrm>
              <a:off x="6249770" y="5482791"/>
              <a:ext cx="1435672" cy="745756"/>
              <a:chOff x="6249770" y="5482791"/>
              <a:chExt cx="1435672" cy="745756"/>
            </a:xfrm>
          </p:grpSpPr>
          <p:sp>
            <p:nvSpPr>
              <p:cNvPr id="145" name="Freeform: Shape 144">
                <a:extLst>
                  <a:ext uri="{FF2B5EF4-FFF2-40B4-BE49-F238E27FC236}">
                    <a16:creationId xmlns:a16="http://schemas.microsoft.com/office/drawing/2014/main" id="{44786122-2120-6E6A-72BE-D6D0E97D5508}"/>
                  </a:ext>
                </a:extLst>
              </p:cNvPr>
              <p:cNvSpPr/>
              <p:nvPr/>
            </p:nvSpPr>
            <p:spPr>
              <a:xfrm>
                <a:off x="6249770" y="5482791"/>
                <a:ext cx="1435604" cy="744495"/>
              </a:xfrm>
              <a:custGeom>
                <a:avLst/>
                <a:gdLst>
                  <a:gd name="connsiteX0" fmla="*/ 1435605 w 1435604"/>
                  <a:gd name="connsiteY0" fmla="*/ 703449 h 744495"/>
                  <a:gd name="connsiteX1" fmla="*/ 1345422 w 1435604"/>
                  <a:gd name="connsiteY1" fmla="*/ 643619 h 744495"/>
                  <a:gd name="connsiteX2" fmla="*/ 1221897 w 1435604"/>
                  <a:gd name="connsiteY2" fmla="*/ 529828 h 744495"/>
                  <a:gd name="connsiteX3" fmla="*/ 1144464 w 1435604"/>
                  <a:gd name="connsiteY3" fmla="*/ 0 h 744495"/>
                  <a:gd name="connsiteX4" fmla="*/ 291141 w 1435604"/>
                  <a:gd name="connsiteY4" fmla="*/ 0 h 744495"/>
                  <a:gd name="connsiteX5" fmla="*/ 213681 w 1435604"/>
                  <a:gd name="connsiteY5" fmla="*/ 529828 h 744495"/>
                  <a:gd name="connsiteX6" fmla="*/ 90183 w 1435604"/>
                  <a:gd name="connsiteY6" fmla="*/ 643619 h 744495"/>
                  <a:gd name="connsiteX7" fmla="*/ 0 w 1435604"/>
                  <a:gd name="connsiteY7" fmla="*/ 703449 h 744495"/>
                  <a:gd name="connsiteX8" fmla="*/ 0 w 1435604"/>
                  <a:gd name="connsiteY8" fmla="*/ 724781 h 744495"/>
                  <a:gd name="connsiteX9" fmla="*/ 224703 w 1435604"/>
                  <a:gd name="connsiteY9" fmla="*/ 744496 h 744495"/>
                  <a:gd name="connsiteX10" fmla="*/ 1210874 w 1435604"/>
                  <a:gd name="connsiteY10" fmla="*/ 744496 h 744495"/>
                  <a:gd name="connsiteX11" fmla="*/ 1435605 w 1435604"/>
                  <a:gd name="connsiteY11" fmla="*/ 724781 h 744495"/>
                  <a:gd name="connsiteX12" fmla="*/ 1435605 w 1435604"/>
                  <a:gd name="connsiteY12" fmla="*/ 703449 h 74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5604" h="744495">
                    <a:moveTo>
                      <a:pt x="1435605" y="703449"/>
                    </a:moveTo>
                    <a:cubicBezTo>
                      <a:pt x="1435605" y="703449"/>
                      <a:pt x="1425432" y="663526"/>
                      <a:pt x="1345422" y="643619"/>
                    </a:cubicBezTo>
                    <a:cubicBezTo>
                      <a:pt x="1265440" y="623712"/>
                      <a:pt x="1238376" y="600927"/>
                      <a:pt x="1221897" y="529828"/>
                    </a:cubicBezTo>
                    <a:cubicBezTo>
                      <a:pt x="1205445" y="458702"/>
                      <a:pt x="1144464" y="0"/>
                      <a:pt x="1144464" y="0"/>
                    </a:cubicBezTo>
                    <a:lnTo>
                      <a:pt x="291141" y="0"/>
                    </a:lnTo>
                    <a:cubicBezTo>
                      <a:pt x="291141" y="0"/>
                      <a:pt x="230160" y="458702"/>
                      <a:pt x="213681" y="529828"/>
                    </a:cubicBezTo>
                    <a:cubicBezTo>
                      <a:pt x="197229" y="600954"/>
                      <a:pt x="170166" y="623712"/>
                      <a:pt x="90183" y="643619"/>
                    </a:cubicBezTo>
                    <a:cubicBezTo>
                      <a:pt x="10200" y="663526"/>
                      <a:pt x="0" y="703449"/>
                      <a:pt x="0" y="703449"/>
                    </a:cubicBezTo>
                    <a:lnTo>
                      <a:pt x="0" y="724781"/>
                    </a:lnTo>
                    <a:cubicBezTo>
                      <a:pt x="0" y="724781"/>
                      <a:pt x="26542" y="744496"/>
                      <a:pt x="224703" y="744496"/>
                    </a:cubicBezTo>
                    <a:lnTo>
                      <a:pt x="1210874" y="744496"/>
                    </a:lnTo>
                    <a:cubicBezTo>
                      <a:pt x="1409036" y="744496"/>
                      <a:pt x="1435605" y="724781"/>
                      <a:pt x="1435605" y="724781"/>
                    </a:cubicBezTo>
                    <a:lnTo>
                      <a:pt x="1435605" y="703449"/>
                    </a:lnTo>
                    <a:close/>
                  </a:path>
                </a:pathLst>
              </a:custGeom>
              <a:gradFill>
                <a:gsLst>
                  <a:gs pos="0">
                    <a:srgbClr val="F3F4F4"/>
                  </a:gs>
                  <a:gs pos="11000">
                    <a:srgbClr val="CCCDCF"/>
                  </a:gs>
                  <a:gs pos="19000">
                    <a:srgbClr val="B3B5B8"/>
                  </a:gs>
                  <a:gs pos="24000">
                    <a:srgbClr val="ABADB0"/>
                  </a:gs>
                  <a:gs pos="35000">
                    <a:srgbClr val="E6E7E8"/>
                  </a:gs>
                  <a:gs pos="61000">
                    <a:srgbClr val="C7C8CA"/>
                  </a:gs>
                  <a:gs pos="99000">
                    <a:srgbClr val="8A8C8E"/>
                  </a:gs>
                </a:gsLst>
                <a:lin ang="16200000" scaled="1"/>
              </a:gradFill>
              <a:ln w="2742" cap="flat">
                <a:noFill/>
                <a:prstDash val="solid"/>
                <a:miter/>
              </a:ln>
            </p:spPr>
            <p:txBody>
              <a:bodyPr rtlCol="0" anchor="ctr"/>
              <a:lstStyle/>
              <a:p>
                <a:pPr defTabSz="914406">
                  <a:buClrTx/>
                </a:pPr>
                <a:endParaRPr lang="en-US" sz="1633" kern="1200">
                  <a:solidFill>
                    <a:srgbClr val="444444"/>
                  </a:solidFill>
                  <a:ea typeface="+mn-ea"/>
                </a:endParaRPr>
              </a:p>
            </p:txBody>
          </p:sp>
          <p:sp>
            <p:nvSpPr>
              <p:cNvPr id="146" name="Freeform: Shape 145">
                <a:extLst>
                  <a:ext uri="{FF2B5EF4-FFF2-40B4-BE49-F238E27FC236}">
                    <a16:creationId xmlns:a16="http://schemas.microsoft.com/office/drawing/2014/main" id="{6AB1E2A6-FB3D-B9B0-BAE1-E939D143A384}"/>
                  </a:ext>
                </a:extLst>
              </p:cNvPr>
              <p:cNvSpPr/>
              <p:nvPr/>
            </p:nvSpPr>
            <p:spPr>
              <a:xfrm>
                <a:off x="6249804" y="6185444"/>
                <a:ext cx="1435637" cy="43103"/>
              </a:xfrm>
              <a:custGeom>
                <a:avLst/>
                <a:gdLst>
                  <a:gd name="connsiteX0" fmla="*/ 1435269 w 1435637"/>
                  <a:gd name="connsiteY0" fmla="*/ 0 h 43103"/>
                  <a:gd name="connsiteX1" fmla="*/ 1210867 w 1435637"/>
                  <a:gd name="connsiteY1" fmla="*/ 19358 h 43103"/>
                  <a:gd name="connsiteX2" fmla="*/ 224696 w 1435637"/>
                  <a:gd name="connsiteY2" fmla="*/ 19358 h 43103"/>
                  <a:gd name="connsiteX3" fmla="*/ 322 w 1435637"/>
                  <a:gd name="connsiteY3" fmla="*/ 0 h 43103"/>
                  <a:gd name="connsiteX4" fmla="*/ 20 w 1435637"/>
                  <a:gd name="connsiteY4" fmla="*/ 2029 h 43103"/>
                  <a:gd name="connsiteX5" fmla="*/ 20 w 1435637"/>
                  <a:gd name="connsiteY5" fmla="*/ 23389 h 43103"/>
                  <a:gd name="connsiteX6" fmla="*/ 224723 w 1435637"/>
                  <a:gd name="connsiteY6" fmla="*/ 43103 h 43103"/>
                  <a:gd name="connsiteX7" fmla="*/ 1210895 w 1435637"/>
                  <a:gd name="connsiteY7" fmla="*/ 43103 h 43103"/>
                  <a:gd name="connsiteX8" fmla="*/ 1435625 w 1435637"/>
                  <a:gd name="connsiteY8" fmla="*/ 23389 h 43103"/>
                  <a:gd name="connsiteX9" fmla="*/ 1435625 w 1435637"/>
                  <a:gd name="connsiteY9" fmla="*/ 2029 h 43103"/>
                  <a:gd name="connsiteX10" fmla="*/ 1435297 w 1435637"/>
                  <a:gd name="connsiteY10" fmla="*/ 0 h 4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5637" h="43103">
                    <a:moveTo>
                      <a:pt x="1435269" y="0"/>
                    </a:moveTo>
                    <a:cubicBezTo>
                      <a:pt x="1432363" y="2660"/>
                      <a:pt x="1393235" y="19358"/>
                      <a:pt x="1210867" y="19358"/>
                    </a:cubicBezTo>
                    <a:lnTo>
                      <a:pt x="224696" y="19358"/>
                    </a:lnTo>
                    <a:cubicBezTo>
                      <a:pt x="42329" y="19358"/>
                      <a:pt x="3201" y="2660"/>
                      <a:pt x="322" y="0"/>
                    </a:cubicBezTo>
                    <a:cubicBezTo>
                      <a:pt x="-117" y="1316"/>
                      <a:pt x="20" y="2029"/>
                      <a:pt x="20" y="2029"/>
                    </a:cubicBezTo>
                    <a:lnTo>
                      <a:pt x="20" y="23389"/>
                    </a:lnTo>
                    <a:cubicBezTo>
                      <a:pt x="20" y="23389"/>
                      <a:pt x="26563" y="43103"/>
                      <a:pt x="224723" y="43103"/>
                    </a:cubicBezTo>
                    <a:lnTo>
                      <a:pt x="1210895" y="43103"/>
                    </a:lnTo>
                    <a:cubicBezTo>
                      <a:pt x="1409056" y="43103"/>
                      <a:pt x="1435625" y="23389"/>
                      <a:pt x="1435625" y="23389"/>
                    </a:cubicBezTo>
                    <a:lnTo>
                      <a:pt x="1435625" y="2029"/>
                    </a:lnTo>
                    <a:cubicBezTo>
                      <a:pt x="1435625" y="2029"/>
                      <a:pt x="1435735" y="1316"/>
                      <a:pt x="1435297" y="0"/>
                    </a:cubicBezTo>
                    <a:close/>
                  </a:path>
                </a:pathLst>
              </a:custGeom>
              <a:gradFill>
                <a:gsLst>
                  <a:gs pos="19000">
                    <a:srgbClr val="ABADB0"/>
                  </a:gs>
                  <a:gs pos="99000">
                    <a:srgbClr val="8A8C8E"/>
                  </a:gs>
                </a:gsLst>
                <a:lin ang="16799923" scaled="1"/>
              </a:gradFill>
              <a:ln w="2742" cap="flat">
                <a:noFill/>
                <a:prstDash val="solid"/>
                <a:miter/>
              </a:ln>
            </p:spPr>
            <p:txBody>
              <a:bodyPr rtlCol="0" anchor="ctr"/>
              <a:lstStyle/>
              <a:p>
                <a:pPr defTabSz="914406">
                  <a:buClrTx/>
                </a:pPr>
                <a:endParaRPr lang="en-US" sz="1633" kern="1200">
                  <a:solidFill>
                    <a:srgbClr val="444444"/>
                  </a:solidFill>
                  <a:ea typeface="+mn-ea"/>
                </a:endParaRPr>
              </a:p>
            </p:txBody>
          </p:sp>
        </p:grpSp>
        <p:sp>
          <p:nvSpPr>
            <p:cNvPr id="144" name="Freeform: Shape 143">
              <a:extLst>
                <a:ext uri="{FF2B5EF4-FFF2-40B4-BE49-F238E27FC236}">
                  <a16:creationId xmlns:a16="http://schemas.microsoft.com/office/drawing/2014/main" id="{8BCD543B-24C9-ECF4-C099-DB130C2517E7}"/>
                </a:ext>
              </a:extLst>
            </p:cNvPr>
            <p:cNvSpPr/>
            <p:nvPr/>
          </p:nvSpPr>
          <p:spPr>
            <a:xfrm>
              <a:off x="6946363" y="2746594"/>
              <a:ext cx="42445" cy="42445"/>
            </a:xfrm>
            <a:custGeom>
              <a:avLst/>
              <a:gdLst>
                <a:gd name="connsiteX0" fmla="*/ 42445 w 42445"/>
                <a:gd name="connsiteY0" fmla="*/ 21223 h 42445"/>
                <a:gd name="connsiteX1" fmla="*/ 21250 w 42445"/>
                <a:gd name="connsiteY1" fmla="*/ 42445 h 42445"/>
                <a:gd name="connsiteX2" fmla="*/ 0 w 42445"/>
                <a:gd name="connsiteY2" fmla="*/ 21223 h 42445"/>
                <a:gd name="connsiteX3" fmla="*/ 21250 w 42445"/>
                <a:gd name="connsiteY3" fmla="*/ 0 h 42445"/>
                <a:gd name="connsiteX4" fmla="*/ 42445 w 42445"/>
                <a:gd name="connsiteY4" fmla="*/ 21223 h 4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45" h="42445">
                  <a:moveTo>
                    <a:pt x="42445" y="21223"/>
                  </a:moveTo>
                  <a:cubicBezTo>
                    <a:pt x="42445" y="32958"/>
                    <a:pt x="32958" y="42445"/>
                    <a:pt x="21250" y="42445"/>
                  </a:cubicBezTo>
                  <a:cubicBezTo>
                    <a:pt x="9542" y="42445"/>
                    <a:pt x="0" y="32958"/>
                    <a:pt x="0" y="21223"/>
                  </a:cubicBezTo>
                  <a:cubicBezTo>
                    <a:pt x="0" y="9487"/>
                    <a:pt x="9488" y="0"/>
                    <a:pt x="21250" y="0"/>
                  </a:cubicBezTo>
                  <a:cubicBezTo>
                    <a:pt x="33013" y="0"/>
                    <a:pt x="42445" y="9515"/>
                    <a:pt x="42445" y="21223"/>
                  </a:cubicBezTo>
                  <a:close/>
                </a:path>
              </a:pathLst>
            </a:custGeom>
            <a:solidFill>
              <a:srgbClr val="424143"/>
            </a:solidFill>
            <a:ln w="2742" cap="flat">
              <a:noFill/>
              <a:prstDash val="solid"/>
              <a:miter/>
            </a:ln>
          </p:spPr>
          <p:txBody>
            <a:bodyPr rtlCol="0" anchor="ctr"/>
            <a:lstStyle/>
            <a:p>
              <a:pPr defTabSz="914406">
                <a:buClrTx/>
              </a:pPr>
              <a:endParaRPr lang="en-US" sz="1633" kern="1200">
                <a:solidFill>
                  <a:srgbClr val="444444"/>
                </a:solidFill>
                <a:ea typeface="+mn-ea"/>
              </a:endParaRPr>
            </a:p>
          </p:txBody>
        </p:sp>
      </p:grpSp>
      <p:sp>
        <p:nvSpPr>
          <p:cNvPr id="148" name="Google Shape;831;p25">
            <a:extLst>
              <a:ext uri="{FF2B5EF4-FFF2-40B4-BE49-F238E27FC236}">
                <a16:creationId xmlns:a16="http://schemas.microsoft.com/office/drawing/2014/main" id="{B86D9385-8DFA-86BD-7E83-90A29BF3CE8E}"/>
              </a:ext>
            </a:extLst>
          </p:cNvPr>
          <p:cNvSpPr>
            <a:spLocks/>
          </p:cNvSpPr>
          <p:nvPr/>
        </p:nvSpPr>
        <p:spPr>
          <a:xfrm>
            <a:off x="10612743" y="1932656"/>
            <a:ext cx="1419447" cy="1288952"/>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914406">
              <a:lnSpc>
                <a:spcPct val="130769"/>
              </a:lnSpc>
              <a:buClr>
                <a:srgbClr val="00B9FF"/>
              </a:buClr>
              <a:buSzPts val="1300"/>
            </a:pPr>
            <a:endParaRPr sz="1633" kern="1200" dirty="0">
              <a:solidFill>
                <a:srgbClr val="444444"/>
              </a:solidFill>
              <a:ea typeface="+mn-ea"/>
            </a:endParaRPr>
          </a:p>
        </p:txBody>
      </p:sp>
      <p:sp>
        <p:nvSpPr>
          <p:cNvPr id="149" name="Rectangle 148">
            <a:extLst>
              <a:ext uri="{FF2B5EF4-FFF2-40B4-BE49-F238E27FC236}">
                <a16:creationId xmlns:a16="http://schemas.microsoft.com/office/drawing/2014/main" id="{2BCA8F3D-E6A4-A150-B6CD-217C61FABDC3}"/>
              </a:ext>
            </a:extLst>
          </p:cNvPr>
          <p:cNvSpPr>
            <a:spLocks/>
          </p:cNvSpPr>
          <p:nvPr/>
        </p:nvSpPr>
        <p:spPr>
          <a:xfrm>
            <a:off x="10735920" y="2002480"/>
            <a:ext cx="1173096" cy="1065250"/>
          </a:xfrm>
          <a:prstGeom prst="rect">
            <a:avLst/>
          </a:prstGeom>
          <a: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t="-1326" b="-132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6">
              <a:buClrTx/>
            </a:pPr>
            <a:endParaRPr lang="en-AE" sz="1633" kern="1200">
              <a:solidFill>
                <a:srgbClr val="FFFFFF"/>
              </a:solidFill>
              <a:latin typeface="Arial"/>
            </a:endParaRPr>
          </a:p>
        </p:txBody>
      </p:sp>
      <p:grpSp>
        <p:nvGrpSpPr>
          <p:cNvPr id="150" name="Group 149">
            <a:extLst>
              <a:ext uri="{FF2B5EF4-FFF2-40B4-BE49-F238E27FC236}">
                <a16:creationId xmlns:a16="http://schemas.microsoft.com/office/drawing/2014/main" id="{27FDA024-E37F-5419-35C7-F6C5DD8524D6}"/>
              </a:ext>
            </a:extLst>
          </p:cNvPr>
          <p:cNvGrpSpPr/>
          <p:nvPr/>
        </p:nvGrpSpPr>
        <p:grpSpPr>
          <a:xfrm>
            <a:off x="10068662" y="1692243"/>
            <a:ext cx="703178" cy="703178"/>
            <a:chOff x="4949498" y="6202259"/>
            <a:chExt cx="503992" cy="503992"/>
          </a:xfrm>
        </p:grpSpPr>
        <p:sp>
          <p:nvSpPr>
            <p:cNvPr id="151" name="Google Shape;558;p30">
              <a:extLst>
                <a:ext uri="{FF2B5EF4-FFF2-40B4-BE49-F238E27FC236}">
                  <a16:creationId xmlns:a16="http://schemas.microsoft.com/office/drawing/2014/main" id="{23575E16-6887-7F42-E087-9B0CDFCC5971}"/>
                </a:ext>
              </a:extLst>
            </p:cNvPr>
            <p:cNvSpPr/>
            <p:nvPr/>
          </p:nvSpPr>
          <p:spPr>
            <a:xfrm>
              <a:off x="4949498" y="6202259"/>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914406">
                <a:buClrTx/>
              </a:pPr>
              <a:endParaRPr sz="1452" kern="1200" dirty="0">
                <a:solidFill>
                  <a:srgbClr val="FFFFFF"/>
                </a:solidFill>
                <a:ea typeface="Calibri"/>
                <a:cs typeface="Calibri"/>
                <a:sym typeface="Calibri"/>
              </a:endParaRPr>
            </a:p>
          </p:txBody>
        </p:sp>
        <p:pic>
          <p:nvPicPr>
            <p:cNvPr id="152" name="Graphic 151">
              <a:extLst>
                <a:ext uri="{FF2B5EF4-FFF2-40B4-BE49-F238E27FC236}">
                  <a16:creationId xmlns:a16="http://schemas.microsoft.com/office/drawing/2014/main" id="{867280D5-F53A-3C87-BC68-6DC2B4317CB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47634" y="6329021"/>
              <a:ext cx="307720" cy="250469"/>
            </a:xfrm>
            <a:prstGeom prst="rect">
              <a:avLst/>
            </a:prstGeom>
          </p:spPr>
        </p:pic>
      </p:grpSp>
      <p:sp>
        <p:nvSpPr>
          <p:cNvPr id="153" name="Google Shape;545;p30">
            <a:extLst>
              <a:ext uri="{FF2B5EF4-FFF2-40B4-BE49-F238E27FC236}">
                <a16:creationId xmlns:a16="http://schemas.microsoft.com/office/drawing/2014/main" id="{8662C1D1-245B-E4D7-E5BD-D6EE8CF01945}"/>
              </a:ext>
            </a:extLst>
          </p:cNvPr>
          <p:cNvSpPr>
            <a:spLocks/>
          </p:cNvSpPr>
          <p:nvPr/>
        </p:nvSpPr>
        <p:spPr>
          <a:xfrm>
            <a:off x="519490" y="1402349"/>
            <a:ext cx="5284153" cy="71685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r>
              <a:rPr lang="en-US" sz="1800" b="1" kern="1200" dirty="0">
                <a:solidFill>
                  <a:srgbClr val="FFFFFF"/>
                </a:solidFill>
                <a:latin typeface="Calibri" panose="020F0502020204030204" pitchFamily="34" charset="0"/>
                <a:cs typeface="Calibri" panose="020F0502020204030204" pitchFamily="34" charset="0"/>
              </a:rPr>
              <a:t>Streamlined</a:t>
            </a:r>
            <a:r>
              <a:rPr lang="fr-FR" sz="1800" b="1" kern="1200" dirty="0">
                <a:solidFill>
                  <a:srgbClr val="FFFFFF"/>
                </a:solidFill>
                <a:latin typeface="Calibri" panose="020F0502020204030204" pitchFamily="34" charset="0"/>
                <a:cs typeface="Calibri" panose="020F0502020204030204" pitchFamily="34" charset="0"/>
              </a:rPr>
              <a:t> Data </a:t>
            </a:r>
            <a:r>
              <a:rPr lang="en-US" sz="1800" b="1" kern="1200" dirty="0">
                <a:solidFill>
                  <a:srgbClr val="FFFFFF"/>
                </a:solidFill>
                <a:latin typeface="Calibri" panose="020F0502020204030204" pitchFamily="34" charset="0"/>
                <a:cs typeface="Calibri" panose="020F0502020204030204" pitchFamily="34" charset="0"/>
              </a:rPr>
              <a:t>Collection</a:t>
            </a:r>
            <a:r>
              <a:rPr lang="fr-FR" sz="1800" b="1" kern="1200" dirty="0">
                <a:solidFill>
                  <a:srgbClr val="FFFFFF"/>
                </a:solidFill>
                <a:latin typeface="Calibri" panose="020F0502020204030204" pitchFamily="34" charset="0"/>
                <a:cs typeface="Calibri" panose="020F0502020204030204" pitchFamily="34" charset="0"/>
              </a:rPr>
              <a:t> </a:t>
            </a:r>
            <a:r>
              <a:rPr lang="en-US" sz="1800" b="1" kern="1200" dirty="0">
                <a:solidFill>
                  <a:srgbClr val="FFFFFF"/>
                </a:solidFill>
                <a:latin typeface="Calibri" panose="020F0502020204030204" pitchFamily="34" charset="0"/>
                <a:cs typeface="Calibri" panose="020F0502020204030204" pitchFamily="34" charset="0"/>
              </a:rPr>
              <a:t>Methodology</a:t>
            </a:r>
          </a:p>
        </p:txBody>
      </p:sp>
      <p:sp>
        <p:nvSpPr>
          <p:cNvPr id="157" name="Arc 156">
            <a:extLst>
              <a:ext uri="{FF2B5EF4-FFF2-40B4-BE49-F238E27FC236}">
                <a16:creationId xmlns:a16="http://schemas.microsoft.com/office/drawing/2014/main" id="{515D8BFD-517F-79F2-EE94-49D766177446}"/>
              </a:ext>
            </a:extLst>
          </p:cNvPr>
          <p:cNvSpPr/>
          <p:nvPr/>
        </p:nvSpPr>
        <p:spPr>
          <a:xfrm>
            <a:off x="8921498" y="2395421"/>
            <a:ext cx="1687902" cy="1687902"/>
          </a:xfrm>
          <a:prstGeom prst="arc">
            <a:avLst/>
          </a:prstGeom>
          <a:ln w="1270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14406">
              <a:buClrTx/>
            </a:pPr>
            <a:endParaRPr lang="en-US" sz="1633" kern="1200">
              <a:solidFill>
                <a:srgbClr val="444444"/>
              </a:solidFill>
              <a:latin typeface="Arial"/>
            </a:endParaRPr>
          </a:p>
        </p:txBody>
      </p:sp>
      <p:sp>
        <p:nvSpPr>
          <p:cNvPr id="147" name="Rectangle 146">
            <a:extLst>
              <a:ext uri="{FF2B5EF4-FFF2-40B4-BE49-F238E27FC236}">
                <a16:creationId xmlns:a16="http://schemas.microsoft.com/office/drawing/2014/main" id="{3A76E099-87A0-DA3A-9ECD-7FD6967A9BAD}"/>
              </a:ext>
            </a:extLst>
          </p:cNvPr>
          <p:cNvSpPr>
            <a:spLocks/>
          </p:cNvSpPr>
          <p:nvPr/>
        </p:nvSpPr>
        <p:spPr>
          <a:xfrm>
            <a:off x="8163636" y="3530951"/>
            <a:ext cx="3543292" cy="1892846"/>
          </a:xfrm>
          <a:prstGeom prst="rect">
            <a:avLst/>
          </a:prstGeom>
          <a:blipFill dpi="0" rotWithShape="1">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l="-882" t="-6700" r="-6320" b="-50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6">
              <a:buClrTx/>
            </a:pPr>
            <a:endParaRPr lang="en-AE" sz="1633" kern="1200" dirty="0">
              <a:solidFill>
                <a:srgbClr val="FFFFFF"/>
              </a:solidFill>
              <a:latin typeface="Arial"/>
            </a:endParaRPr>
          </a:p>
        </p:txBody>
      </p:sp>
      <p:grpSp>
        <p:nvGrpSpPr>
          <p:cNvPr id="154" name="Group 153">
            <a:extLst>
              <a:ext uri="{FF2B5EF4-FFF2-40B4-BE49-F238E27FC236}">
                <a16:creationId xmlns:a16="http://schemas.microsoft.com/office/drawing/2014/main" id="{C2912C53-490B-265B-2621-1328EB647B07}"/>
              </a:ext>
            </a:extLst>
          </p:cNvPr>
          <p:cNvGrpSpPr/>
          <p:nvPr/>
        </p:nvGrpSpPr>
        <p:grpSpPr>
          <a:xfrm>
            <a:off x="7604820" y="2996768"/>
            <a:ext cx="703178" cy="703178"/>
            <a:chOff x="803725" y="4219935"/>
            <a:chExt cx="503992" cy="503992"/>
          </a:xfrm>
        </p:grpSpPr>
        <p:sp>
          <p:nvSpPr>
            <p:cNvPr id="155" name="Google Shape;554;p30">
              <a:extLst>
                <a:ext uri="{FF2B5EF4-FFF2-40B4-BE49-F238E27FC236}">
                  <a16:creationId xmlns:a16="http://schemas.microsoft.com/office/drawing/2014/main" id="{06756872-AE46-4F76-3767-69C4DF092A23}"/>
                </a:ext>
              </a:extLst>
            </p:cNvPr>
            <p:cNvSpPr/>
            <p:nvPr/>
          </p:nvSpPr>
          <p:spPr>
            <a:xfrm>
              <a:off x="803725" y="4219935"/>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914406">
                <a:buClrTx/>
              </a:pPr>
              <a:endParaRPr sz="1452" kern="1200">
                <a:solidFill>
                  <a:srgbClr val="FFFFFF"/>
                </a:solidFill>
                <a:ea typeface="Calibri"/>
                <a:cs typeface="Calibri"/>
                <a:sym typeface="Calibri"/>
              </a:endParaRPr>
            </a:p>
          </p:txBody>
        </p:sp>
        <p:pic>
          <p:nvPicPr>
            <p:cNvPr id="156" name="Graphic 155">
              <a:extLst>
                <a:ext uri="{FF2B5EF4-FFF2-40B4-BE49-F238E27FC236}">
                  <a16:creationId xmlns:a16="http://schemas.microsoft.com/office/drawing/2014/main" id="{5B5B165E-EDA5-4589-4508-36483C1EF9A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15849" y="4358082"/>
              <a:ext cx="279745" cy="227699"/>
            </a:xfrm>
            <a:prstGeom prst="rect">
              <a:avLst/>
            </a:prstGeom>
          </p:spPr>
        </p:pic>
      </p:grpSp>
    </p:spTree>
    <p:extLst>
      <p:ext uri="{BB962C8B-B14F-4D97-AF65-F5344CB8AC3E}">
        <p14:creationId xmlns:p14="http://schemas.microsoft.com/office/powerpoint/2010/main" val="32515184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7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154A77-BB7A-EB9C-8368-5516B5E49397}"/>
              </a:ext>
            </a:extLst>
          </p:cNvPr>
          <p:cNvGraphicFramePr>
            <a:graphicFrameLocks noChangeAspect="1"/>
          </p:cNvGraphicFramePr>
          <p:nvPr>
            <p:custDataLst>
              <p:tags r:id="rId1"/>
            </p:custDataLst>
            <p:extLst>
              <p:ext uri="{D42A27DB-BD31-4B8C-83A1-F6EECF244321}">
                <p14:modId xmlns:p14="http://schemas.microsoft.com/office/powerpoint/2010/main" val="279205344"/>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C2154A77-BB7A-EB9C-8368-5516B5E49397}"/>
                          </a:ext>
                        </a:extLst>
                      </p:cNvPr>
                      <p:cNvPicPr/>
                      <p:nvPr/>
                    </p:nvPicPr>
                    <p:blipFill>
                      <a:blip r:embed="rId5"/>
                      <a:stretch>
                        <a:fillRect/>
                      </a:stretch>
                    </p:blipFill>
                    <p:spPr>
                      <a:xfrm>
                        <a:off x="1441" y="1531"/>
                        <a:ext cx="1441" cy="1441"/>
                      </a:xfrm>
                      <a:prstGeom prst="rect">
                        <a:avLst/>
                      </a:prstGeom>
                    </p:spPr>
                  </p:pic>
                </p:oleObj>
              </mc:Fallback>
            </mc:AlternateContent>
          </a:graphicData>
        </a:graphic>
      </p:graphicFrame>
      <p:sp>
        <p:nvSpPr>
          <p:cNvPr id="11" name="Google Shape;831;p25">
            <a:extLst>
              <a:ext uri="{FF2B5EF4-FFF2-40B4-BE49-F238E27FC236}">
                <a16:creationId xmlns:a16="http://schemas.microsoft.com/office/drawing/2014/main" id="{99843458-48B9-F9D3-2171-14DDCC9F2E32}"/>
              </a:ext>
            </a:extLst>
          </p:cNvPr>
          <p:cNvSpPr>
            <a:spLocks/>
          </p:cNvSpPr>
          <p:nvPr/>
        </p:nvSpPr>
        <p:spPr>
          <a:xfrm>
            <a:off x="8035681" y="2096784"/>
            <a:ext cx="3654893" cy="423836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defRPr/>
            </a:pPr>
            <a:endParaRPr sz="1270" dirty="0"/>
          </a:p>
        </p:txBody>
      </p:sp>
      <p:sp>
        <p:nvSpPr>
          <p:cNvPr id="48" name="Google Shape;545;p30">
            <a:extLst>
              <a:ext uri="{FF2B5EF4-FFF2-40B4-BE49-F238E27FC236}">
                <a16:creationId xmlns:a16="http://schemas.microsoft.com/office/drawing/2014/main" id="{A91501ED-9DD9-C678-343D-27369F2039FC}"/>
              </a:ext>
            </a:extLst>
          </p:cNvPr>
          <p:cNvSpPr>
            <a:spLocks/>
          </p:cNvSpPr>
          <p:nvPr/>
        </p:nvSpPr>
        <p:spPr>
          <a:xfrm>
            <a:off x="8050250" y="1684944"/>
            <a:ext cx="3654797" cy="716854"/>
          </a:xfrm>
          <a:prstGeom prst="round2SameRect">
            <a:avLst/>
          </a:prstGeom>
          <a:gradFill flip="none" rotWithShape="1">
            <a:gsLst>
              <a:gs pos="16000">
                <a:srgbClr val="0F47F2">
                  <a:lumMod val="50000"/>
                </a:srgbClr>
              </a:gs>
              <a:gs pos="46000">
                <a:srgbClr val="0F47F2"/>
              </a:gs>
              <a:gs pos="79000">
                <a:srgbClr val="00B9FF"/>
              </a:gs>
            </a:gsLst>
            <a:lin ang="2700000" scaled="1"/>
            <a:tileRect/>
          </a:gradFill>
          <a:ln w="25400" cap="flat" cmpd="sng" algn="ctr">
            <a:noFill/>
            <a:prstDash val="solid"/>
          </a:ln>
          <a:effectLst/>
        </p:spPr>
        <p:txBody>
          <a:bodyPr lIns="0" tIns="0" rIns="0" bIns="0" rtlCol="0" anchor="ctr">
            <a:noAutofit/>
          </a:bodyPr>
          <a:lstStyle/>
          <a:p>
            <a:pPr algn="ctr" defTabSz="914406">
              <a:buClrTx/>
              <a:defRPr/>
            </a:pPr>
            <a:endParaRPr b="1" kern="1200">
              <a:solidFill>
                <a:srgbClr val="FFFFFF"/>
              </a:solidFill>
              <a:ea typeface="+mn-ea"/>
              <a:cs typeface="Calibri" panose="020F0502020204030204" pitchFamily="34" charset="0"/>
            </a:endParaRPr>
          </a:p>
        </p:txBody>
      </p:sp>
      <p:sp>
        <p:nvSpPr>
          <p:cNvPr id="12" name="Google Shape;831;p25">
            <a:extLst>
              <a:ext uri="{FF2B5EF4-FFF2-40B4-BE49-F238E27FC236}">
                <a16:creationId xmlns:a16="http://schemas.microsoft.com/office/drawing/2014/main" id="{45F75050-AFF6-96A7-9200-CE8416950749}"/>
              </a:ext>
            </a:extLst>
          </p:cNvPr>
          <p:cNvSpPr>
            <a:spLocks/>
          </p:cNvSpPr>
          <p:nvPr/>
        </p:nvSpPr>
        <p:spPr>
          <a:xfrm>
            <a:off x="4267701" y="2096784"/>
            <a:ext cx="3654893" cy="423836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defRPr/>
            </a:pPr>
            <a:endParaRPr sz="1452" dirty="0">
              <a:latin typeface="Calibri" panose="020F0502020204030204"/>
            </a:endParaRPr>
          </a:p>
        </p:txBody>
      </p:sp>
      <p:sp>
        <p:nvSpPr>
          <p:cNvPr id="44" name="Google Shape;545;p30">
            <a:extLst>
              <a:ext uri="{FF2B5EF4-FFF2-40B4-BE49-F238E27FC236}">
                <a16:creationId xmlns:a16="http://schemas.microsoft.com/office/drawing/2014/main" id="{9EEEC381-5FD6-7FD5-F294-A1B182933697}"/>
              </a:ext>
            </a:extLst>
          </p:cNvPr>
          <p:cNvSpPr>
            <a:spLocks/>
          </p:cNvSpPr>
          <p:nvPr/>
        </p:nvSpPr>
        <p:spPr>
          <a:xfrm>
            <a:off x="4282365" y="1684944"/>
            <a:ext cx="3654797" cy="716854"/>
          </a:xfrm>
          <a:prstGeom prst="round2SameRect">
            <a:avLst/>
          </a:prstGeom>
          <a:gradFill flip="none" rotWithShape="1">
            <a:gsLst>
              <a:gs pos="16000">
                <a:srgbClr val="0F47F2">
                  <a:lumMod val="50000"/>
                </a:srgbClr>
              </a:gs>
              <a:gs pos="46000">
                <a:srgbClr val="0F47F2"/>
              </a:gs>
              <a:gs pos="79000">
                <a:srgbClr val="00B9FF"/>
              </a:gs>
            </a:gsLst>
            <a:lin ang="2700000" scaled="1"/>
            <a:tileRect/>
          </a:gradFill>
          <a:ln w="25400" cap="flat" cmpd="sng" algn="ctr">
            <a:noFill/>
            <a:prstDash val="solid"/>
          </a:ln>
          <a:effectLst/>
        </p:spPr>
        <p:txBody>
          <a:bodyPr lIns="0" tIns="0" rIns="0" bIns="0" rtlCol="0" anchor="ctr">
            <a:noAutofit/>
          </a:bodyPr>
          <a:lstStyle/>
          <a:p>
            <a:pPr algn="ctr" defTabSz="914406">
              <a:buClrTx/>
              <a:defRPr/>
            </a:pPr>
            <a:endParaRPr b="1" kern="1200">
              <a:solidFill>
                <a:srgbClr val="FFFFFF"/>
              </a:solidFill>
              <a:ea typeface="+mn-ea"/>
              <a:cs typeface="Calibri" panose="020F0502020204030204" pitchFamily="34" charset="0"/>
            </a:endParaRPr>
          </a:p>
        </p:txBody>
      </p:sp>
      <p:sp>
        <p:nvSpPr>
          <p:cNvPr id="10" name="Google Shape;831;p25">
            <a:extLst>
              <a:ext uri="{FF2B5EF4-FFF2-40B4-BE49-F238E27FC236}">
                <a16:creationId xmlns:a16="http://schemas.microsoft.com/office/drawing/2014/main" id="{DD892DA5-3790-CF0D-7A4C-90BB253C2261}"/>
              </a:ext>
            </a:extLst>
          </p:cNvPr>
          <p:cNvSpPr>
            <a:spLocks/>
          </p:cNvSpPr>
          <p:nvPr/>
        </p:nvSpPr>
        <p:spPr>
          <a:xfrm>
            <a:off x="499720" y="2096784"/>
            <a:ext cx="3654893" cy="423836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defRPr/>
            </a:pPr>
            <a:endParaRPr lang="en-US" sz="1270" dirty="0"/>
          </a:p>
        </p:txBody>
      </p:sp>
      <p:sp>
        <p:nvSpPr>
          <p:cNvPr id="42" name="Google Shape;545;p30">
            <a:extLst>
              <a:ext uri="{FF2B5EF4-FFF2-40B4-BE49-F238E27FC236}">
                <a16:creationId xmlns:a16="http://schemas.microsoft.com/office/drawing/2014/main" id="{9C439C5A-7C6F-820B-3324-06AC0489E5B5}"/>
              </a:ext>
            </a:extLst>
          </p:cNvPr>
          <p:cNvSpPr>
            <a:spLocks/>
          </p:cNvSpPr>
          <p:nvPr/>
        </p:nvSpPr>
        <p:spPr>
          <a:xfrm>
            <a:off x="489907" y="1685023"/>
            <a:ext cx="3654797" cy="716854"/>
          </a:xfrm>
          <a:prstGeom prst="round2SameRect">
            <a:avLst/>
          </a:prstGeom>
          <a:gradFill flip="none" rotWithShape="1">
            <a:gsLst>
              <a:gs pos="16000">
                <a:srgbClr val="0F47F2">
                  <a:lumMod val="50000"/>
                </a:srgbClr>
              </a:gs>
              <a:gs pos="46000">
                <a:srgbClr val="0F47F2"/>
              </a:gs>
              <a:gs pos="79000">
                <a:srgbClr val="00B9FF"/>
              </a:gs>
            </a:gsLst>
            <a:lin ang="2700000" scaled="1"/>
            <a:tileRect/>
          </a:gradFill>
          <a:ln w="25400" cap="flat" cmpd="sng" algn="ctr">
            <a:noFill/>
            <a:prstDash val="solid"/>
          </a:ln>
          <a:effectLst/>
        </p:spPr>
        <p:txBody>
          <a:bodyPr lIns="0" tIns="0" rIns="0" bIns="0" rtlCol="0" anchor="ctr">
            <a:noAutofit/>
          </a:bodyPr>
          <a:lstStyle/>
          <a:p>
            <a:pPr algn="ctr" defTabSz="914406">
              <a:buClrTx/>
              <a:defRPr/>
            </a:pPr>
            <a:endParaRPr b="1" kern="1200">
              <a:solidFill>
                <a:srgbClr val="FFFFFF"/>
              </a:solidFill>
              <a:ea typeface="+mn-ea"/>
              <a:cs typeface="Calibri" panose="020F0502020204030204" pitchFamily="34" charset="0"/>
            </a:endParaRPr>
          </a:p>
        </p:txBody>
      </p:sp>
      <p:sp>
        <p:nvSpPr>
          <p:cNvPr id="6" name="Title 3">
            <a:extLst>
              <a:ext uri="{FF2B5EF4-FFF2-40B4-BE49-F238E27FC236}">
                <a16:creationId xmlns:a16="http://schemas.microsoft.com/office/drawing/2014/main" id="{BC09CAF7-4B13-5FB4-5EE4-EBE644AC8C02}"/>
              </a:ext>
            </a:extLst>
          </p:cNvPr>
          <p:cNvSpPr>
            <a:spLocks noGrp="1"/>
          </p:cNvSpPr>
          <p:nvPr>
            <p:ph type="title"/>
          </p:nvPr>
        </p:nvSpPr>
        <p:spPr>
          <a:xfrm>
            <a:off x="531814" y="560664"/>
            <a:ext cx="9928572" cy="830997"/>
          </a:xfrm>
        </p:spPr>
        <p:txBody>
          <a:bodyPr vert="horz"/>
          <a:lstStyle/>
          <a:p>
            <a:r>
              <a:rPr lang="en-US" sz="3000" dirty="0">
                <a:latin typeface="Franklin Gothic" panose="020B0604020202020204" charset="0"/>
              </a:rPr>
              <a:t>Mapping Banking Services: An Analysis of Branch Locations and Demographics</a:t>
            </a:r>
          </a:p>
        </p:txBody>
      </p:sp>
      <p:sp>
        <p:nvSpPr>
          <p:cNvPr id="8" name="Arrow: Pentagon 7">
            <a:extLst>
              <a:ext uri="{FF2B5EF4-FFF2-40B4-BE49-F238E27FC236}">
                <a16:creationId xmlns:a16="http://schemas.microsoft.com/office/drawing/2014/main" id="{7DC8BE14-B807-441C-F0F7-7D181DF07021}"/>
              </a:ext>
            </a:extLst>
          </p:cNvPr>
          <p:cNvSpPr>
            <a:spLocks/>
          </p:cNvSpPr>
          <p:nvPr/>
        </p:nvSpPr>
        <p:spPr>
          <a:xfrm flipH="1">
            <a:off x="10346988" y="560664"/>
            <a:ext cx="1845013" cy="886350"/>
          </a:xfrm>
          <a:prstGeom prst="homePlate">
            <a:avLst>
              <a:gd name="adj" fmla="val 1507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defRPr/>
            </a:pPr>
            <a:endParaRPr lang="en-US" sz="1270">
              <a:solidFill>
                <a:srgbClr val="FFFFFF"/>
              </a:solidFill>
              <a:latin typeface="Calibri" panose="020F0502020204030204"/>
            </a:endParaRPr>
          </a:p>
        </p:txBody>
      </p:sp>
      <p:pic>
        <p:nvPicPr>
          <p:cNvPr id="9" name="Google Shape;547;p30">
            <a:extLst>
              <a:ext uri="{FF2B5EF4-FFF2-40B4-BE49-F238E27FC236}">
                <a16:creationId xmlns:a16="http://schemas.microsoft.com/office/drawing/2014/main" id="{EAE63BE1-FE86-B340-FC2C-EA76DE3EB231}"/>
              </a:ext>
            </a:extLst>
          </p:cNvPr>
          <p:cNvPicPr preferRelativeResize="0"/>
          <p:nvPr/>
        </p:nvPicPr>
        <p:blipFill rotWithShape="1">
          <a:blip r:embed="rId6" cstate="print">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10819711" y="615062"/>
            <a:ext cx="861050" cy="777555"/>
          </a:xfrm>
          <a:prstGeom prst="rect">
            <a:avLst/>
          </a:prstGeom>
          <a:noFill/>
          <a:ln>
            <a:noFill/>
          </a:ln>
        </p:spPr>
      </p:pic>
      <p:sp>
        <p:nvSpPr>
          <p:cNvPr id="13" name="Google Shape;563;p30">
            <a:extLst>
              <a:ext uri="{FF2B5EF4-FFF2-40B4-BE49-F238E27FC236}">
                <a16:creationId xmlns:a16="http://schemas.microsoft.com/office/drawing/2014/main" id="{4CB80CCA-133F-9BD2-147A-9131B6398180}"/>
              </a:ext>
            </a:extLst>
          </p:cNvPr>
          <p:cNvSpPr txBox="1">
            <a:spLocks/>
          </p:cNvSpPr>
          <p:nvPr/>
        </p:nvSpPr>
        <p:spPr>
          <a:xfrm>
            <a:off x="8206897" y="2466795"/>
            <a:ext cx="3323821" cy="3115240"/>
          </a:xfrm>
          <a:prstGeom prst="rect">
            <a:avLst/>
          </a:prstGeom>
          <a:noFill/>
          <a:ln>
            <a:noFill/>
          </a:ln>
        </p:spPr>
        <p:txBody>
          <a:bodyPr spcFirstLastPara="1" wrap="square" lIns="0" tIns="0" rIns="0" bIns="0" anchor="t" anchorCtr="0">
            <a:noAutofit/>
          </a:bodyPr>
          <a:lstStyle/>
          <a:p>
            <a:pPr defTabSz="829544">
              <a:lnSpc>
                <a:spcPts val="1633"/>
              </a:lnSpc>
              <a:buClr>
                <a:srgbClr val="00B9FF"/>
              </a:buClr>
              <a:buSzPct val="100000"/>
              <a:defRPr/>
            </a:pPr>
            <a:r>
              <a:rPr lang="en-US" sz="1452" dirty="0">
                <a:solidFill>
                  <a:srgbClr val="444444"/>
                </a:solidFill>
                <a:latin typeface="Calibri" panose="020F0502020204030204"/>
                <a:ea typeface="Calibri"/>
                <a:cs typeface="Calibri"/>
                <a:sym typeface="Calibri"/>
              </a:rPr>
              <a:t>The client benefited from Infomineo Data Analytics service on multiple fronts: </a:t>
            </a:r>
          </a:p>
          <a:p>
            <a:pPr marL="157613" indent="-157613" defTabSz="829544">
              <a:lnSpc>
                <a:spcPts val="1633"/>
              </a:lnSpc>
              <a:spcBef>
                <a:spcPts val="544"/>
              </a:spcBef>
              <a:buClr>
                <a:srgbClr val="00B9FF"/>
              </a:buClr>
              <a:buSzPct val="100000"/>
              <a:buFont typeface="Wingdings" panose="05000000000000000000" pitchFamily="2" charset="2"/>
              <a:buChar char="§"/>
              <a:defRPr/>
            </a:pPr>
            <a:r>
              <a:rPr lang="en-US" sz="1452" b="1" dirty="0">
                <a:solidFill>
                  <a:srgbClr val="00B9FF"/>
                </a:solidFill>
                <a:latin typeface="Calibri" panose="020F0502020204030204"/>
                <a:ea typeface="Calibri"/>
                <a:cs typeface="Calibri"/>
                <a:sym typeface="Calibri"/>
              </a:rPr>
              <a:t>Comprehensive Visualization</a:t>
            </a:r>
          </a:p>
          <a:p>
            <a:pPr defTabSz="829544">
              <a:lnSpc>
                <a:spcPts val="1633"/>
              </a:lnSpc>
              <a:buClr>
                <a:srgbClr val="00B9FF"/>
              </a:buClr>
              <a:buSzPct val="100000"/>
              <a:defRPr/>
            </a:pPr>
            <a:r>
              <a:rPr lang="en-US" sz="1270" dirty="0">
                <a:latin typeface="Calibri" panose="020F0502020204030204"/>
                <a:ea typeface="Calibri"/>
                <a:cs typeface="Calibri"/>
                <a:sym typeface="Calibri"/>
              </a:rPr>
              <a:t>A heatmap of major banks' branches, overlaid with the city's districts to incorporate district-level information such as population and unemployment rate.</a:t>
            </a:r>
          </a:p>
          <a:p>
            <a:pPr marL="157613" indent="-157613" defTabSz="829544">
              <a:lnSpc>
                <a:spcPts val="1633"/>
              </a:lnSpc>
              <a:buClr>
                <a:srgbClr val="00B9FF"/>
              </a:buClr>
              <a:buSzPct val="100000"/>
              <a:buFont typeface="Wingdings" panose="05000000000000000000" pitchFamily="2" charset="2"/>
              <a:buChar char="§"/>
              <a:defRPr/>
            </a:pPr>
            <a:endParaRPr lang="en-US" sz="1452" b="1" dirty="0">
              <a:solidFill>
                <a:srgbClr val="00B9FF"/>
              </a:solidFill>
              <a:latin typeface="Calibri" panose="020F0502020204030204"/>
              <a:ea typeface="Calibri"/>
              <a:cs typeface="Calibri"/>
              <a:sym typeface="Calibri"/>
            </a:endParaRPr>
          </a:p>
          <a:p>
            <a:pPr marL="157613" indent="-157613" defTabSz="829544">
              <a:lnSpc>
                <a:spcPts val="1633"/>
              </a:lnSpc>
              <a:buClr>
                <a:srgbClr val="00B9FF"/>
              </a:buClr>
              <a:buSzPct val="100000"/>
              <a:buFont typeface="Wingdings" panose="05000000000000000000" pitchFamily="2" charset="2"/>
              <a:buChar char="§"/>
              <a:defRPr/>
            </a:pPr>
            <a:r>
              <a:rPr lang="en-US" sz="1452" b="1" dirty="0">
                <a:solidFill>
                  <a:srgbClr val="00B9FF"/>
                </a:solidFill>
                <a:latin typeface="Calibri" panose="020F0502020204030204"/>
                <a:ea typeface="Calibri"/>
                <a:cs typeface="Calibri"/>
                <a:sym typeface="Calibri"/>
              </a:rPr>
              <a:t>Localized Market Insights</a:t>
            </a:r>
          </a:p>
          <a:p>
            <a:pPr marL="259232" indent="-259232" defTabSz="829544">
              <a:lnSpc>
                <a:spcPts val="1633"/>
              </a:lnSpc>
              <a:buClrTx/>
              <a:buSzPct val="100000"/>
              <a:buFontTx/>
              <a:buChar char="⁻"/>
              <a:defRPr/>
            </a:pPr>
            <a:r>
              <a:rPr lang="en-US" sz="1270" dirty="0">
                <a:solidFill>
                  <a:srgbClr val="444444"/>
                </a:solidFill>
                <a:latin typeface="Calibri" panose="020F0502020204030204"/>
                <a:ea typeface="Calibri"/>
                <a:cs typeface="Calibri"/>
                <a:sym typeface="Calibri"/>
              </a:rPr>
              <a:t>A </a:t>
            </a:r>
            <a:r>
              <a:rPr lang="en-US" sz="1270" dirty="0">
                <a:latin typeface="Calibri" panose="020F0502020204030204"/>
                <a:ea typeface="Calibri"/>
                <a:cs typeface="Calibri"/>
                <a:sym typeface="Calibri"/>
              </a:rPr>
              <a:t>detailed map focusing on city neighborhoods, providing localized information on the price per square meter to identify areas of untapped potential.</a:t>
            </a:r>
          </a:p>
          <a:p>
            <a:pPr marL="259232" indent="-259232" defTabSz="829544">
              <a:lnSpc>
                <a:spcPts val="1633"/>
              </a:lnSpc>
              <a:buClrTx/>
              <a:buSzPct val="100000"/>
              <a:buFontTx/>
              <a:buChar char="⁻"/>
              <a:defRPr/>
            </a:pPr>
            <a:endParaRPr lang="en-US" sz="1270" dirty="0">
              <a:latin typeface="Calibri" panose="020F0502020204030204"/>
              <a:ea typeface="Calibri"/>
              <a:cs typeface="Calibri"/>
              <a:sym typeface="Calibri"/>
            </a:endParaRPr>
          </a:p>
          <a:p>
            <a:pPr marL="259232" indent="-259232" defTabSz="829544">
              <a:lnSpc>
                <a:spcPts val="1633"/>
              </a:lnSpc>
              <a:buClrTx/>
              <a:buSzPct val="100000"/>
              <a:buFontTx/>
              <a:buChar char="⁻"/>
              <a:defRPr/>
            </a:pPr>
            <a:r>
              <a:rPr lang="en-US" sz="1270" dirty="0">
                <a:latin typeface="Calibri" panose="020F0502020204030204"/>
                <a:ea typeface="Calibri"/>
                <a:cs typeface="Calibri"/>
                <a:sym typeface="Calibri"/>
              </a:rPr>
              <a:t>An </a:t>
            </a:r>
            <a:r>
              <a:rPr lang="en-US" sz="1270" dirty="0">
                <a:latin typeface="Calibri" panose="020F0502020204030204"/>
                <a:ea typeface="Calibri"/>
                <a:cs typeface="Calibri"/>
              </a:rPr>
              <a:t>enhanced map for each branch, incorporating relevant data like proxies for traffic signs to assess the surrounding environment</a:t>
            </a:r>
            <a:r>
              <a:rPr lang="en-US" sz="1270" dirty="0">
                <a:solidFill>
                  <a:srgbClr val="444444"/>
                </a:solidFill>
                <a:latin typeface="Calibri" panose="020F0502020204030204"/>
                <a:ea typeface="Calibri"/>
                <a:cs typeface="Calibri"/>
              </a:rPr>
              <a:t>.</a:t>
            </a:r>
            <a:endParaRPr lang="en-US" sz="1270" dirty="0">
              <a:solidFill>
                <a:srgbClr val="444444"/>
              </a:solidFill>
              <a:latin typeface="Calibri" panose="020F0502020204030204"/>
              <a:ea typeface="Calibri"/>
              <a:cs typeface="Calibri"/>
              <a:sym typeface="Calibri"/>
            </a:endParaRPr>
          </a:p>
        </p:txBody>
      </p:sp>
      <p:sp>
        <p:nvSpPr>
          <p:cNvPr id="14" name="Google Shape;543;p30">
            <a:extLst>
              <a:ext uri="{FF2B5EF4-FFF2-40B4-BE49-F238E27FC236}">
                <a16:creationId xmlns:a16="http://schemas.microsoft.com/office/drawing/2014/main" id="{382B9C02-386C-A36D-E56B-0D1E6831A29D}"/>
              </a:ext>
            </a:extLst>
          </p:cNvPr>
          <p:cNvSpPr txBox="1">
            <a:spLocks/>
          </p:cNvSpPr>
          <p:nvPr/>
        </p:nvSpPr>
        <p:spPr>
          <a:xfrm>
            <a:off x="726905" y="2480683"/>
            <a:ext cx="3200523" cy="1225930"/>
          </a:xfrm>
          <a:prstGeom prst="rect">
            <a:avLst/>
          </a:prstGeom>
          <a:noFill/>
          <a:ln>
            <a:noFill/>
          </a:ln>
        </p:spPr>
        <p:txBody>
          <a:bodyPr spcFirstLastPara="1" wrap="square" lIns="0" tIns="0" rIns="0" bIns="0" anchor="t" anchorCtr="0">
            <a:noAutofit/>
          </a:bodyPr>
          <a:lstStyle/>
          <a:p>
            <a:pPr algn="just" defTabSz="829544">
              <a:defRPr/>
            </a:pPr>
            <a:r>
              <a:rPr lang="en-US" sz="1270" dirty="0">
                <a:solidFill>
                  <a:srgbClr val="444444"/>
                </a:solidFill>
                <a:latin typeface="Calibri" panose="020F0502020204030204"/>
                <a:ea typeface="Calibri"/>
                <a:cs typeface="Calibri"/>
                <a:sym typeface="Calibri"/>
              </a:rPr>
              <a:t>To analyze the banking sector in Casablanca the client needed to visualize the banking network of the major banks of Morocco and  to map this network with other demographic data. </a:t>
            </a:r>
          </a:p>
          <a:p>
            <a:pPr algn="just" defTabSz="829544">
              <a:defRPr/>
            </a:pPr>
            <a:endParaRPr lang="en-US" sz="1270" dirty="0">
              <a:solidFill>
                <a:srgbClr val="444444"/>
              </a:solidFill>
              <a:latin typeface="Calibri" panose="020F0502020204030204"/>
              <a:ea typeface="Calibri"/>
              <a:cs typeface="Calibri"/>
              <a:sym typeface="Calibri"/>
            </a:endParaRPr>
          </a:p>
          <a:p>
            <a:pPr algn="just" defTabSz="829544">
              <a:defRPr/>
            </a:pPr>
            <a:r>
              <a:rPr lang="en-US" sz="1270" dirty="0">
                <a:latin typeface="Calibri" panose="020F0502020204030204"/>
                <a:ea typeface="Calibri"/>
                <a:cs typeface="Calibri"/>
                <a:sym typeface="Calibri"/>
              </a:rPr>
              <a:t>The firm was looking for: </a:t>
            </a:r>
            <a:endParaRPr lang="en-US" sz="1270" dirty="0">
              <a:solidFill>
                <a:srgbClr val="444444"/>
              </a:solidFill>
              <a:latin typeface="Calibri" panose="020F0502020204030204"/>
              <a:ea typeface="Calibri"/>
              <a:cs typeface="Calibri"/>
              <a:sym typeface="Calibri"/>
            </a:endParaRPr>
          </a:p>
        </p:txBody>
      </p:sp>
      <p:sp>
        <p:nvSpPr>
          <p:cNvPr id="15" name="Google Shape;565;p30">
            <a:extLst>
              <a:ext uri="{FF2B5EF4-FFF2-40B4-BE49-F238E27FC236}">
                <a16:creationId xmlns:a16="http://schemas.microsoft.com/office/drawing/2014/main" id="{22B757EE-7D46-3A5A-4826-D8264DB048C8}"/>
              </a:ext>
            </a:extLst>
          </p:cNvPr>
          <p:cNvSpPr txBox="1">
            <a:spLocks/>
          </p:cNvSpPr>
          <p:nvPr/>
        </p:nvSpPr>
        <p:spPr>
          <a:xfrm>
            <a:off x="4494885" y="2480683"/>
            <a:ext cx="3308703" cy="654652"/>
          </a:xfrm>
          <a:prstGeom prst="rect">
            <a:avLst/>
          </a:prstGeom>
          <a:noFill/>
          <a:ln>
            <a:noFill/>
          </a:ln>
        </p:spPr>
        <p:txBody>
          <a:bodyPr spcFirstLastPara="1" wrap="square" lIns="0" tIns="0" rIns="0" bIns="0" anchor="t" anchorCtr="0">
            <a:noAutofit/>
          </a:bodyPr>
          <a:lstStyle/>
          <a:p>
            <a:pPr defTabSz="829544">
              <a:defRPr/>
            </a:pPr>
            <a:r>
              <a:rPr lang="en-US" sz="1452" dirty="0">
                <a:solidFill>
                  <a:srgbClr val="444444"/>
                </a:solidFill>
                <a:latin typeface="Calibri" panose="020F0502020204030204"/>
                <a:ea typeface="Calibri"/>
                <a:cs typeface="Calibri"/>
                <a:sym typeface="Calibri"/>
              </a:rPr>
              <a:t>Infomineo’ s Data Analytics team addressed the client’s need by:</a:t>
            </a:r>
          </a:p>
        </p:txBody>
      </p:sp>
      <p:grpSp>
        <p:nvGrpSpPr>
          <p:cNvPr id="20" name="Group 19">
            <a:extLst>
              <a:ext uri="{FF2B5EF4-FFF2-40B4-BE49-F238E27FC236}">
                <a16:creationId xmlns:a16="http://schemas.microsoft.com/office/drawing/2014/main" id="{187695B4-C9DD-619A-FDF6-CD74004F21BB}"/>
              </a:ext>
            </a:extLst>
          </p:cNvPr>
          <p:cNvGrpSpPr/>
          <p:nvPr/>
        </p:nvGrpSpPr>
        <p:grpSpPr>
          <a:xfrm>
            <a:off x="3465991" y="1746794"/>
            <a:ext cx="592190" cy="593331"/>
            <a:chOff x="3416568" y="1395569"/>
            <a:chExt cx="955760" cy="957600"/>
          </a:xfrm>
        </p:grpSpPr>
        <p:sp>
          <p:nvSpPr>
            <p:cNvPr id="21" name="Google Shape;551;p30">
              <a:extLst>
                <a:ext uri="{FF2B5EF4-FFF2-40B4-BE49-F238E27FC236}">
                  <a16:creationId xmlns:a16="http://schemas.microsoft.com/office/drawing/2014/main" id="{B910405C-B275-89C5-768A-01CF2E869752}"/>
                </a:ext>
              </a:extLst>
            </p:cNvPr>
            <p:cNvSpPr/>
            <p:nvPr/>
          </p:nvSpPr>
          <p:spPr>
            <a:xfrm>
              <a:off x="3416568"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401">
                <a:solidFill>
                  <a:srgbClr val="FFFFFF"/>
                </a:solidFill>
              </a:endParaRPr>
            </a:p>
          </p:txBody>
        </p:sp>
        <p:pic>
          <p:nvPicPr>
            <p:cNvPr id="22" name="Google Shape;552;p30">
              <a:extLst>
                <a:ext uri="{FF2B5EF4-FFF2-40B4-BE49-F238E27FC236}">
                  <a16:creationId xmlns:a16="http://schemas.microsoft.com/office/drawing/2014/main" id="{00C2AAA6-495C-02DF-EB69-E27CD41A924B}"/>
                </a:ext>
              </a:extLst>
            </p:cNvPr>
            <p:cNvPicPr preferRelativeResize="0"/>
            <p:nvPr/>
          </p:nvPicPr>
          <p:blipFill rotWithShape="1">
            <a:blip r:embed="rId8" cstate="print">
              <a:alphaModFix/>
              <a:extLst>
                <a:ext uri="{28A0092B-C50C-407E-A947-70E740481C1C}">
                  <a14:useLocalDpi xmlns:a14="http://schemas.microsoft.com/office/drawing/2010/main" val="0"/>
                </a:ext>
              </a:extLst>
            </a:blip>
            <a:srcRect/>
            <a:stretch/>
          </p:blipFill>
          <p:spPr>
            <a:xfrm>
              <a:off x="3568608" y="1548529"/>
              <a:ext cx="651681" cy="651681"/>
            </a:xfrm>
            <a:prstGeom prst="rect">
              <a:avLst/>
            </a:prstGeom>
            <a:noFill/>
            <a:ln>
              <a:noFill/>
            </a:ln>
          </p:spPr>
        </p:pic>
      </p:grpSp>
      <p:grpSp>
        <p:nvGrpSpPr>
          <p:cNvPr id="25" name="Group 24">
            <a:extLst>
              <a:ext uri="{FF2B5EF4-FFF2-40B4-BE49-F238E27FC236}">
                <a16:creationId xmlns:a16="http://schemas.microsoft.com/office/drawing/2014/main" id="{7150408C-9E00-10A4-5A05-5765AC71176A}"/>
              </a:ext>
            </a:extLst>
          </p:cNvPr>
          <p:cNvGrpSpPr/>
          <p:nvPr/>
        </p:nvGrpSpPr>
        <p:grpSpPr>
          <a:xfrm>
            <a:off x="7222958" y="1746794"/>
            <a:ext cx="592190" cy="593331"/>
            <a:chOff x="7762572" y="1395569"/>
            <a:chExt cx="955760" cy="957600"/>
          </a:xfrm>
        </p:grpSpPr>
        <p:sp>
          <p:nvSpPr>
            <p:cNvPr id="26" name="Google Shape;568;p30">
              <a:extLst>
                <a:ext uri="{FF2B5EF4-FFF2-40B4-BE49-F238E27FC236}">
                  <a16:creationId xmlns:a16="http://schemas.microsoft.com/office/drawing/2014/main" id="{E027BDB0-7D56-0B52-DB0C-B9C5EFC38ADA}"/>
                </a:ext>
              </a:extLst>
            </p:cNvPr>
            <p:cNvSpPr/>
            <p:nvPr/>
          </p:nvSpPr>
          <p:spPr>
            <a:xfrm>
              <a:off x="7762572"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597">
                <a:solidFill>
                  <a:srgbClr val="FFFFFF"/>
                </a:solidFill>
              </a:endParaRPr>
            </a:p>
          </p:txBody>
        </p:sp>
        <p:pic>
          <p:nvPicPr>
            <p:cNvPr id="27" name="Google Shape;569;p30">
              <a:extLst>
                <a:ext uri="{FF2B5EF4-FFF2-40B4-BE49-F238E27FC236}">
                  <a16:creationId xmlns:a16="http://schemas.microsoft.com/office/drawing/2014/main" id="{3B0F09D2-D224-A3EA-C4EF-C457FC82DB4B}"/>
                </a:ext>
              </a:extLst>
            </p:cNvPr>
            <p:cNvPicPr preferRelativeResize="0"/>
            <p:nvPr/>
          </p:nvPicPr>
          <p:blipFill rotWithShape="1">
            <a:blip r:embed="rId9" cstate="print">
              <a:alphaModFix/>
              <a:extLst>
                <a:ext uri="{28A0092B-C50C-407E-A947-70E740481C1C}">
                  <a14:useLocalDpi xmlns:a14="http://schemas.microsoft.com/office/drawing/2010/main" val="0"/>
                </a:ext>
              </a:extLst>
            </a:blip>
            <a:srcRect/>
            <a:stretch/>
          </p:blipFill>
          <p:spPr>
            <a:xfrm>
              <a:off x="7909107" y="1543024"/>
              <a:ext cx="662691" cy="662691"/>
            </a:xfrm>
            <a:prstGeom prst="rect">
              <a:avLst/>
            </a:prstGeom>
            <a:noFill/>
            <a:ln>
              <a:noFill/>
            </a:ln>
          </p:spPr>
        </p:pic>
      </p:grpSp>
      <p:grpSp>
        <p:nvGrpSpPr>
          <p:cNvPr id="28" name="Group 27">
            <a:extLst>
              <a:ext uri="{FF2B5EF4-FFF2-40B4-BE49-F238E27FC236}">
                <a16:creationId xmlns:a16="http://schemas.microsoft.com/office/drawing/2014/main" id="{A3E33D8D-7DDB-7D4A-53EF-DD0E9EEA5FDC}"/>
              </a:ext>
            </a:extLst>
          </p:cNvPr>
          <p:cNvGrpSpPr/>
          <p:nvPr/>
        </p:nvGrpSpPr>
        <p:grpSpPr>
          <a:xfrm>
            <a:off x="10997736" y="1746794"/>
            <a:ext cx="592190" cy="593331"/>
            <a:chOff x="12019931" y="1366765"/>
            <a:chExt cx="955760" cy="957600"/>
          </a:xfrm>
        </p:grpSpPr>
        <p:sp>
          <p:nvSpPr>
            <p:cNvPr id="29" name="Google Shape;583;p30">
              <a:extLst>
                <a:ext uri="{FF2B5EF4-FFF2-40B4-BE49-F238E27FC236}">
                  <a16:creationId xmlns:a16="http://schemas.microsoft.com/office/drawing/2014/main" id="{ED356A41-E766-998E-DC58-33DBC655D594}"/>
                </a:ext>
              </a:extLst>
            </p:cNvPr>
            <p:cNvSpPr/>
            <p:nvPr/>
          </p:nvSpPr>
          <p:spPr>
            <a:xfrm>
              <a:off x="12019931" y="1366765"/>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401">
                <a:solidFill>
                  <a:srgbClr val="FFFFFF"/>
                </a:solidFill>
                <a:highlight>
                  <a:srgbClr val="FFFF00"/>
                </a:highlight>
              </a:endParaRPr>
            </a:p>
          </p:txBody>
        </p:sp>
        <p:grpSp>
          <p:nvGrpSpPr>
            <p:cNvPr id="30" name="Google Shape;584;p30">
              <a:extLst>
                <a:ext uri="{FF2B5EF4-FFF2-40B4-BE49-F238E27FC236}">
                  <a16:creationId xmlns:a16="http://schemas.microsoft.com/office/drawing/2014/main" id="{02945059-39BD-0E59-A969-E0A383F408B4}"/>
                </a:ext>
              </a:extLst>
            </p:cNvPr>
            <p:cNvGrpSpPr/>
            <p:nvPr/>
          </p:nvGrpSpPr>
          <p:grpSpPr>
            <a:xfrm>
              <a:off x="12226115" y="1593618"/>
              <a:ext cx="543392" cy="503895"/>
              <a:chOff x="10915170" y="2075424"/>
              <a:chExt cx="432288" cy="400866"/>
            </a:xfrm>
          </p:grpSpPr>
          <p:sp>
            <p:nvSpPr>
              <p:cNvPr id="31" name="Google Shape;585;p30">
                <a:extLst>
                  <a:ext uri="{FF2B5EF4-FFF2-40B4-BE49-F238E27FC236}">
                    <a16:creationId xmlns:a16="http://schemas.microsoft.com/office/drawing/2014/main" id="{E3B74689-2102-8519-8811-1C6A02811642}"/>
                  </a:ext>
                </a:extLst>
              </p:cNvPr>
              <p:cNvSpPr/>
              <p:nvPr/>
            </p:nvSpPr>
            <p:spPr>
              <a:xfrm>
                <a:off x="10915170" y="2075424"/>
                <a:ext cx="432288" cy="400866"/>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noFill/>
              <a:ln w="6350" cap="flat" cmpd="sng">
                <a:solidFill>
                  <a:schemeClr val="accent1"/>
                </a:solidFill>
                <a:prstDash val="solid"/>
                <a:round/>
                <a:headEnd type="none" w="sm" len="sm"/>
                <a:tailEnd type="none" w="sm" len="sm"/>
              </a:ln>
            </p:spPr>
            <p:txBody>
              <a:bodyPr spcFirstLastPara="1" wrap="square" lIns="91424" tIns="45698" rIns="91424" bIns="45698" anchor="t" anchorCtr="0">
                <a:noAutofit/>
              </a:bodyPr>
              <a:lstStyle/>
              <a:p>
                <a:pPr defTabSz="829544">
                  <a:defRPr/>
                </a:pPr>
                <a:endParaRPr sz="1801">
                  <a:solidFill>
                    <a:srgbClr val="444444"/>
                  </a:solidFill>
                  <a:highlight>
                    <a:srgbClr val="FFFF00"/>
                  </a:highlight>
                  <a:latin typeface="Calibri"/>
                  <a:ea typeface="Calibri"/>
                  <a:cs typeface="Calibri"/>
                  <a:sym typeface="Calibri"/>
                </a:endParaRPr>
              </a:p>
            </p:txBody>
          </p:sp>
          <p:sp>
            <p:nvSpPr>
              <p:cNvPr id="32" name="Google Shape;586;p30">
                <a:extLst>
                  <a:ext uri="{FF2B5EF4-FFF2-40B4-BE49-F238E27FC236}">
                    <a16:creationId xmlns:a16="http://schemas.microsoft.com/office/drawing/2014/main" id="{B5FFE1E6-806C-548C-53C2-056CF11D67E8}"/>
                  </a:ext>
                </a:extLst>
              </p:cNvPr>
              <p:cNvSpPr/>
              <p:nvPr/>
            </p:nvSpPr>
            <p:spPr>
              <a:xfrm>
                <a:off x="11005647" y="2167089"/>
                <a:ext cx="282550" cy="266407"/>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3175" cap="flat" cmpd="sng">
                <a:solidFill>
                  <a:schemeClr val="accent1"/>
                </a:solidFill>
                <a:prstDash val="solid"/>
                <a:round/>
                <a:headEnd type="none" w="sm" len="sm"/>
                <a:tailEnd type="none" w="sm" len="sm"/>
              </a:ln>
            </p:spPr>
            <p:txBody>
              <a:bodyPr spcFirstLastPara="1" wrap="square" lIns="91424" tIns="45698" rIns="91424" bIns="45698" anchor="t" anchorCtr="0">
                <a:noAutofit/>
              </a:bodyPr>
              <a:lstStyle/>
              <a:p>
                <a:pPr defTabSz="829544">
                  <a:defRPr/>
                </a:pPr>
                <a:endParaRPr sz="1801">
                  <a:solidFill>
                    <a:srgbClr val="444444"/>
                  </a:solidFill>
                  <a:highlight>
                    <a:srgbClr val="FFFF00"/>
                  </a:highlight>
                  <a:latin typeface="Calibri"/>
                  <a:ea typeface="Calibri"/>
                  <a:cs typeface="Calibri"/>
                  <a:sym typeface="Calibri"/>
                </a:endParaRPr>
              </a:p>
            </p:txBody>
          </p:sp>
        </p:grpSp>
      </p:grpSp>
      <p:sp>
        <p:nvSpPr>
          <p:cNvPr id="33" name="Google Shape;574;p30">
            <a:extLst>
              <a:ext uri="{FF2B5EF4-FFF2-40B4-BE49-F238E27FC236}">
                <a16:creationId xmlns:a16="http://schemas.microsoft.com/office/drawing/2014/main" id="{BB0DAC82-9F6A-2BEA-169A-7DECFF8E1C4D}"/>
              </a:ext>
            </a:extLst>
          </p:cNvPr>
          <p:cNvSpPr txBox="1">
            <a:spLocks/>
          </p:cNvSpPr>
          <p:nvPr/>
        </p:nvSpPr>
        <p:spPr>
          <a:xfrm>
            <a:off x="4489977" y="2962950"/>
            <a:ext cx="3200523" cy="1946655"/>
          </a:xfrm>
          <a:prstGeom prst="rect">
            <a:avLst/>
          </a:prstGeom>
          <a:noFill/>
          <a:ln>
            <a:noFill/>
          </a:ln>
        </p:spPr>
        <p:txBody>
          <a:bodyPr spcFirstLastPara="1" wrap="square" lIns="0" tIns="0" rIns="0" bIns="0" anchor="t" anchorCtr="0">
            <a:noAutofit/>
          </a:bodyPr>
          <a:lstStyle/>
          <a:p>
            <a:pPr marL="311079" indent="-311079" defTabSz="829544">
              <a:spcBef>
                <a:spcPts val="726"/>
              </a:spcBef>
              <a:buFont typeface="+mj-lt"/>
              <a:buAutoNum type="arabicPeriod"/>
              <a:defRPr/>
            </a:pPr>
            <a:endParaRPr lang="en-US" sz="1270" dirty="0">
              <a:latin typeface="Calibri" panose="020F0502020204030204"/>
              <a:ea typeface="Calibri"/>
              <a:cs typeface="Calibri"/>
              <a:sym typeface="Calibri"/>
            </a:endParaRPr>
          </a:p>
        </p:txBody>
      </p:sp>
      <p:grpSp>
        <p:nvGrpSpPr>
          <p:cNvPr id="37" name="Group 36">
            <a:extLst>
              <a:ext uri="{FF2B5EF4-FFF2-40B4-BE49-F238E27FC236}">
                <a16:creationId xmlns:a16="http://schemas.microsoft.com/office/drawing/2014/main" id="{F20001EB-FDEE-F894-D375-0D17EB5877BC}"/>
              </a:ext>
            </a:extLst>
          </p:cNvPr>
          <p:cNvGrpSpPr/>
          <p:nvPr/>
        </p:nvGrpSpPr>
        <p:grpSpPr>
          <a:xfrm>
            <a:off x="726905" y="3786546"/>
            <a:ext cx="3200523" cy="1060875"/>
            <a:chOff x="803725" y="4407424"/>
            <a:chExt cx="3528076" cy="1169449"/>
          </a:xfrm>
        </p:grpSpPr>
        <p:sp>
          <p:nvSpPr>
            <p:cNvPr id="34" name="Google Shape;561;p30">
              <a:extLst>
                <a:ext uri="{FF2B5EF4-FFF2-40B4-BE49-F238E27FC236}">
                  <a16:creationId xmlns:a16="http://schemas.microsoft.com/office/drawing/2014/main" id="{B2D88693-5BA7-B6E0-E116-4C492FE2A3AC}"/>
                </a:ext>
              </a:extLst>
            </p:cNvPr>
            <p:cNvSpPr txBox="1">
              <a:spLocks/>
            </p:cNvSpPr>
            <p:nvPr/>
          </p:nvSpPr>
          <p:spPr>
            <a:xfrm>
              <a:off x="1437182" y="4407424"/>
              <a:ext cx="2894619" cy="1169449"/>
            </a:xfrm>
            <a:prstGeom prst="rect">
              <a:avLst/>
            </a:prstGeom>
            <a:noFill/>
            <a:ln>
              <a:noFill/>
            </a:ln>
          </p:spPr>
          <p:txBody>
            <a:bodyPr spcFirstLastPara="1" wrap="square" lIns="0" tIns="0" rIns="0" bIns="0" anchor="t" anchorCtr="0">
              <a:noAutofit/>
            </a:bodyPr>
            <a:lstStyle/>
            <a:p>
              <a:pPr defTabSz="829544">
                <a:defRPr/>
              </a:pPr>
              <a:r>
                <a:rPr lang="en-US" sz="1270" dirty="0">
                  <a:solidFill>
                    <a:srgbClr val="444444"/>
                  </a:solidFill>
                  <a:latin typeface="Calibri" panose="020F0502020204030204"/>
                  <a:ea typeface="Calibri"/>
                  <a:cs typeface="Calibri"/>
                  <a:sym typeface="Calibri"/>
                </a:rPr>
                <a:t>An efficient approach for gathering data on banking agency locations, socio-demographic characteristics, and restaurants information’.</a:t>
              </a:r>
            </a:p>
          </p:txBody>
        </p:sp>
        <p:grpSp>
          <p:nvGrpSpPr>
            <p:cNvPr id="46" name="Group 45">
              <a:extLst>
                <a:ext uri="{FF2B5EF4-FFF2-40B4-BE49-F238E27FC236}">
                  <a16:creationId xmlns:a16="http://schemas.microsoft.com/office/drawing/2014/main" id="{01A632FE-C084-A5C5-4EBA-875C15FDCF45}"/>
                </a:ext>
              </a:extLst>
            </p:cNvPr>
            <p:cNvGrpSpPr/>
            <p:nvPr/>
          </p:nvGrpSpPr>
          <p:grpSpPr>
            <a:xfrm>
              <a:off x="803725" y="4407425"/>
              <a:ext cx="503992" cy="503992"/>
              <a:chOff x="803725" y="4407425"/>
              <a:chExt cx="503992" cy="503992"/>
            </a:xfrm>
          </p:grpSpPr>
          <p:sp>
            <p:nvSpPr>
              <p:cNvPr id="36" name="Google Shape;554;p30">
                <a:extLst>
                  <a:ext uri="{FF2B5EF4-FFF2-40B4-BE49-F238E27FC236}">
                    <a16:creationId xmlns:a16="http://schemas.microsoft.com/office/drawing/2014/main" id="{CA8A809B-9996-F024-3313-DB6571F233F6}"/>
                  </a:ext>
                </a:extLst>
              </p:cNvPr>
              <p:cNvSpPr/>
              <p:nvPr/>
            </p:nvSpPr>
            <p:spPr>
              <a:xfrm>
                <a:off x="803725" y="4407425"/>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270">
                  <a:solidFill>
                    <a:srgbClr val="FFFFFF"/>
                  </a:solidFill>
                  <a:latin typeface="Calibri" panose="020F0502020204030204"/>
                  <a:ea typeface="Calibri"/>
                  <a:cs typeface="Calibri"/>
                  <a:sym typeface="Calibri"/>
                </a:endParaRPr>
              </a:p>
            </p:txBody>
          </p:sp>
          <p:pic>
            <p:nvPicPr>
              <p:cNvPr id="43" name="Graphic 42">
                <a:extLst>
                  <a:ext uri="{FF2B5EF4-FFF2-40B4-BE49-F238E27FC236}">
                    <a16:creationId xmlns:a16="http://schemas.microsoft.com/office/drawing/2014/main" id="{23DCD8D7-0A52-4839-D99E-A6EE28E81F5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6475" y="4490175"/>
                <a:ext cx="338492" cy="338492"/>
              </a:xfrm>
              <a:prstGeom prst="rect">
                <a:avLst/>
              </a:prstGeom>
            </p:spPr>
          </p:pic>
        </p:grpSp>
      </p:grpSp>
      <p:grpSp>
        <p:nvGrpSpPr>
          <p:cNvPr id="39" name="Group 38">
            <a:extLst>
              <a:ext uri="{FF2B5EF4-FFF2-40B4-BE49-F238E27FC236}">
                <a16:creationId xmlns:a16="http://schemas.microsoft.com/office/drawing/2014/main" id="{1322D5A2-2824-7519-0081-AB3496F7B4F8}"/>
              </a:ext>
            </a:extLst>
          </p:cNvPr>
          <p:cNvGrpSpPr/>
          <p:nvPr/>
        </p:nvGrpSpPr>
        <p:grpSpPr>
          <a:xfrm>
            <a:off x="726905" y="5007285"/>
            <a:ext cx="3200523" cy="1003914"/>
            <a:chOff x="803725" y="5691182"/>
            <a:chExt cx="3528076" cy="1106658"/>
          </a:xfrm>
        </p:grpSpPr>
        <p:sp>
          <p:nvSpPr>
            <p:cNvPr id="38" name="Google Shape;562;p30">
              <a:extLst>
                <a:ext uri="{FF2B5EF4-FFF2-40B4-BE49-F238E27FC236}">
                  <a16:creationId xmlns:a16="http://schemas.microsoft.com/office/drawing/2014/main" id="{DB41CCC9-C82D-8936-DFE3-65FCA158A212}"/>
                </a:ext>
              </a:extLst>
            </p:cNvPr>
            <p:cNvSpPr txBox="1"/>
            <p:nvPr/>
          </p:nvSpPr>
          <p:spPr>
            <a:xfrm>
              <a:off x="1437182" y="5691182"/>
              <a:ext cx="2894619" cy="1106658"/>
            </a:xfrm>
            <a:prstGeom prst="rect">
              <a:avLst/>
            </a:prstGeom>
            <a:noFill/>
            <a:ln>
              <a:noFill/>
            </a:ln>
          </p:spPr>
          <p:txBody>
            <a:bodyPr spcFirstLastPara="1" vert="horz" wrap="square" lIns="0" tIns="0" rIns="0" bIns="0" anchor="t" anchorCtr="0">
              <a:noAutofit/>
            </a:bodyPr>
            <a:lstStyle/>
            <a:p>
              <a:pPr defTabSz="829544">
                <a:defRPr/>
              </a:pPr>
              <a:r>
                <a:rPr lang="en-US" sz="1270" dirty="0">
                  <a:solidFill>
                    <a:srgbClr val="444444"/>
                  </a:solidFill>
                  <a:latin typeface="Calibri" panose="020F0502020204030204"/>
                  <a:ea typeface="Calibri"/>
                  <a:cs typeface="Calibri"/>
                  <a:sym typeface="Calibri"/>
                </a:rPr>
                <a:t>A solution that would enable analysis of trends  across different data categories by visualizing them on a geospatial map.</a:t>
              </a:r>
            </a:p>
          </p:txBody>
        </p:sp>
        <p:grpSp>
          <p:nvGrpSpPr>
            <p:cNvPr id="47" name="Group 46">
              <a:extLst>
                <a:ext uri="{FF2B5EF4-FFF2-40B4-BE49-F238E27FC236}">
                  <a16:creationId xmlns:a16="http://schemas.microsoft.com/office/drawing/2014/main" id="{C1EE0E3C-2E2F-ABBC-8819-50F7585AF930}"/>
                </a:ext>
              </a:extLst>
            </p:cNvPr>
            <p:cNvGrpSpPr/>
            <p:nvPr/>
          </p:nvGrpSpPr>
          <p:grpSpPr>
            <a:xfrm>
              <a:off x="803725" y="5691182"/>
              <a:ext cx="503992" cy="503992"/>
              <a:chOff x="803725" y="5691182"/>
              <a:chExt cx="503992" cy="503992"/>
            </a:xfrm>
          </p:grpSpPr>
          <p:sp>
            <p:nvSpPr>
              <p:cNvPr id="40" name="Google Shape;557;p30">
                <a:extLst>
                  <a:ext uri="{FF2B5EF4-FFF2-40B4-BE49-F238E27FC236}">
                    <a16:creationId xmlns:a16="http://schemas.microsoft.com/office/drawing/2014/main" id="{0DCF0AC5-278E-27FE-6EC5-BA072A8732A8}"/>
                  </a:ext>
                </a:extLst>
              </p:cNvPr>
              <p:cNvSpPr/>
              <p:nvPr/>
            </p:nvSpPr>
            <p:spPr>
              <a:xfrm>
                <a:off x="803725" y="5691182"/>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270">
                  <a:solidFill>
                    <a:srgbClr val="FFFFFF"/>
                  </a:solidFill>
                  <a:latin typeface="Calibri" panose="020F0502020204030204"/>
                  <a:ea typeface="Calibri"/>
                  <a:cs typeface="Calibri"/>
                  <a:sym typeface="Calibri"/>
                </a:endParaRPr>
              </a:p>
            </p:txBody>
          </p:sp>
          <p:pic>
            <p:nvPicPr>
              <p:cNvPr id="45" name="Graphic 44">
                <a:extLst>
                  <a:ext uri="{FF2B5EF4-FFF2-40B4-BE49-F238E27FC236}">
                    <a16:creationId xmlns:a16="http://schemas.microsoft.com/office/drawing/2014/main" id="{4ED656A2-D1B6-89C2-021D-B11E7465E51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3796" y="5738391"/>
                <a:ext cx="323850" cy="409575"/>
              </a:xfrm>
              <a:prstGeom prst="rect">
                <a:avLst/>
              </a:prstGeom>
            </p:spPr>
          </p:pic>
        </p:grpSp>
      </p:grpSp>
      <p:sp>
        <p:nvSpPr>
          <p:cNvPr id="3" name="Google Shape;541;p30">
            <a:extLst>
              <a:ext uri="{FF2B5EF4-FFF2-40B4-BE49-F238E27FC236}">
                <a16:creationId xmlns:a16="http://schemas.microsoft.com/office/drawing/2014/main" id="{23A7FFE8-8431-74F4-E2AD-AFB150A39188}"/>
              </a:ext>
            </a:extLst>
          </p:cNvPr>
          <p:cNvSpPr txBox="1"/>
          <p:nvPr/>
        </p:nvSpPr>
        <p:spPr>
          <a:xfrm>
            <a:off x="8998252" y="1901065"/>
            <a:ext cx="1710125" cy="284758"/>
          </a:xfrm>
          <a:prstGeom prst="rect">
            <a:avLst/>
          </a:prstGeom>
          <a:noFill/>
          <a:ln>
            <a:noFill/>
          </a:ln>
        </p:spPr>
        <p:txBody>
          <a:bodyPr spcFirstLastPara="1" wrap="square" lIns="0" tIns="0" rIns="0" bIns="0" anchor="t" anchorCtr="0">
            <a:spAutoFit/>
          </a:bodyPr>
          <a:lstStyle/>
          <a:p>
            <a:pPr algn="ctr" defTabSz="829544">
              <a:lnSpc>
                <a:spcPct val="85000"/>
              </a:lnSpc>
              <a:defRPr/>
            </a:pPr>
            <a:r>
              <a:rPr lang="en-IN" sz="2177" b="1" dirty="0">
                <a:solidFill>
                  <a:srgbClr val="FFFFFF"/>
                </a:solidFill>
                <a:latin typeface="Calibri" panose="020F0502020204030204"/>
                <a:ea typeface="Franklin Gothic"/>
                <a:cs typeface="Franklin Gothic"/>
                <a:sym typeface="Franklin Gothic"/>
              </a:rPr>
              <a:t>Outcome</a:t>
            </a:r>
            <a:endParaRPr sz="2177" b="1" dirty="0">
              <a:latin typeface="Calibri" panose="020F0502020204030204"/>
            </a:endParaRPr>
          </a:p>
        </p:txBody>
      </p:sp>
      <p:sp>
        <p:nvSpPr>
          <p:cNvPr id="4" name="Google Shape;546;p30">
            <a:extLst>
              <a:ext uri="{FF2B5EF4-FFF2-40B4-BE49-F238E27FC236}">
                <a16:creationId xmlns:a16="http://schemas.microsoft.com/office/drawing/2014/main" id="{480955E4-8CC5-E3A5-6DEA-343D7CC38AA7}"/>
              </a:ext>
            </a:extLst>
          </p:cNvPr>
          <p:cNvSpPr txBox="1"/>
          <p:nvPr/>
        </p:nvSpPr>
        <p:spPr>
          <a:xfrm>
            <a:off x="1218392" y="1901065"/>
            <a:ext cx="2217549" cy="284758"/>
          </a:xfrm>
          <a:prstGeom prst="rect">
            <a:avLst/>
          </a:prstGeom>
          <a:noFill/>
          <a:ln>
            <a:noFill/>
          </a:ln>
        </p:spPr>
        <p:txBody>
          <a:bodyPr spcFirstLastPara="1" wrap="square" lIns="0" tIns="0" rIns="0" bIns="0" anchor="t" anchorCtr="0">
            <a:spAutoFit/>
          </a:bodyPr>
          <a:lstStyle/>
          <a:p>
            <a:pPr algn="ctr" defTabSz="829544">
              <a:lnSpc>
                <a:spcPct val="85000"/>
              </a:lnSpc>
              <a:defRPr/>
            </a:pPr>
            <a:r>
              <a:rPr lang="en-IN" sz="2177" b="1" dirty="0">
                <a:solidFill>
                  <a:srgbClr val="FFFFFF"/>
                </a:solidFill>
                <a:latin typeface="Calibri" panose="020F0502020204030204"/>
                <a:ea typeface="Franklin Gothic"/>
                <a:cs typeface="Franklin Gothic"/>
                <a:sym typeface="Franklin Gothic"/>
              </a:rPr>
              <a:t>Client Challenge</a:t>
            </a:r>
            <a:endParaRPr sz="2177" b="1" dirty="0">
              <a:latin typeface="Calibri" panose="020F0502020204030204"/>
            </a:endParaRPr>
          </a:p>
        </p:txBody>
      </p:sp>
      <p:sp>
        <p:nvSpPr>
          <p:cNvPr id="5" name="Google Shape;567;p30">
            <a:extLst>
              <a:ext uri="{FF2B5EF4-FFF2-40B4-BE49-F238E27FC236}">
                <a16:creationId xmlns:a16="http://schemas.microsoft.com/office/drawing/2014/main" id="{922C52FE-81ED-5F6E-A330-9D1A3ECE3AEE}"/>
              </a:ext>
            </a:extLst>
          </p:cNvPr>
          <p:cNvSpPr txBox="1"/>
          <p:nvPr/>
        </p:nvSpPr>
        <p:spPr>
          <a:xfrm>
            <a:off x="5210232" y="1901065"/>
            <a:ext cx="1760015" cy="284758"/>
          </a:xfrm>
          <a:prstGeom prst="rect">
            <a:avLst/>
          </a:prstGeom>
          <a:noFill/>
          <a:ln>
            <a:noFill/>
          </a:ln>
        </p:spPr>
        <p:txBody>
          <a:bodyPr spcFirstLastPara="1" wrap="square" lIns="0" tIns="0" rIns="0" bIns="0" anchor="t" anchorCtr="0">
            <a:spAutoFit/>
          </a:bodyPr>
          <a:lstStyle/>
          <a:p>
            <a:pPr algn="ctr" defTabSz="829544">
              <a:lnSpc>
                <a:spcPct val="85000"/>
              </a:lnSpc>
              <a:defRPr/>
            </a:pPr>
            <a:r>
              <a:rPr lang="en-IN" sz="2177" b="1" dirty="0">
                <a:solidFill>
                  <a:srgbClr val="FFFFFF"/>
                </a:solidFill>
                <a:latin typeface="Calibri" panose="020F0502020204030204"/>
                <a:ea typeface="Franklin Gothic"/>
                <a:cs typeface="Franklin Gothic"/>
                <a:sym typeface="Franklin Gothic"/>
              </a:rPr>
              <a:t>Our Solution</a:t>
            </a:r>
            <a:endParaRPr sz="2177" b="1" dirty="0">
              <a:latin typeface="Calibri" panose="020F0502020204030204"/>
            </a:endParaRPr>
          </a:p>
        </p:txBody>
      </p:sp>
      <p:sp>
        <p:nvSpPr>
          <p:cNvPr id="35" name="Google Shape;574;p30">
            <a:extLst>
              <a:ext uri="{FF2B5EF4-FFF2-40B4-BE49-F238E27FC236}">
                <a16:creationId xmlns:a16="http://schemas.microsoft.com/office/drawing/2014/main" id="{874352DB-4492-3A82-BFD2-FE398F4C883E}"/>
              </a:ext>
            </a:extLst>
          </p:cNvPr>
          <p:cNvSpPr txBox="1">
            <a:spLocks/>
          </p:cNvSpPr>
          <p:nvPr/>
        </p:nvSpPr>
        <p:spPr>
          <a:xfrm>
            <a:off x="4480163" y="3152416"/>
            <a:ext cx="3200523" cy="2654212"/>
          </a:xfrm>
          <a:prstGeom prst="rect">
            <a:avLst/>
          </a:prstGeom>
          <a:noFill/>
          <a:ln>
            <a:noFill/>
          </a:ln>
        </p:spPr>
        <p:txBody>
          <a:bodyPr spcFirstLastPara="1" wrap="square" lIns="0" tIns="0" rIns="0" bIns="0" anchor="t" anchorCtr="0">
            <a:noAutofit/>
          </a:bodyPr>
          <a:lstStyle/>
          <a:p>
            <a:pPr marL="248863" indent="-248863" defTabSz="829544">
              <a:buClr>
                <a:srgbClr val="00B9FF"/>
              </a:buClr>
              <a:buFont typeface="+mj-lt"/>
              <a:buAutoNum type="arabicPeriod"/>
              <a:defRPr/>
            </a:pPr>
            <a:r>
              <a:rPr lang="en-US" sz="1452" dirty="0">
                <a:solidFill>
                  <a:srgbClr val="444444"/>
                </a:solidFill>
                <a:latin typeface="Calibri" panose="020F0502020204030204"/>
                <a:ea typeface="Calibri"/>
                <a:cs typeface="Calibri"/>
                <a:sym typeface="Calibri"/>
              </a:rPr>
              <a:t>Identifying Necessary Data and Establishing Collection Criteria</a:t>
            </a:r>
          </a:p>
          <a:p>
            <a:pPr marL="248863" indent="-248863" defTabSz="829544">
              <a:buClr>
                <a:srgbClr val="00B9FF"/>
              </a:buClr>
              <a:buFont typeface="+mj-lt"/>
              <a:buAutoNum type="arabicPeriod"/>
              <a:defRPr/>
            </a:pPr>
            <a:endParaRPr lang="en-US" sz="1452" dirty="0">
              <a:solidFill>
                <a:srgbClr val="444444"/>
              </a:solidFill>
              <a:latin typeface="Calibri" panose="020F0502020204030204"/>
              <a:ea typeface="Calibri"/>
              <a:cs typeface="Calibri"/>
              <a:sym typeface="Calibri"/>
            </a:endParaRPr>
          </a:p>
          <a:p>
            <a:pPr marL="248863" indent="-248863" defTabSz="829544">
              <a:buClr>
                <a:srgbClr val="00B9FF"/>
              </a:buClr>
              <a:buFont typeface="+mj-lt"/>
              <a:buAutoNum type="arabicPeriod"/>
              <a:defRPr/>
            </a:pPr>
            <a:r>
              <a:rPr lang="en-US" sz="1452" dirty="0">
                <a:solidFill>
                  <a:srgbClr val="444444"/>
                </a:solidFill>
                <a:latin typeface="Calibri" panose="020F0502020204030204"/>
                <a:ea typeface="Calibri"/>
                <a:cs typeface="Calibri"/>
                <a:sym typeface="Calibri"/>
              </a:rPr>
              <a:t>Leveraging fuzzy matching to compare data from different sources</a:t>
            </a:r>
          </a:p>
          <a:p>
            <a:pPr marL="248863" indent="-248863" defTabSz="829544">
              <a:buClr>
                <a:srgbClr val="00B9FF"/>
              </a:buClr>
              <a:buFont typeface="+mj-lt"/>
              <a:buAutoNum type="arabicPeriod"/>
              <a:defRPr/>
            </a:pPr>
            <a:endParaRPr lang="en-US" sz="1452" dirty="0">
              <a:solidFill>
                <a:srgbClr val="444444"/>
              </a:solidFill>
              <a:latin typeface="Calibri" panose="020F0502020204030204"/>
              <a:ea typeface="Calibri"/>
              <a:cs typeface="Calibri"/>
              <a:sym typeface="Calibri"/>
            </a:endParaRPr>
          </a:p>
          <a:p>
            <a:pPr marL="248863" indent="-248863" defTabSz="829544">
              <a:buClr>
                <a:srgbClr val="00B9FF"/>
              </a:buClr>
              <a:buFont typeface="+mj-lt"/>
              <a:buAutoNum type="arabicPeriod"/>
              <a:defRPr/>
            </a:pPr>
            <a:r>
              <a:rPr lang="en-US" sz="1452" dirty="0">
                <a:solidFill>
                  <a:srgbClr val="444444"/>
                </a:solidFill>
                <a:latin typeface="Calibri" panose="020F0502020204030204"/>
                <a:ea typeface="Calibri"/>
                <a:cs typeface="Calibri"/>
                <a:sym typeface="Calibri"/>
              </a:rPr>
              <a:t>Geocoding the location data and visualizing it on a geospatial map</a:t>
            </a:r>
          </a:p>
          <a:p>
            <a:pPr marL="248863" indent="-248863" defTabSz="829544">
              <a:buClr>
                <a:srgbClr val="00B9FF"/>
              </a:buClr>
              <a:buFont typeface="+mj-lt"/>
              <a:buAutoNum type="arabicPeriod"/>
              <a:defRPr/>
            </a:pPr>
            <a:endParaRPr lang="en-US" sz="1452" dirty="0">
              <a:solidFill>
                <a:srgbClr val="444444"/>
              </a:solidFill>
              <a:latin typeface="Calibri" panose="020F0502020204030204"/>
              <a:ea typeface="Calibri"/>
              <a:cs typeface="Calibri"/>
              <a:sym typeface="Calibri"/>
            </a:endParaRPr>
          </a:p>
          <a:p>
            <a:pPr marL="248863" indent="-248863" defTabSz="829544">
              <a:buClr>
                <a:srgbClr val="00B9FF"/>
              </a:buClr>
              <a:buFont typeface="+mj-lt"/>
              <a:buAutoNum type="arabicPeriod"/>
              <a:defRPr/>
            </a:pPr>
            <a:r>
              <a:rPr lang="en-US" sz="1452" dirty="0">
                <a:solidFill>
                  <a:srgbClr val="444444"/>
                </a:solidFill>
                <a:latin typeface="Calibri" panose="020F0502020204030204"/>
                <a:ea typeface="Calibri"/>
                <a:cs typeface="Calibri"/>
                <a:sym typeface="Calibri"/>
              </a:rPr>
              <a:t>Comparing the agencies' locations with socio-economic and demographic data</a:t>
            </a:r>
          </a:p>
          <a:p>
            <a:pPr marL="248863" indent="-248863" defTabSz="829544">
              <a:buClr>
                <a:srgbClr val="00B9FF"/>
              </a:buClr>
              <a:buFont typeface="+mj-lt"/>
              <a:buAutoNum type="arabicPeriod"/>
              <a:defRPr/>
            </a:pPr>
            <a:endParaRPr lang="en-US" sz="1452" dirty="0">
              <a:solidFill>
                <a:srgbClr val="444444"/>
              </a:solidFill>
              <a:latin typeface="Calibri" panose="020F0502020204030204"/>
              <a:ea typeface="Calibri"/>
              <a:cs typeface="Calibri"/>
              <a:sym typeface="Calibri"/>
            </a:endParaRPr>
          </a:p>
          <a:p>
            <a:pPr marL="248863" indent="-248863" defTabSz="829544">
              <a:buClr>
                <a:srgbClr val="00B9FF"/>
              </a:buClr>
              <a:buFont typeface="+mj-lt"/>
              <a:buAutoNum type="arabicPeriod"/>
              <a:defRPr/>
            </a:pPr>
            <a:endParaRPr lang="en-US" sz="1452" dirty="0">
              <a:solidFill>
                <a:srgbClr val="444444"/>
              </a:solidFill>
              <a:latin typeface="Calibri" panose="020F0502020204030204"/>
              <a:ea typeface="Calibri"/>
              <a:cs typeface="Calibri"/>
              <a:sym typeface="Calibri"/>
            </a:endParaRPr>
          </a:p>
          <a:p>
            <a:pPr marL="248863" indent="-248863" defTabSz="829544">
              <a:buClr>
                <a:srgbClr val="00B9FF"/>
              </a:buClr>
              <a:buFont typeface="+mj-lt"/>
              <a:buAutoNum type="arabicPeriod"/>
              <a:defRPr/>
            </a:pPr>
            <a:endParaRPr lang="en-US" sz="1452" dirty="0">
              <a:solidFill>
                <a:srgbClr val="444444"/>
              </a:solidFill>
              <a:latin typeface="Calibri" panose="020F0502020204030204"/>
              <a:ea typeface="Calibri"/>
              <a:cs typeface="Calibri"/>
              <a:sym typeface="Calibri"/>
            </a:endParaRPr>
          </a:p>
          <a:p>
            <a:pPr marL="248863" indent="-248863" defTabSz="829544">
              <a:buClr>
                <a:srgbClr val="00B9FF"/>
              </a:buClr>
              <a:buFont typeface="+mj-lt"/>
              <a:buAutoNum type="arabicPeriod"/>
              <a:defRPr/>
            </a:pPr>
            <a:endParaRPr lang="en-US" sz="1452" dirty="0">
              <a:solidFill>
                <a:srgbClr val="444444"/>
              </a:solidFill>
              <a:latin typeface="Calibri" panose="020F0502020204030204"/>
              <a:ea typeface="Calibri"/>
              <a:cs typeface="Calibri"/>
              <a:sym typeface="Calibri"/>
            </a:endParaRPr>
          </a:p>
          <a:p>
            <a:pPr marL="248863" indent="-248863" defTabSz="829544">
              <a:buClr>
                <a:srgbClr val="00B9FF"/>
              </a:buClr>
              <a:buFont typeface="+mj-lt"/>
              <a:buAutoNum type="arabicPeriod"/>
              <a:defRPr/>
            </a:pPr>
            <a:endParaRPr lang="en-US" sz="1452" dirty="0">
              <a:latin typeface="Calibri" panose="020F0502020204030204"/>
              <a:ea typeface="Calibri"/>
              <a:cs typeface="Calibri"/>
              <a:sym typeface="Calibri"/>
            </a:endParaRPr>
          </a:p>
        </p:txBody>
      </p:sp>
      <p:cxnSp>
        <p:nvCxnSpPr>
          <p:cNvPr id="41" name="Straight Connector 40">
            <a:extLst>
              <a:ext uri="{FF2B5EF4-FFF2-40B4-BE49-F238E27FC236}">
                <a16:creationId xmlns:a16="http://schemas.microsoft.com/office/drawing/2014/main" id="{F3F0891B-69C2-7CDB-55E8-2DA857C8EF92}"/>
              </a:ext>
            </a:extLst>
          </p:cNvPr>
          <p:cNvCxnSpPr/>
          <p:nvPr/>
        </p:nvCxnSpPr>
        <p:spPr>
          <a:xfrm>
            <a:off x="661283" y="4722670"/>
            <a:ext cx="3266145"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05444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D9F5F52-CC27-5900-24B4-0512C41A3C3B}"/>
              </a:ext>
            </a:extLst>
          </p:cNvPr>
          <p:cNvGraphicFramePr>
            <a:graphicFrameLocks noChangeAspect="1"/>
          </p:cNvGraphicFramePr>
          <p:nvPr>
            <p:custDataLst>
              <p:tags r:id="rId1"/>
            </p:custDataLst>
            <p:extLst>
              <p:ext uri="{D42A27DB-BD31-4B8C-83A1-F6EECF244321}">
                <p14:modId xmlns:p14="http://schemas.microsoft.com/office/powerpoint/2010/main" val="3825888778"/>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ED9F5F52-CC27-5900-24B4-0512C41A3C3B}"/>
                          </a:ext>
                        </a:extLst>
                      </p:cNvPr>
                      <p:cNvPicPr/>
                      <p:nvPr/>
                    </p:nvPicPr>
                    <p:blipFill>
                      <a:blip r:embed="rId4"/>
                      <a:stretch>
                        <a:fillRect/>
                      </a:stretch>
                    </p:blipFill>
                    <p:spPr>
                      <a:xfrm>
                        <a:off x="1441" y="1531"/>
                        <a:ext cx="1441" cy="1441"/>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4C040F1-1B58-1523-9C95-6F3DAF5A1D15}"/>
              </a:ext>
            </a:extLst>
          </p:cNvPr>
          <p:cNvSpPr>
            <a:spLocks noGrp="1"/>
          </p:cNvSpPr>
          <p:nvPr>
            <p:ph type="title"/>
          </p:nvPr>
        </p:nvSpPr>
        <p:spPr>
          <a:xfrm>
            <a:off x="531814" y="560664"/>
            <a:ext cx="11089972" cy="830997"/>
          </a:xfrm>
        </p:spPr>
        <p:txBody>
          <a:bodyPr vert="horz"/>
          <a:lstStyle/>
          <a:p>
            <a:r>
              <a:rPr lang="en-US" sz="3000" dirty="0">
                <a:latin typeface="Franklin Gothic" panose="020B0604020202020204" charset="0"/>
              </a:rPr>
              <a:t>Mapping Banking Services: An Analysis of Branch Locations and Demographics</a:t>
            </a:r>
          </a:p>
        </p:txBody>
      </p:sp>
      <p:sp>
        <p:nvSpPr>
          <p:cNvPr id="46" name="Google Shape;831;p25">
            <a:extLst>
              <a:ext uri="{FF2B5EF4-FFF2-40B4-BE49-F238E27FC236}">
                <a16:creationId xmlns:a16="http://schemas.microsoft.com/office/drawing/2014/main" id="{C49CE55D-DE82-09B8-E0E5-7CF9AB18C918}"/>
              </a:ext>
            </a:extLst>
          </p:cNvPr>
          <p:cNvSpPr>
            <a:spLocks/>
          </p:cNvSpPr>
          <p:nvPr/>
        </p:nvSpPr>
        <p:spPr>
          <a:xfrm>
            <a:off x="6448052" y="1692405"/>
            <a:ext cx="5412794" cy="5065025"/>
          </a:xfrm>
          <a:prstGeom prst="roundRect">
            <a:avLst>
              <a:gd name="adj" fmla="val 6416"/>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defRPr/>
            </a:pPr>
            <a:endParaRPr lang="en-US" sz="1270" dirty="0"/>
          </a:p>
        </p:txBody>
      </p:sp>
      <p:grpSp>
        <p:nvGrpSpPr>
          <p:cNvPr id="54" name="Group 53">
            <a:extLst>
              <a:ext uri="{FF2B5EF4-FFF2-40B4-BE49-F238E27FC236}">
                <a16:creationId xmlns:a16="http://schemas.microsoft.com/office/drawing/2014/main" id="{DE6723AD-DCFA-74BA-0552-677D932EA132}"/>
              </a:ext>
            </a:extLst>
          </p:cNvPr>
          <p:cNvGrpSpPr/>
          <p:nvPr/>
        </p:nvGrpSpPr>
        <p:grpSpPr>
          <a:xfrm>
            <a:off x="11116493" y="1795347"/>
            <a:ext cx="457200" cy="457200"/>
            <a:chOff x="12254196" y="1978990"/>
            <a:chExt cx="503992" cy="503992"/>
          </a:xfrm>
        </p:grpSpPr>
        <p:sp>
          <p:nvSpPr>
            <p:cNvPr id="50" name="Google Shape;557;p30">
              <a:extLst>
                <a:ext uri="{FF2B5EF4-FFF2-40B4-BE49-F238E27FC236}">
                  <a16:creationId xmlns:a16="http://schemas.microsoft.com/office/drawing/2014/main" id="{FFE26C0A-DE4D-A856-9B50-1904F51FDD37}"/>
                </a:ext>
              </a:extLst>
            </p:cNvPr>
            <p:cNvSpPr/>
            <p:nvPr/>
          </p:nvSpPr>
          <p:spPr>
            <a:xfrm>
              <a:off x="12254196" y="1978990"/>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452">
                <a:solidFill>
                  <a:srgbClr val="FFFFFF"/>
                </a:solidFill>
                <a:latin typeface="Calibri" panose="020F0502020204030204"/>
                <a:ea typeface="Calibri"/>
                <a:cs typeface="Calibri"/>
                <a:sym typeface="Calibri"/>
              </a:endParaRPr>
            </a:p>
          </p:txBody>
        </p:sp>
        <p:pic>
          <p:nvPicPr>
            <p:cNvPr id="53" name="Graphic 52">
              <a:extLst>
                <a:ext uri="{FF2B5EF4-FFF2-40B4-BE49-F238E27FC236}">
                  <a16:creationId xmlns:a16="http://schemas.microsoft.com/office/drawing/2014/main" id="{69EA3431-EC68-E3C3-0BF1-6EB357EDD27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348755" y="2073548"/>
              <a:ext cx="314876" cy="314876"/>
            </a:xfrm>
            <a:prstGeom prst="rect">
              <a:avLst/>
            </a:prstGeom>
          </p:spPr>
        </p:pic>
      </p:grpSp>
      <p:grpSp>
        <p:nvGrpSpPr>
          <p:cNvPr id="49" name="Group 48">
            <a:extLst>
              <a:ext uri="{FF2B5EF4-FFF2-40B4-BE49-F238E27FC236}">
                <a16:creationId xmlns:a16="http://schemas.microsoft.com/office/drawing/2014/main" id="{436BAEA4-37FF-468D-A1D7-132B857F178E}"/>
              </a:ext>
            </a:extLst>
          </p:cNvPr>
          <p:cNvGrpSpPr/>
          <p:nvPr/>
        </p:nvGrpSpPr>
        <p:grpSpPr>
          <a:xfrm>
            <a:off x="499722" y="1685023"/>
            <a:ext cx="2717939" cy="4411571"/>
            <a:chOff x="550865" y="1857375"/>
            <a:chExt cx="2996103" cy="4863068"/>
          </a:xfrm>
        </p:grpSpPr>
        <p:sp>
          <p:nvSpPr>
            <p:cNvPr id="16" name="Google Shape;776;p38">
              <a:extLst>
                <a:ext uri="{FF2B5EF4-FFF2-40B4-BE49-F238E27FC236}">
                  <a16:creationId xmlns:a16="http://schemas.microsoft.com/office/drawing/2014/main" id="{9C6EF0BC-C991-FB1E-3AB0-3B644CB89957}"/>
                </a:ext>
              </a:extLst>
            </p:cNvPr>
            <p:cNvSpPr txBox="1">
              <a:spLocks/>
            </p:cNvSpPr>
            <p:nvPr/>
          </p:nvSpPr>
          <p:spPr>
            <a:xfrm>
              <a:off x="550865" y="1857375"/>
              <a:ext cx="2578416" cy="367549"/>
            </a:xfrm>
            <a:prstGeom prst="rect">
              <a:avLst/>
            </a:prstGeom>
            <a:noFill/>
            <a:ln>
              <a:noFill/>
            </a:ln>
          </p:spPr>
          <p:txBody>
            <a:bodyPr spcFirstLastPara="1" wrap="square" lIns="0" tIns="0" rIns="0" bIns="0" anchor="t" anchorCtr="0">
              <a:spAutoFit/>
            </a:bodyPr>
            <a:lstStyle/>
            <a:p>
              <a:pPr defTabSz="829544">
                <a:lnSpc>
                  <a:spcPts val="1270"/>
                </a:lnSpc>
                <a:defRPr/>
              </a:pPr>
              <a:r>
                <a:rPr lang="en-IN" sz="1270" b="1" dirty="0">
                  <a:solidFill>
                    <a:srgbClr val="444444"/>
                  </a:solidFill>
                  <a:latin typeface="Calibri"/>
                  <a:ea typeface="Calibri"/>
                  <a:cs typeface="Calibri"/>
                  <a:sym typeface="Calibri"/>
                </a:rPr>
                <a:t>Heatmap of banking agencies </a:t>
              </a:r>
              <a:br>
                <a:rPr lang="en-IN" sz="1270" b="1" dirty="0">
                  <a:solidFill>
                    <a:srgbClr val="444444"/>
                  </a:solidFill>
                  <a:latin typeface="Calibri"/>
                  <a:ea typeface="Calibri"/>
                  <a:cs typeface="Calibri"/>
                  <a:sym typeface="Calibri"/>
                </a:rPr>
              </a:br>
              <a:r>
                <a:rPr lang="en-IN" sz="1270" b="1" dirty="0">
                  <a:solidFill>
                    <a:srgbClr val="444444"/>
                  </a:solidFill>
                  <a:latin typeface="Calibri"/>
                  <a:ea typeface="Calibri"/>
                  <a:cs typeface="Calibri"/>
                  <a:sym typeface="Calibri"/>
                </a:rPr>
                <a:t>in Casablanca</a:t>
              </a:r>
              <a:endParaRPr sz="1270" dirty="0">
                <a:solidFill>
                  <a:srgbClr val="444444"/>
                </a:solidFill>
              </a:endParaRPr>
            </a:p>
          </p:txBody>
        </p:sp>
        <p:sp>
          <p:nvSpPr>
            <p:cNvPr id="18" name="Google Shape;779;p38">
              <a:extLst>
                <a:ext uri="{FF2B5EF4-FFF2-40B4-BE49-F238E27FC236}">
                  <a16:creationId xmlns:a16="http://schemas.microsoft.com/office/drawing/2014/main" id="{AAEF4E63-5EAA-8465-033E-A206606A7B43}"/>
                </a:ext>
              </a:extLst>
            </p:cNvPr>
            <p:cNvSpPr txBox="1">
              <a:spLocks/>
            </p:cNvSpPr>
            <p:nvPr/>
          </p:nvSpPr>
          <p:spPr>
            <a:xfrm>
              <a:off x="550865" y="4313928"/>
              <a:ext cx="2655942" cy="367549"/>
            </a:xfrm>
            <a:prstGeom prst="rect">
              <a:avLst/>
            </a:prstGeom>
            <a:noFill/>
            <a:ln>
              <a:noFill/>
            </a:ln>
          </p:spPr>
          <p:txBody>
            <a:bodyPr spcFirstLastPara="1" wrap="square" lIns="0" tIns="0" rIns="0" bIns="0" anchor="t" anchorCtr="0">
              <a:spAutoFit/>
            </a:bodyPr>
            <a:lstStyle/>
            <a:p>
              <a:pPr defTabSz="829544">
                <a:lnSpc>
                  <a:spcPts val="1270"/>
                </a:lnSpc>
                <a:defRPr/>
              </a:pPr>
              <a:r>
                <a:rPr lang="en-IN" sz="1270" b="1" dirty="0">
                  <a:solidFill>
                    <a:srgbClr val="444444"/>
                  </a:solidFill>
                  <a:latin typeface="Calibri"/>
                  <a:ea typeface="Calibri"/>
                  <a:cs typeface="Calibri"/>
                  <a:sym typeface="Calibri"/>
                </a:rPr>
                <a:t>Neighbourhood average price per square meter </a:t>
              </a:r>
              <a:endParaRPr sz="1270" dirty="0">
                <a:solidFill>
                  <a:srgbClr val="444444"/>
                </a:solidFill>
              </a:endParaRPr>
            </a:p>
          </p:txBody>
        </p:sp>
        <p:sp>
          <p:nvSpPr>
            <p:cNvPr id="8" name="Rectangle 7">
              <a:extLst>
                <a:ext uri="{FF2B5EF4-FFF2-40B4-BE49-F238E27FC236}">
                  <a16:creationId xmlns:a16="http://schemas.microsoft.com/office/drawing/2014/main" id="{96A11673-75A0-2C90-3565-80892EB08E52}"/>
                </a:ext>
              </a:extLst>
            </p:cNvPr>
            <p:cNvSpPr>
              <a:spLocks/>
            </p:cNvSpPr>
            <p:nvPr/>
          </p:nvSpPr>
          <p:spPr>
            <a:xfrm>
              <a:off x="550865" y="2266487"/>
              <a:ext cx="2996103" cy="1997402"/>
            </a:xfrm>
            <a:prstGeom prst="rect">
              <a:avLst/>
            </a:prstGeom>
            <a:blipFill>
              <a:blip r:embed="rId7">
                <a:extLst>
                  <a:ext uri="{28A0092B-C50C-407E-A947-70E740481C1C}">
                    <a14:useLocalDpi xmlns:a14="http://schemas.microsoft.com/office/drawing/2010/main" val="0"/>
                  </a:ext>
                </a:extLst>
              </a:blip>
              <a:srcRect/>
              <a:stretch>
                <a:fillRect/>
              </a:stretch>
            </a:blip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defRPr/>
              </a:pPr>
              <a:endParaRPr lang="en-AE" sz="1270">
                <a:solidFill>
                  <a:srgbClr val="FFFFFF"/>
                </a:solidFill>
                <a:latin typeface="Calibri" panose="020F0502020204030204"/>
              </a:endParaRPr>
            </a:p>
          </p:txBody>
        </p:sp>
        <p:sp>
          <p:nvSpPr>
            <p:cNvPr id="10" name="Rectangle 9">
              <a:extLst>
                <a:ext uri="{FF2B5EF4-FFF2-40B4-BE49-F238E27FC236}">
                  <a16:creationId xmlns:a16="http://schemas.microsoft.com/office/drawing/2014/main" id="{43E4A258-EB9B-65CC-81FB-0D59CD1003DA}"/>
                </a:ext>
              </a:extLst>
            </p:cNvPr>
            <p:cNvSpPr>
              <a:spLocks/>
            </p:cNvSpPr>
            <p:nvPr/>
          </p:nvSpPr>
          <p:spPr>
            <a:xfrm>
              <a:off x="550865" y="4723041"/>
              <a:ext cx="2996103" cy="1997402"/>
            </a:xfrm>
            <a:prstGeom prst="rect">
              <a:avLst/>
            </a:prstGeom>
            <a:blipFill>
              <a:blip r:embed="rId8">
                <a:extLst>
                  <a:ext uri="{28A0092B-C50C-407E-A947-70E740481C1C}">
                    <a14:useLocalDpi xmlns:a14="http://schemas.microsoft.com/office/drawing/2010/main" val="0"/>
                  </a:ext>
                </a:extLst>
              </a:blip>
              <a:stretch>
                <a:fillRect/>
              </a:stretch>
            </a:blip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defRPr/>
              </a:pPr>
              <a:r>
                <a:rPr lang="en-US" sz="1270" dirty="0">
                  <a:solidFill>
                    <a:srgbClr val="FFFFFF"/>
                  </a:solidFill>
                  <a:latin typeface="Calibri" panose="020F0502020204030204"/>
                </a:rPr>
                <a:t>+</a:t>
              </a:r>
              <a:endParaRPr lang="en-AE" sz="1270" dirty="0">
                <a:solidFill>
                  <a:srgbClr val="FFFFFF"/>
                </a:solidFill>
                <a:latin typeface="Calibri" panose="020F0502020204030204"/>
              </a:endParaRPr>
            </a:p>
          </p:txBody>
        </p:sp>
      </p:grpSp>
      <p:grpSp>
        <p:nvGrpSpPr>
          <p:cNvPr id="51" name="Group 50">
            <a:extLst>
              <a:ext uri="{FF2B5EF4-FFF2-40B4-BE49-F238E27FC236}">
                <a16:creationId xmlns:a16="http://schemas.microsoft.com/office/drawing/2014/main" id="{C8A599BC-9E81-9704-4C68-01BCFECB8957}"/>
              </a:ext>
            </a:extLst>
          </p:cNvPr>
          <p:cNvGrpSpPr/>
          <p:nvPr/>
        </p:nvGrpSpPr>
        <p:grpSpPr>
          <a:xfrm>
            <a:off x="3264829" y="1685023"/>
            <a:ext cx="2732748" cy="4735076"/>
            <a:chOff x="3706086" y="1857375"/>
            <a:chExt cx="3012428" cy="5219681"/>
          </a:xfrm>
        </p:grpSpPr>
        <p:sp>
          <p:nvSpPr>
            <p:cNvPr id="17" name="Google Shape;778;p38">
              <a:extLst>
                <a:ext uri="{FF2B5EF4-FFF2-40B4-BE49-F238E27FC236}">
                  <a16:creationId xmlns:a16="http://schemas.microsoft.com/office/drawing/2014/main" id="{5B3334A1-087B-78DA-A394-D5DCAA3DA8D8}"/>
                </a:ext>
              </a:extLst>
            </p:cNvPr>
            <p:cNvSpPr txBox="1">
              <a:spLocks/>
            </p:cNvSpPr>
            <p:nvPr/>
          </p:nvSpPr>
          <p:spPr>
            <a:xfrm>
              <a:off x="3706086" y="1857375"/>
              <a:ext cx="1751608" cy="367549"/>
            </a:xfrm>
            <a:prstGeom prst="rect">
              <a:avLst/>
            </a:prstGeom>
            <a:noFill/>
            <a:ln>
              <a:noFill/>
            </a:ln>
          </p:spPr>
          <p:txBody>
            <a:bodyPr spcFirstLastPara="1" wrap="square" lIns="0" tIns="0" rIns="0" bIns="0" anchor="t" anchorCtr="0">
              <a:spAutoFit/>
            </a:bodyPr>
            <a:lstStyle/>
            <a:p>
              <a:pPr defTabSz="829544">
                <a:lnSpc>
                  <a:spcPts val="1270"/>
                </a:lnSpc>
                <a:defRPr/>
              </a:pPr>
              <a:r>
                <a:rPr lang="en-IN" sz="1270" b="1" dirty="0">
                  <a:solidFill>
                    <a:srgbClr val="444444"/>
                  </a:solidFill>
                  <a:latin typeface="Calibri"/>
                  <a:ea typeface="Calibri"/>
                  <a:cs typeface="Calibri"/>
                  <a:sym typeface="Calibri"/>
                </a:rPr>
                <a:t>Districts’ Socio-demographic data</a:t>
              </a:r>
              <a:endParaRPr sz="1270" dirty="0">
                <a:solidFill>
                  <a:srgbClr val="444444"/>
                </a:solidFill>
              </a:endParaRPr>
            </a:p>
          </p:txBody>
        </p:sp>
        <p:sp>
          <p:nvSpPr>
            <p:cNvPr id="19" name="Google Shape;780;p38">
              <a:extLst>
                <a:ext uri="{FF2B5EF4-FFF2-40B4-BE49-F238E27FC236}">
                  <a16:creationId xmlns:a16="http://schemas.microsoft.com/office/drawing/2014/main" id="{8837B564-BE40-2A3D-DF7C-7DC0BCBB460A}"/>
                </a:ext>
              </a:extLst>
            </p:cNvPr>
            <p:cNvSpPr txBox="1">
              <a:spLocks/>
            </p:cNvSpPr>
            <p:nvPr/>
          </p:nvSpPr>
          <p:spPr>
            <a:xfrm>
              <a:off x="3706086" y="4313928"/>
              <a:ext cx="2578416" cy="367549"/>
            </a:xfrm>
            <a:prstGeom prst="rect">
              <a:avLst/>
            </a:prstGeom>
            <a:noFill/>
            <a:ln>
              <a:noFill/>
            </a:ln>
          </p:spPr>
          <p:txBody>
            <a:bodyPr spcFirstLastPara="1" wrap="square" lIns="0" tIns="0" rIns="0" bIns="0" anchor="t" anchorCtr="0">
              <a:spAutoFit/>
            </a:bodyPr>
            <a:lstStyle/>
            <a:p>
              <a:pPr defTabSz="829544">
                <a:lnSpc>
                  <a:spcPts val="1270"/>
                </a:lnSpc>
                <a:defRPr/>
              </a:pPr>
              <a:r>
                <a:rPr lang="en-IN" sz="1270" b="1" dirty="0">
                  <a:solidFill>
                    <a:srgbClr val="444444"/>
                  </a:solidFill>
                  <a:latin typeface="Calibri"/>
                  <a:ea typeface="Calibri"/>
                  <a:cs typeface="Calibri"/>
                  <a:sym typeface="Calibri"/>
                </a:rPr>
                <a:t>Enhanced Map with all information collected </a:t>
              </a:r>
              <a:endParaRPr sz="1270" dirty="0">
                <a:solidFill>
                  <a:srgbClr val="444444"/>
                </a:solidFill>
              </a:endParaRPr>
            </a:p>
          </p:txBody>
        </p:sp>
        <p:grpSp>
          <p:nvGrpSpPr>
            <p:cNvPr id="35" name="Group 34">
              <a:extLst>
                <a:ext uri="{FF2B5EF4-FFF2-40B4-BE49-F238E27FC236}">
                  <a16:creationId xmlns:a16="http://schemas.microsoft.com/office/drawing/2014/main" id="{320B47E1-E49A-F817-1DE3-515FD0456616}"/>
                </a:ext>
              </a:extLst>
            </p:cNvPr>
            <p:cNvGrpSpPr/>
            <p:nvPr/>
          </p:nvGrpSpPr>
          <p:grpSpPr>
            <a:xfrm>
              <a:off x="3747189" y="6684249"/>
              <a:ext cx="2971325" cy="392807"/>
              <a:chOff x="4084568" y="6612765"/>
              <a:chExt cx="2971325" cy="392807"/>
            </a:xfrm>
          </p:grpSpPr>
          <p:sp>
            <p:nvSpPr>
              <p:cNvPr id="30" name="Google Shape;786;p38">
                <a:extLst>
                  <a:ext uri="{FF2B5EF4-FFF2-40B4-BE49-F238E27FC236}">
                    <a16:creationId xmlns:a16="http://schemas.microsoft.com/office/drawing/2014/main" id="{6383314C-0EA9-343A-02D9-81E8BC6A019A}"/>
                  </a:ext>
                </a:extLst>
              </p:cNvPr>
              <p:cNvSpPr txBox="1">
                <a:spLocks/>
              </p:cNvSpPr>
              <p:nvPr/>
            </p:nvSpPr>
            <p:spPr>
              <a:xfrm>
                <a:off x="5228797" y="6612765"/>
                <a:ext cx="774529" cy="392807"/>
              </a:xfrm>
              <a:prstGeom prst="rect">
                <a:avLst/>
              </a:prstGeom>
              <a:noFill/>
              <a:ln>
                <a:noFill/>
              </a:ln>
            </p:spPr>
            <p:txBody>
              <a:bodyPr spcFirstLastPara="1" wrap="square" lIns="104253" tIns="52113" rIns="104253" bIns="52113" anchor="t" anchorCtr="0">
                <a:spAutoFit/>
              </a:bodyPr>
              <a:lstStyle/>
              <a:p>
                <a:pPr defTabSz="829544">
                  <a:defRPr/>
                </a:pPr>
                <a:r>
                  <a:rPr lang="en-IN" sz="816" dirty="0">
                    <a:solidFill>
                      <a:srgbClr val="444444"/>
                    </a:solidFill>
                    <a:latin typeface="Calibri"/>
                    <a:ea typeface="Calibri"/>
                    <a:cs typeface="Calibri"/>
                    <a:sym typeface="Calibri"/>
                  </a:rPr>
                  <a:t>Banque Populaire</a:t>
                </a:r>
                <a:endParaRPr sz="816" dirty="0">
                  <a:solidFill>
                    <a:srgbClr val="444444"/>
                  </a:solidFill>
                </a:endParaRPr>
              </a:p>
            </p:txBody>
          </p:sp>
          <p:sp>
            <p:nvSpPr>
              <p:cNvPr id="31" name="Google Shape;787;p38">
                <a:extLst>
                  <a:ext uri="{FF2B5EF4-FFF2-40B4-BE49-F238E27FC236}">
                    <a16:creationId xmlns:a16="http://schemas.microsoft.com/office/drawing/2014/main" id="{F770FB86-2248-DAEC-FFF5-DC2E6F6A249E}"/>
                  </a:ext>
                </a:extLst>
              </p:cNvPr>
              <p:cNvSpPr/>
              <p:nvPr/>
            </p:nvSpPr>
            <p:spPr>
              <a:xfrm rot="10800000">
                <a:off x="5078457" y="6723138"/>
                <a:ext cx="172267" cy="172266"/>
              </a:xfrm>
              <a:prstGeom prst="rect">
                <a:avLst/>
              </a:prstGeom>
              <a:solidFill>
                <a:srgbClr val="FFFF00"/>
              </a:solidFill>
              <a:ln>
                <a:noFill/>
              </a:ln>
            </p:spPr>
            <p:txBody>
              <a:bodyPr spcFirstLastPara="1" wrap="square" lIns="104253" tIns="52113" rIns="104253" bIns="52113" anchor="ctr" anchorCtr="0">
                <a:noAutofit/>
              </a:bodyPr>
              <a:lstStyle/>
              <a:p>
                <a:pPr algn="ctr" defTabSz="829544">
                  <a:defRPr/>
                </a:pPr>
                <a:endParaRPr sz="1597">
                  <a:solidFill>
                    <a:srgbClr val="444444"/>
                  </a:solidFill>
                </a:endParaRPr>
              </a:p>
            </p:txBody>
          </p:sp>
          <p:sp>
            <p:nvSpPr>
              <p:cNvPr id="28" name="Google Shape;789;p38">
                <a:extLst>
                  <a:ext uri="{FF2B5EF4-FFF2-40B4-BE49-F238E27FC236}">
                    <a16:creationId xmlns:a16="http://schemas.microsoft.com/office/drawing/2014/main" id="{0ECF3CE9-28D1-0E94-A123-1D7F37F16AA1}"/>
                  </a:ext>
                </a:extLst>
              </p:cNvPr>
              <p:cNvSpPr/>
              <p:nvPr/>
            </p:nvSpPr>
            <p:spPr>
              <a:xfrm>
                <a:off x="6154795" y="6723138"/>
                <a:ext cx="172267" cy="172267"/>
              </a:xfrm>
              <a:prstGeom prst="rect">
                <a:avLst/>
              </a:prstGeom>
              <a:solidFill>
                <a:schemeClr val="dk2"/>
              </a:solidFill>
              <a:ln>
                <a:noFill/>
              </a:ln>
            </p:spPr>
            <p:txBody>
              <a:bodyPr spcFirstLastPara="1" wrap="square" lIns="104253" tIns="52113" rIns="104253" bIns="52113" anchor="ctr" anchorCtr="0">
                <a:noAutofit/>
              </a:bodyPr>
              <a:lstStyle/>
              <a:p>
                <a:pPr algn="ctr" defTabSz="829544">
                  <a:defRPr/>
                </a:pPr>
                <a:endParaRPr sz="1597">
                  <a:solidFill>
                    <a:srgbClr val="444444"/>
                  </a:solidFill>
                </a:endParaRPr>
              </a:p>
            </p:txBody>
          </p:sp>
          <p:sp>
            <p:nvSpPr>
              <p:cNvPr id="29" name="Google Shape;790;p38">
                <a:extLst>
                  <a:ext uri="{FF2B5EF4-FFF2-40B4-BE49-F238E27FC236}">
                    <a16:creationId xmlns:a16="http://schemas.microsoft.com/office/drawing/2014/main" id="{50EC2647-79BA-78F9-B52D-418C5C69224D}"/>
                  </a:ext>
                </a:extLst>
              </p:cNvPr>
              <p:cNvSpPr txBox="1"/>
              <p:nvPr/>
            </p:nvSpPr>
            <p:spPr>
              <a:xfrm>
                <a:off x="6312762" y="6612765"/>
                <a:ext cx="743131" cy="392807"/>
              </a:xfrm>
              <a:prstGeom prst="rect">
                <a:avLst/>
              </a:prstGeom>
              <a:noFill/>
              <a:ln>
                <a:noFill/>
              </a:ln>
            </p:spPr>
            <p:txBody>
              <a:bodyPr spcFirstLastPara="1" wrap="square" lIns="104253" tIns="52113" rIns="104253" bIns="52113" anchor="t" anchorCtr="0">
                <a:spAutoFit/>
              </a:bodyPr>
              <a:lstStyle/>
              <a:p>
                <a:pPr defTabSz="829544">
                  <a:defRPr/>
                </a:pPr>
                <a:r>
                  <a:rPr lang="en-IN" sz="816" dirty="0">
                    <a:solidFill>
                      <a:srgbClr val="444444"/>
                    </a:solidFill>
                    <a:latin typeface="Calibri"/>
                    <a:ea typeface="Calibri"/>
                    <a:cs typeface="Calibri"/>
                    <a:sym typeface="Calibri"/>
                  </a:rPr>
                  <a:t>Bank </a:t>
                </a:r>
                <a:br>
                  <a:rPr lang="en-IN" sz="816" dirty="0">
                    <a:solidFill>
                      <a:srgbClr val="444444"/>
                    </a:solidFill>
                    <a:latin typeface="Calibri"/>
                    <a:ea typeface="Calibri"/>
                    <a:cs typeface="Calibri"/>
                    <a:sym typeface="Calibri"/>
                  </a:rPr>
                </a:br>
                <a:r>
                  <a:rPr lang="en-IN" sz="816" dirty="0">
                    <a:solidFill>
                      <a:srgbClr val="444444"/>
                    </a:solidFill>
                    <a:latin typeface="Calibri"/>
                    <a:ea typeface="Calibri"/>
                    <a:cs typeface="Calibri"/>
                    <a:sym typeface="Calibri"/>
                  </a:rPr>
                  <a:t>of Africa</a:t>
                </a:r>
                <a:endParaRPr sz="816" dirty="0">
                  <a:solidFill>
                    <a:srgbClr val="444444"/>
                  </a:solidFill>
                </a:endParaRPr>
              </a:p>
            </p:txBody>
          </p:sp>
          <p:sp>
            <p:nvSpPr>
              <p:cNvPr id="26" name="Google Shape;792;p38">
                <a:extLst>
                  <a:ext uri="{FF2B5EF4-FFF2-40B4-BE49-F238E27FC236}">
                    <a16:creationId xmlns:a16="http://schemas.microsoft.com/office/drawing/2014/main" id="{61ECD38E-1EBE-3D4C-A19C-703AA03E105C}"/>
                  </a:ext>
                </a:extLst>
              </p:cNvPr>
              <p:cNvSpPr/>
              <p:nvPr/>
            </p:nvSpPr>
            <p:spPr>
              <a:xfrm>
                <a:off x="4084568" y="6723138"/>
                <a:ext cx="172267" cy="172266"/>
              </a:xfrm>
              <a:prstGeom prst="rect">
                <a:avLst/>
              </a:prstGeom>
              <a:solidFill>
                <a:srgbClr val="FFC000"/>
              </a:solidFill>
              <a:ln>
                <a:noFill/>
              </a:ln>
            </p:spPr>
            <p:txBody>
              <a:bodyPr spcFirstLastPara="1" wrap="square" lIns="104253" tIns="52113" rIns="104253" bIns="52113" anchor="ctr" anchorCtr="0">
                <a:noAutofit/>
              </a:bodyPr>
              <a:lstStyle/>
              <a:p>
                <a:pPr algn="ctr" defTabSz="829544">
                  <a:defRPr/>
                </a:pPr>
                <a:endParaRPr sz="1597">
                  <a:solidFill>
                    <a:srgbClr val="444444"/>
                  </a:solidFill>
                </a:endParaRPr>
              </a:p>
            </p:txBody>
          </p:sp>
          <p:sp>
            <p:nvSpPr>
              <p:cNvPr id="27" name="Google Shape;793;p38">
                <a:extLst>
                  <a:ext uri="{FF2B5EF4-FFF2-40B4-BE49-F238E27FC236}">
                    <a16:creationId xmlns:a16="http://schemas.microsoft.com/office/drawing/2014/main" id="{254944D8-371E-CDF9-43AE-D9FF49A18286}"/>
                  </a:ext>
                </a:extLst>
              </p:cNvPr>
              <p:cNvSpPr txBox="1">
                <a:spLocks/>
              </p:cNvSpPr>
              <p:nvPr/>
            </p:nvSpPr>
            <p:spPr>
              <a:xfrm>
                <a:off x="4226143" y="6612765"/>
                <a:ext cx="797459" cy="392807"/>
              </a:xfrm>
              <a:prstGeom prst="rect">
                <a:avLst/>
              </a:prstGeom>
              <a:noFill/>
              <a:ln>
                <a:noFill/>
              </a:ln>
            </p:spPr>
            <p:txBody>
              <a:bodyPr spcFirstLastPara="1" wrap="square" lIns="104253" tIns="52113" rIns="104253" bIns="52113" anchor="t" anchorCtr="0">
                <a:spAutoFit/>
              </a:bodyPr>
              <a:lstStyle/>
              <a:p>
                <a:pPr defTabSz="829544">
                  <a:defRPr/>
                </a:pPr>
                <a:r>
                  <a:rPr lang="en-IN" sz="816" dirty="0" err="1">
                    <a:solidFill>
                      <a:srgbClr val="444444"/>
                    </a:solidFill>
                    <a:latin typeface="Calibri"/>
                    <a:ea typeface="Calibri"/>
                    <a:cs typeface="Calibri"/>
                    <a:sym typeface="Calibri"/>
                  </a:rPr>
                  <a:t>Attijariwafa</a:t>
                </a:r>
                <a:r>
                  <a:rPr lang="en-IN" sz="816" dirty="0">
                    <a:solidFill>
                      <a:srgbClr val="444444"/>
                    </a:solidFill>
                    <a:latin typeface="Calibri"/>
                    <a:ea typeface="Calibri"/>
                    <a:cs typeface="Calibri"/>
                    <a:sym typeface="Calibri"/>
                  </a:rPr>
                  <a:t> Bank</a:t>
                </a:r>
                <a:endParaRPr sz="816" dirty="0">
                  <a:solidFill>
                    <a:srgbClr val="444444"/>
                  </a:solidFill>
                </a:endParaRPr>
              </a:p>
            </p:txBody>
          </p:sp>
        </p:grpSp>
        <p:sp>
          <p:nvSpPr>
            <p:cNvPr id="9" name="Rectangle 8">
              <a:extLst>
                <a:ext uri="{FF2B5EF4-FFF2-40B4-BE49-F238E27FC236}">
                  <a16:creationId xmlns:a16="http://schemas.microsoft.com/office/drawing/2014/main" id="{9003E4BA-95D4-82FB-747E-A21CC767AC1F}"/>
                </a:ext>
              </a:extLst>
            </p:cNvPr>
            <p:cNvSpPr>
              <a:spLocks/>
            </p:cNvSpPr>
            <p:nvPr/>
          </p:nvSpPr>
          <p:spPr>
            <a:xfrm>
              <a:off x="3706086" y="2266487"/>
              <a:ext cx="2996103" cy="1997402"/>
            </a:xfrm>
            <a:prstGeom prst="rect">
              <a:avLst/>
            </a:prstGeom>
            <a:blipFill>
              <a:blip r:embed="rId8">
                <a:extLst>
                  <a:ext uri="{28A0092B-C50C-407E-A947-70E740481C1C}">
                    <a14:useLocalDpi xmlns:a14="http://schemas.microsoft.com/office/drawing/2010/main" val="0"/>
                  </a:ext>
                </a:extLst>
              </a:blip>
              <a:srcRect/>
              <a:stretch>
                <a:fillRect/>
              </a:stretch>
            </a:blip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defRPr/>
              </a:pPr>
              <a:endParaRPr lang="en-AE" sz="1270">
                <a:solidFill>
                  <a:srgbClr val="FFFFFF"/>
                </a:solidFill>
                <a:latin typeface="Calibri" panose="020F0502020204030204"/>
              </a:endParaRPr>
            </a:p>
          </p:txBody>
        </p:sp>
        <p:sp>
          <p:nvSpPr>
            <p:cNvPr id="11" name="Rectangle 10">
              <a:extLst>
                <a:ext uri="{FF2B5EF4-FFF2-40B4-BE49-F238E27FC236}">
                  <a16:creationId xmlns:a16="http://schemas.microsoft.com/office/drawing/2014/main" id="{5BCBE108-CDF5-CA65-5556-B89F64C20409}"/>
                </a:ext>
              </a:extLst>
            </p:cNvPr>
            <p:cNvSpPr>
              <a:spLocks/>
            </p:cNvSpPr>
            <p:nvPr/>
          </p:nvSpPr>
          <p:spPr>
            <a:xfrm>
              <a:off x="3706086" y="4723041"/>
              <a:ext cx="2996103" cy="1997402"/>
            </a:xfrm>
            <a:prstGeom prst="rect">
              <a:avLst/>
            </a:prstGeom>
            <a:blipFill>
              <a:blip r:embed="rId9">
                <a:extLst>
                  <a:ext uri="{28A0092B-C50C-407E-A947-70E740481C1C}">
                    <a14:useLocalDpi xmlns:a14="http://schemas.microsoft.com/office/drawing/2010/main" val="0"/>
                  </a:ext>
                </a:extLst>
              </a:blip>
              <a:srcRect/>
              <a:stretch>
                <a:fillRect/>
              </a:stretch>
            </a:blip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defRPr/>
              </a:pPr>
              <a:endParaRPr lang="en-AE" sz="1270">
                <a:solidFill>
                  <a:srgbClr val="FFFFFF"/>
                </a:solidFill>
                <a:latin typeface="Calibri" panose="020F0502020204030204"/>
              </a:endParaRPr>
            </a:p>
          </p:txBody>
        </p:sp>
      </p:grpSp>
      <p:grpSp>
        <p:nvGrpSpPr>
          <p:cNvPr id="40" name="Group 39">
            <a:extLst>
              <a:ext uri="{FF2B5EF4-FFF2-40B4-BE49-F238E27FC236}">
                <a16:creationId xmlns:a16="http://schemas.microsoft.com/office/drawing/2014/main" id="{64465ADF-0D8E-0057-22AF-BA8FF5DFD25F}"/>
              </a:ext>
            </a:extLst>
          </p:cNvPr>
          <p:cNvGrpSpPr/>
          <p:nvPr/>
        </p:nvGrpSpPr>
        <p:grpSpPr>
          <a:xfrm>
            <a:off x="6044745" y="1685022"/>
            <a:ext cx="356140" cy="4650127"/>
            <a:chOff x="7050969" y="1857374"/>
            <a:chExt cx="392589" cy="5126038"/>
          </a:xfrm>
        </p:grpSpPr>
        <p:cxnSp>
          <p:nvCxnSpPr>
            <p:cNvPr id="12" name="Google Shape;526;p13">
              <a:extLst>
                <a:ext uri="{FF2B5EF4-FFF2-40B4-BE49-F238E27FC236}">
                  <a16:creationId xmlns:a16="http://schemas.microsoft.com/office/drawing/2014/main" id="{9C861035-DDD3-D83A-3AB6-0C2EF2C61393}"/>
                </a:ext>
              </a:extLst>
            </p:cNvPr>
            <p:cNvCxnSpPr>
              <a:cxnSpLocks/>
            </p:cNvCxnSpPr>
            <p:nvPr/>
          </p:nvCxnSpPr>
          <p:spPr>
            <a:xfrm>
              <a:off x="7284133" y="1857374"/>
              <a:ext cx="0" cy="5126038"/>
            </a:xfrm>
            <a:prstGeom prst="straightConnector1">
              <a:avLst/>
            </a:prstGeom>
            <a:noFill/>
            <a:ln w="19050" cap="flat" cmpd="sng">
              <a:solidFill>
                <a:schemeClr val="tx2"/>
              </a:solidFill>
              <a:prstDash val="solid"/>
              <a:miter lim="800000"/>
              <a:headEnd type="none" w="sm" len="sm"/>
              <a:tailEnd type="none" w="sm" len="sm"/>
            </a:ln>
          </p:spPr>
        </p:cxnSp>
        <p:grpSp>
          <p:nvGrpSpPr>
            <p:cNvPr id="13" name="Group 12">
              <a:extLst>
                <a:ext uri="{FF2B5EF4-FFF2-40B4-BE49-F238E27FC236}">
                  <a16:creationId xmlns:a16="http://schemas.microsoft.com/office/drawing/2014/main" id="{49C5F0A1-99B1-5796-7DFB-800CD6179033}"/>
                </a:ext>
              </a:extLst>
            </p:cNvPr>
            <p:cNvGrpSpPr/>
            <p:nvPr/>
          </p:nvGrpSpPr>
          <p:grpSpPr>
            <a:xfrm>
              <a:off x="7050969" y="4224098"/>
              <a:ext cx="392589" cy="392589"/>
              <a:chOff x="550863" y="2496471"/>
              <a:chExt cx="360000" cy="360000"/>
            </a:xfrm>
          </p:grpSpPr>
          <p:sp>
            <p:nvSpPr>
              <p:cNvPr id="22" name="Oval 21">
                <a:extLst>
                  <a:ext uri="{FF2B5EF4-FFF2-40B4-BE49-F238E27FC236}">
                    <a16:creationId xmlns:a16="http://schemas.microsoft.com/office/drawing/2014/main" id="{50F1CF8C-1E6E-B917-1B08-6DD7AB9C1B25}"/>
                  </a:ext>
                </a:extLst>
              </p:cNvPr>
              <p:cNvSpPr/>
              <p:nvPr/>
            </p:nvSpPr>
            <p:spPr>
              <a:xfrm>
                <a:off x="564471" y="2510081"/>
                <a:ext cx="332784" cy="332784"/>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defRPr/>
                </a:pPr>
                <a:endParaRPr lang="en-IN" sz="1270">
                  <a:solidFill>
                    <a:srgbClr val="FFFFFF"/>
                  </a:solidFill>
                  <a:latin typeface="Calibri" panose="020F0502020204030204"/>
                </a:endParaRPr>
              </a:p>
            </p:txBody>
          </p:sp>
          <p:pic>
            <p:nvPicPr>
              <p:cNvPr id="23" name="Graphic 22">
                <a:extLst>
                  <a:ext uri="{FF2B5EF4-FFF2-40B4-BE49-F238E27FC236}">
                    <a16:creationId xmlns:a16="http://schemas.microsoft.com/office/drawing/2014/main" id="{F1361952-D65C-2F5C-2CE6-6668714DB0F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0863" y="2496471"/>
                <a:ext cx="360000" cy="360000"/>
              </a:xfrm>
              <a:prstGeom prst="rect">
                <a:avLst/>
              </a:prstGeom>
            </p:spPr>
          </p:pic>
        </p:grpSp>
      </p:grpSp>
      <p:sp>
        <p:nvSpPr>
          <p:cNvPr id="2" name="TextBox 1">
            <a:extLst>
              <a:ext uri="{FF2B5EF4-FFF2-40B4-BE49-F238E27FC236}">
                <a16:creationId xmlns:a16="http://schemas.microsoft.com/office/drawing/2014/main" id="{E76F7BE8-8DA3-05E3-139A-134159E51CE2}"/>
              </a:ext>
            </a:extLst>
          </p:cNvPr>
          <p:cNvSpPr txBox="1"/>
          <p:nvPr/>
        </p:nvSpPr>
        <p:spPr>
          <a:xfrm>
            <a:off x="6598940" y="2305473"/>
            <a:ext cx="5173737" cy="4211730"/>
          </a:xfrm>
          <a:prstGeom prst="rect">
            <a:avLst/>
          </a:prstGeom>
          <a:noFill/>
        </p:spPr>
        <p:txBody>
          <a:bodyPr wrap="square">
            <a:spAutoFit/>
          </a:bodyPr>
          <a:lstStyle/>
          <a:p>
            <a:pPr defTabSz="829544">
              <a:defRPr/>
            </a:pPr>
            <a:r>
              <a:rPr lang="en-US" sz="1452" b="1" dirty="0">
                <a:latin typeface="Calibri" panose="020F0502020204030204"/>
              </a:rPr>
              <a:t>Branch Location Data</a:t>
            </a:r>
            <a:r>
              <a:rPr lang="en-US" sz="1452" dirty="0">
                <a:latin typeface="Calibri" panose="020F0502020204030204"/>
              </a:rPr>
              <a:t>: Using Google API to collect up-to-date information on branch locations.</a:t>
            </a:r>
          </a:p>
          <a:p>
            <a:pPr defTabSz="829544">
              <a:spcBef>
                <a:spcPts val="544"/>
              </a:spcBef>
              <a:defRPr/>
            </a:pPr>
            <a:r>
              <a:rPr lang="en-US" sz="1452" b="1" dirty="0">
                <a:latin typeface="Calibri" panose="020F0502020204030204"/>
              </a:rPr>
              <a:t>Socio-demographic Data</a:t>
            </a:r>
            <a:r>
              <a:rPr lang="en-US" sz="1452" dirty="0">
                <a:latin typeface="Calibri" panose="020F0502020204030204"/>
              </a:rPr>
              <a:t>: Gathering socio-demographic data from the economic government agency website, leveraging GeoJsons and GeoDataFrames for city districts' insights</a:t>
            </a:r>
          </a:p>
          <a:p>
            <a:pPr defTabSz="829544">
              <a:spcBef>
                <a:spcPts val="544"/>
              </a:spcBef>
              <a:defRPr/>
            </a:pPr>
            <a:r>
              <a:rPr lang="en-US" sz="1452" b="1" dirty="0">
                <a:latin typeface="Calibri" panose="020F0502020204030204"/>
              </a:rPr>
              <a:t>Micro Zone Analysis</a:t>
            </a:r>
            <a:r>
              <a:rPr lang="en-US" sz="1452" dirty="0">
                <a:latin typeface="Calibri" panose="020F0502020204030204"/>
              </a:rPr>
              <a:t>: Dividing the city map into +150 micro zones for localized view. Average price per square meter data collected from biggest Moroccan FSBO website through web scraping and fuzzy matching.</a:t>
            </a:r>
          </a:p>
          <a:p>
            <a:pPr defTabSz="829544">
              <a:spcBef>
                <a:spcPts val="544"/>
              </a:spcBef>
              <a:defRPr/>
            </a:pPr>
            <a:r>
              <a:rPr lang="en-US" sz="1452" b="1" dirty="0">
                <a:latin typeface="Calibri" panose="020F0502020204030204"/>
              </a:rPr>
              <a:t>Traffic Sign Proxies</a:t>
            </a:r>
            <a:r>
              <a:rPr lang="en-US" sz="1452" dirty="0">
                <a:latin typeface="Calibri" panose="020F0502020204030204"/>
              </a:rPr>
              <a:t>: Development of Two traffic sign proxies within 300m radius of each branch for capturing relevant information.</a:t>
            </a:r>
          </a:p>
          <a:p>
            <a:pPr defTabSz="829544">
              <a:spcBef>
                <a:spcPts val="544"/>
              </a:spcBef>
              <a:defRPr/>
            </a:pPr>
            <a:r>
              <a:rPr lang="en-US" sz="1452" b="1" dirty="0">
                <a:latin typeface="Calibri" panose="020F0502020204030204"/>
              </a:rPr>
              <a:t>Restaurant Data</a:t>
            </a:r>
            <a:r>
              <a:rPr lang="en-US" sz="1452" dirty="0">
                <a:latin typeface="Calibri" panose="020F0502020204030204"/>
              </a:rPr>
              <a:t>: Leveraging </a:t>
            </a:r>
            <a:r>
              <a:rPr lang="en-US" sz="1452" dirty="0">
                <a:solidFill>
                  <a:srgbClr val="374151"/>
                </a:solidFill>
                <a:latin typeface="Calibri" panose="020F0502020204030204"/>
              </a:rPr>
              <a:t>Google API to collect restaurant data near each branch, aiding local environment analysis.</a:t>
            </a:r>
          </a:p>
          <a:p>
            <a:pPr defTabSz="829544">
              <a:spcBef>
                <a:spcPts val="544"/>
              </a:spcBef>
              <a:defRPr/>
            </a:pPr>
            <a:r>
              <a:rPr lang="en-US" sz="1452" b="1" dirty="0">
                <a:latin typeface="Calibri" panose="020F0502020204030204"/>
              </a:rPr>
              <a:t>Surface Share of Built Constructions</a:t>
            </a:r>
            <a:r>
              <a:rPr lang="en-US" sz="1452" dirty="0">
                <a:latin typeface="Calibri" panose="020F0502020204030204"/>
              </a:rPr>
              <a:t>: Calculating surface share of built constructions using ESA World Cover program and high-resolution land cover map</a:t>
            </a:r>
          </a:p>
        </p:txBody>
      </p:sp>
      <p:sp>
        <p:nvSpPr>
          <p:cNvPr id="14" name="Google Shape;545;p30">
            <a:extLst>
              <a:ext uri="{FF2B5EF4-FFF2-40B4-BE49-F238E27FC236}">
                <a16:creationId xmlns:a16="http://schemas.microsoft.com/office/drawing/2014/main" id="{8F4954CD-FEDA-BF62-935E-AF2EF2D1EDBF}"/>
              </a:ext>
            </a:extLst>
          </p:cNvPr>
          <p:cNvSpPr>
            <a:spLocks/>
          </p:cNvSpPr>
          <p:nvPr/>
        </p:nvSpPr>
        <p:spPr>
          <a:xfrm>
            <a:off x="6467779" y="1600928"/>
            <a:ext cx="5393067" cy="716854"/>
          </a:xfrm>
          <a:prstGeom prst="round2SameRect">
            <a:avLst/>
          </a:prstGeom>
          <a:gradFill flip="none" rotWithShape="1">
            <a:gsLst>
              <a:gs pos="16000">
                <a:srgbClr val="0F47F2">
                  <a:lumMod val="50000"/>
                </a:srgbClr>
              </a:gs>
              <a:gs pos="46000">
                <a:srgbClr val="0F47F2"/>
              </a:gs>
              <a:gs pos="79000">
                <a:srgbClr val="00B9FF"/>
              </a:gs>
            </a:gsLst>
            <a:lin ang="2700000" scaled="1"/>
            <a:tileRect/>
          </a:gradFill>
          <a:ln w="25400" cap="flat" cmpd="sng" algn="ctr">
            <a:noFill/>
            <a:prstDash val="solid"/>
          </a:ln>
          <a:effectLst/>
        </p:spPr>
        <p:txBody>
          <a:bodyPr lIns="0" tIns="0" rIns="0" bIns="0" rtlCol="0" anchor="ctr">
            <a:noAutofit/>
          </a:bodyPr>
          <a:lstStyle/>
          <a:p>
            <a:pPr algn="ctr" defTabSz="914406">
              <a:buClrTx/>
              <a:defRPr/>
            </a:pPr>
            <a:r>
              <a:rPr lang="en-US" sz="1800" b="1" kern="1200" dirty="0">
                <a:solidFill>
                  <a:srgbClr val="FFFFFF"/>
                </a:solidFill>
                <a:ea typeface="+mn-ea"/>
                <a:cs typeface="Calibri" panose="020F0502020204030204" pitchFamily="34" charset="0"/>
              </a:rPr>
              <a:t>Streamlined</a:t>
            </a:r>
            <a:r>
              <a:rPr lang="fr-FR" sz="1800" b="1" kern="1200" dirty="0">
                <a:solidFill>
                  <a:srgbClr val="FFFFFF"/>
                </a:solidFill>
                <a:ea typeface="+mn-ea"/>
                <a:cs typeface="Calibri" panose="020F0502020204030204" pitchFamily="34" charset="0"/>
              </a:rPr>
              <a:t> Data </a:t>
            </a:r>
            <a:r>
              <a:rPr lang="en-US" sz="1800" b="1" kern="1200" dirty="0">
                <a:solidFill>
                  <a:srgbClr val="FFFFFF"/>
                </a:solidFill>
                <a:ea typeface="+mn-ea"/>
                <a:cs typeface="Calibri" panose="020F0502020204030204" pitchFamily="34" charset="0"/>
              </a:rPr>
              <a:t>Collection</a:t>
            </a:r>
            <a:r>
              <a:rPr lang="fr-FR" sz="1800" b="1" kern="1200" dirty="0">
                <a:solidFill>
                  <a:srgbClr val="FFFFFF"/>
                </a:solidFill>
                <a:ea typeface="+mn-ea"/>
                <a:cs typeface="Calibri" panose="020F0502020204030204" pitchFamily="34" charset="0"/>
              </a:rPr>
              <a:t> </a:t>
            </a:r>
            <a:r>
              <a:rPr lang="en-US" sz="1800" b="1" kern="1200" dirty="0">
                <a:solidFill>
                  <a:srgbClr val="FFFFFF"/>
                </a:solidFill>
                <a:ea typeface="+mn-ea"/>
                <a:cs typeface="Calibri" panose="020F0502020204030204" pitchFamily="34" charset="0"/>
              </a:rPr>
              <a:t>Methodology</a:t>
            </a:r>
          </a:p>
        </p:txBody>
      </p:sp>
    </p:spTree>
    <p:extLst>
      <p:ext uri="{BB962C8B-B14F-4D97-AF65-F5344CB8AC3E}">
        <p14:creationId xmlns:p14="http://schemas.microsoft.com/office/powerpoint/2010/main" val="2531788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19"/>
        <p:cNvGrpSpPr/>
        <p:nvPr/>
      </p:nvGrpSpPr>
      <p:grpSpPr>
        <a:xfrm>
          <a:off x="0" y="0"/>
          <a:ext cx="0" cy="0"/>
          <a:chOff x="0" y="0"/>
          <a:chExt cx="0" cy="0"/>
        </a:xfrm>
      </p:grpSpPr>
      <p:sp>
        <p:nvSpPr>
          <p:cNvPr id="220" name="Google Shape;220;p72"/>
          <p:cNvSpPr txBox="1">
            <a:spLocks noGrp="1"/>
          </p:cNvSpPr>
          <p:nvPr>
            <p:ph type="title"/>
          </p:nvPr>
        </p:nvSpPr>
        <p:spPr>
          <a:xfrm>
            <a:off x="539400" y="560588"/>
            <a:ext cx="11089972" cy="98488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None/>
            </a:pPr>
            <a:r>
              <a:rPr lang="en-US" sz="3000" b="0" dirty="0">
                <a:solidFill>
                  <a:schemeClr val="dk2"/>
                </a:solidFill>
                <a:latin typeface="Franklin Gothic"/>
                <a:ea typeface="Franklin Gothic"/>
                <a:cs typeface="Franklin Gothic"/>
                <a:sym typeface="Franklin Gothic"/>
              </a:rPr>
              <a:t>As a senior professional you face many challenges – </a:t>
            </a:r>
            <a:br>
              <a:rPr lang="en-US" sz="3000" b="0" dirty="0">
                <a:solidFill>
                  <a:schemeClr val="dk2"/>
                </a:solidFill>
                <a:latin typeface="Franklin Gothic"/>
                <a:ea typeface="Franklin Gothic"/>
                <a:cs typeface="Franklin Gothic"/>
                <a:sym typeface="Franklin Gothic"/>
              </a:rPr>
            </a:br>
            <a:r>
              <a:rPr lang="en-US" sz="3000" b="0" dirty="0">
                <a:solidFill>
                  <a:schemeClr val="dk2"/>
                </a:solidFill>
                <a:latin typeface="Franklin Gothic"/>
                <a:ea typeface="Franklin Gothic"/>
                <a:cs typeface="Franklin Gothic"/>
                <a:sym typeface="Franklin Gothic"/>
              </a:rPr>
              <a:t>here is what we hear from you</a:t>
            </a:r>
            <a:endParaRPr dirty="0"/>
          </a:p>
        </p:txBody>
      </p:sp>
      <p:sp>
        <p:nvSpPr>
          <p:cNvPr id="221" name="Google Shape;221;p7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2</a:t>
            </a:fld>
            <a:endParaRPr/>
          </a:p>
        </p:txBody>
      </p:sp>
      <p:sp>
        <p:nvSpPr>
          <p:cNvPr id="222" name="Google Shape;222;p72"/>
          <p:cNvSpPr/>
          <p:nvPr/>
        </p:nvSpPr>
        <p:spPr>
          <a:xfrm>
            <a:off x="9829800" y="3523395"/>
            <a:ext cx="1785647" cy="1107996"/>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rgbClr val="000000"/>
              </a:buClr>
              <a:buSzPts val="2400"/>
              <a:buFont typeface="Arial"/>
              <a:buNone/>
            </a:pPr>
            <a:r>
              <a:rPr lang="en-US" sz="2000" b="1" i="0" u="none" strike="noStrike" cap="none" dirty="0">
                <a:solidFill>
                  <a:schemeClr val="accent1"/>
                </a:solidFill>
                <a:latin typeface="Calibri"/>
                <a:ea typeface="Calibri"/>
                <a:cs typeface="Calibri"/>
                <a:sym typeface="Calibri"/>
              </a:rPr>
              <a:t>If you could have said any of these then move to next page! </a:t>
            </a:r>
            <a:endParaRPr sz="1200" b="1" i="0" u="none" strike="noStrike" cap="none" dirty="0">
              <a:solidFill>
                <a:srgbClr val="000000"/>
              </a:solidFill>
              <a:latin typeface="Calibri"/>
              <a:ea typeface="Calibri"/>
              <a:cs typeface="Calibri"/>
              <a:sym typeface="Calibri"/>
            </a:endParaRPr>
          </a:p>
        </p:txBody>
      </p:sp>
      <p:sp>
        <p:nvSpPr>
          <p:cNvPr id="223" name="Google Shape;223;p72"/>
          <p:cNvSpPr/>
          <p:nvPr/>
        </p:nvSpPr>
        <p:spPr>
          <a:xfrm>
            <a:off x="3010175" y="1857375"/>
            <a:ext cx="2624889"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Calibri"/>
                <a:ea typeface="Calibri"/>
                <a:cs typeface="Calibri"/>
                <a:sym typeface="Calibri"/>
              </a:rPr>
              <a:t>When I </a:t>
            </a:r>
            <a:r>
              <a:rPr lang="en-US" sz="1400" b="1" i="0" u="none" strike="noStrike" cap="none">
                <a:solidFill>
                  <a:schemeClr val="dk2"/>
                </a:solidFill>
                <a:latin typeface="Calibri"/>
                <a:ea typeface="Calibri"/>
                <a:cs typeface="Calibri"/>
                <a:sym typeface="Calibri"/>
              </a:rPr>
              <a:t>work during the night </a:t>
            </a:r>
            <a:r>
              <a:rPr lang="en-US" sz="1400" b="0" i="0" u="none" strike="noStrike" cap="none">
                <a:solidFill>
                  <a:schemeClr val="dk1"/>
                </a:solidFill>
                <a:latin typeface="Calibri"/>
                <a:ea typeface="Calibri"/>
                <a:cs typeface="Calibri"/>
                <a:sym typeface="Calibri"/>
              </a:rPr>
              <a:t>it is either to do my </a:t>
            </a:r>
            <a:r>
              <a:rPr lang="en-US" sz="1400" b="1" i="0" u="none" strike="noStrike" cap="none">
                <a:solidFill>
                  <a:schemeClr val="dk2"/>
                </a:solidFill>
                <a:latin typeface="Calibri"/>
                <a:ea typeface="Calibri"/>
                <a:cs typeface="Calibri"/>
                <a:sym typeface="Calibri"/>
              </a:rPr>
              <a:t>slides</a:t>
            </a:r>
            <a:r>
              <a:rPr lang="en-US" sz="1400" b="0" i="0" u="none" strike="noStrike" cap="none">
                <a:solidFill>
                  <a:schemeClr val="dk1"/>
                </a:solidFill>
                <a:latin typeface="Calibri"/>
                <a:ea typeface="Calibri"/>
                <a:cs typeface="Calibri"/>
                <a:sym typeface="Calibri"/>
              </a:rPr>
              <a:t> or do some </a:t>
            </a:r>
            <a:r>
              <a:rPr lang="en-US" sz="1400" b="1" i="0" u="none" strike="noStrike" cap="none">
                <a:solidFill>
                  <a:schemeClr val="dk2"/>
                </a:solidFill>
                <a:latin typeface="Calibri"/>
                <a:ea typeface="Calibri"/>
                <a:cs typeface="Calibri"/>
                <a:sym typeface="Calibri"/>
              </a:rPr>
              <a:t>research</a:t>
            </a:r>
            <a:endParaRPr sz="1400" b="0" i="0" u="none" strike="noStrike" cap="none">
              <a:solidFill>
                <a:schemeClr val="dk2"/>
              </a:solidFill>
              <a:latin typeface="Calibri"/>
              <a:ea typeface="Calibri"/>
              <a:cs typeface="Calibri"/>
              <a:sym typeface="Calibri"/>
            </a:endParaRPr>
          </a:p>
        </p:txBody>
      </p:sp>
      <p:sp>
        <p:nvSpPr>
          <p:cNvPr id="224" name="Google Shape;224;p72"/>
          <p:cNvSpPr/>
          <p:nvPr/>
        </p:nvSpPr>
        <p:spPr>
          <a:xfrm>
            <a:off x="554729" y="1857375"/>
            <a:ext cx="2209254"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Calibri"/>
                <a:ea typeface="Calibri"/>
                <a:cs typeface="Calibri"/>
                <a:sym typeface="Calibri"/>
              </a:rPr>
              <a:t>I am anxious when I take decisions because </a:t>
            </a:r>
            <a:r>
              <a:rPr lang="en-US" sz="1400" b="1" i="0" u="none" strike="noStrike" cap="none" dirty="0">
                <a:solidFill>
                  <a:schemeClr val="dk2"/>
                </a:solidFill>
                <a:latin typeface="Calibri"/>
                <a:ea typeface="Calibri"/>
                <a:cs typeface="Calibri"/>
                <a:sym typeface="Calibri"/>
              </a:rPr>
              <a:t>I don’t have strong data</a:t>
            </a:r>
            <a:endParaRPr sz="1400" b="0" i="0" u="none" strike="noStrike" cap="none" dirty="0">
              <a:solidFill>
                <a:schemeClr val="dk2"/>
              </a:solidFill>
              <a:latin typeface="Calibri"/>
              <a:ea typeface="Calibri"/>
              <a:cs typeface="Calibri"/>
              <a:sym typeface="Calibri"/>
            </a:endParaRPr>
          </a:p>
        </p:txBody>
      </p:sp>
      <p:sp>
        <p:nvSpPr>
          <p:cNvPr id="225" name="Google Shape;225;p72"/>
          <p:cNvSpPr/>
          <p:nvPr/>
        </p:nvSpPr>
        <p:spPr>
          <a:xfrm>
            <a:off x="554727" y="2995323"/>
            <a:ext cx="2209254"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Calibri"/>
                <a:ea typeface="Calibri"/>
                <a:cs typeface="Calibri"/>
                <a:sym typeface="Calibri"/>
              </a:rPr>
              <a:t>When I want to get rid of some tasks, I ask an </a:t>
            </a:r>
            <a:r>
              <a:rPr lang="en-US" sz="1400" b="1" i="0" u="none" strike="noStrike" cap="none">
                <a:solidFill>
                  <a:schemeClr val="dk2"/>
                </a:solidFill>
                <a:latin typeface="Calibri"/>
                <a:ea typeface="Calibri"/>
                <a:cs typeface="Calibri"/>
                <a:sym typeface="Calibri"/>
              </a:rPr>
              <a:t>intern or a junior</a:t>
            </a:r>
            <a:r>
              <a:rPr lang="en-US" sz="1400" b="1" i="0" u="none" strike="noStrike" cap="none">
                <a:solidFill>
                  <a:schemeClr val="dk1"/>
                </a:solidFill>
                <a:latin typeface="Calibri"/>
                <a:ea typeface="Calibri"/>
                <a:cs typeface="Calibri"/>
                <a:sym typeface="Calibri"/>
              </a:rPr>
              <a:t> </a:t>
            </a:r>
            <a:r>
              <a:rPr lang="en-US" sz="1400" b="0" i="0" u="none" strike="noStrike" cap="none">
                <a:solidFill>
                  <a:schemeClr val="dk1"/>
                </a:solidFill>
                <a:latin typeface="Calibri"/>
                <a:ea typeface="Calibri"/>
                <a:cs typeface="Calibri"/>
                <a:sym typeface="Calibri"/>
              </a:rPr>
              <a:t>– Not great but no choice</a:t>
            </a:r>
            <a:r>
              <a:rPr lang="en-US" sz="1400" b="1" i="0" u="none" strike="noStrike" cap="none">
                <a:solidFill>
                  <a:schemeClr val="dk1"/>
                </a:solidFill>
                <a:latin typeface="Calibri"/>
                <a:ea typeface="Calibri"/>
                <a:cs typeface="Calibri"/>
                <a:sym typeface="Calibri"/>
              </a:rPr>
              <a:t> </a:t>
            </a:r>
            <a:endParaRPr sz="1400" b="0" i="0" u="none" strike="noStrike" cap="none">
              <a:solidFill>
                <a:schemeClr val="dk1"/>
              </a:solidFill>
              <a:latin typeface="Calibri"/>
              <a:ea typeface="Calibri"/>
              <a:cs typeface="Calibri"/>
              <a:sym typeface="Calibri"/>
            </a:endParaRPr>
          </a:p>
        </p:txBody>
      </p:sp>
      <p:sp>
        <p:nvSpPr>
          <p:cNvPr id="226" name="Google Shape;226;p72"/>
          <p:cNvSpPr/>
          <p:nvPr/>
        </p:nvSpPr>
        <p:spPr>
          <a:xfrm>
            <a:off x="568579" y="5271220"/>
            <a:ext cx="2209254"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2"/>
                </a:solidFill>
                <a:latin typeface="Calibri"/>
                <a:ea typeface="Calibri"/>
                <a:cs typeface="Calibri"/>
                <a:sym typeface="Calibri"/>
              </a:rPr>
              <a:t>Research? </a:t>
            </a:r>
            <a:r>
              <a:rPr lang="en-US" sz="1400" b="0" i="0" u="none" strike="noStrike" cap="none">
                <a:solidFill>
                  <a:schemeClr val="dk1"/>
                </a:solidFill>
                <a:latin typeface="Calibri"/>
                <a:ea typeface="Calibri"/>
                <a:cs typeface="Calibri"/>
                <a:sym typeface="Calibri"/>
              </a:rPr>
              <a:t>I type my question on Google between 2 calls ;-)</a:t>
            </a:r>
            <a:endParaRPr sz="1400" b="1" i="0" u="none" strike="noStrike" cap="none">
              <a:solidFill>
                <a:schemeClr val="dk1"/>
              </a:solidFill>
              <a:latin typeface="Calibri"/>
              <a:ea typeface="Calibri"/>
              <a:cs typeface="Calibri"/>
              <a:sym typeface="Calibri"/>
            </a:endParaRPr>
          </a:p>
        </p:txBody>
      </p:sp>
      <p:sp>
        <p:nvSpPr>
          <p:cNvPr id="227" name="Google Shape;227;p72"/>
          <p:cNvSpPr/>
          <p:nvPr/>
        </p:nvSpPr>
        <p:spPr>
          <a:xfrm>
            <a:off x="3010175" y="2995323"/>
            <a:ext cx="2624889"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Calibri"/>
                <a:ea typeface="Calibri"/>
                <a:cs typeface="Calibri"/>
                <a:sym typeface="Calibri"/>
              </a:rPr>
              <a:t>Outsourcing? The </a:t>
            </a:r>
            <a:r>
              <a:rPr lang="en-US" sz="1400" b="1" i="0" u="none" strike="noStrike" cap="none">
                <a:solidFill>
                  <a:schemeClr val="dk2"/>
                </a:solidFill>
                <a:latin typeface="Calibri"/>
                <a:ea typeface="Calibri"/>
                <a:cs typeface="Calibri"/>
                <a:sym typeface="Calibri"/>
              </a:rPr>
              <a:t>admin processes </a:t>
            </a:r>
            <a:r>
              <a:rPr lang="en-US" sz="1400" b="0" i="0" u="none" strike="noStrike" cap="none">
                <a:solidFill>
                  <a:schemeClr val="dk1"/>
                </a:solidFill>
                <a:latin typeface="Calibri"/>
                <a:ea typeface="Calibri"/>
                <a:cs typeface="Calibri"/>
                <a:sym typeface="Calibri"/>
              </a:rPr>
              <a:t>are so heavy that I prefer to do the work myself</a:t>
            </a:r>
            <a:endParaRPr sz="1400" b="0" i="0" u="none" strike="noStrike" cap="none">
              <a:solidFill>
                <a:schemeClr val="dk1"/>
              </a:solidFill>
              <a:latin typeface="Calibri"/>
              <a:ea typeface="Calibri"/>
              <a:cs typeface="Calibri"/>
              <a:sym typeface="Calibri"/>
            </a:endParaRPr>
          </a:p>
        </p:txBody>
      </p:sp>
      <p:sp>
        <p:nvSpPr>
          <p:cNvPr id="228" name="Google Shape;228;p72"/>
          <p:cNvSpPr/>
          <p:nvPr/>
        </p:nvSpPr>
        <p:spPr>
          <a:xfrm>
            <a:off x="3010175" y="5271220"/>
            <a:ext cx="2624889"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400" b="0" i="0" u="none" strike="noStrike" cap="none">
                <a:solidFill>
                  <a:schemeClr val="dk1"/>
                </a:solidFill>
                <a:latin typeface="Calibri"/>
                <a:ea typeface="Calibri"/>
                <a:cs typeface="Calibri"/>
                <a:sym typeface="Calibri"/>
              </a:rPr>
              <a:t>My worst nightmare?</a:t>
            </a:r>
            <a:br>
              <a:rPr lang="en-US" sz="1400" b="0" i="0" u="none" strike="noStrike" cap="none">
                <a:solidFill>
                  <a:schemeClr val="dk1"/>
                </a:solidFill>
                <a:latin typeface="Calibri"/>
                <a:ea typeface="Calibri"/>
                <a:cs typeface="Calibri"/>
                <a:sym typeface="Calibri"/>
              </a:rPr>
            </a:br>
            <a:r>
              <a:rPr lang="en-US" sz="1400" b="1" i="0" u="none" strike="noStrike" cap="none">
                <a:solidFill>
                  <a:schemeClr val="dk2"/>
                </a:solidFill>
                <a:latin typeface="Calibri"/>
                <a:ea typeface="Calibri"/>
                <a:cs typeface="Calibri"/>
                <a:sym typeface="Calibri"/>
              </a:rPr>
              <a:t>Powerpoint</a:t>
            </a:r>
            <a:endParaRPr sz="1400" b="1" i="0" u="none" strike="noStrike" cap="none">
              <a:solidFill>
                <a:schemeClr val="dk2"/>
              </a:solidFill>
              <a:latin typeface="Calibri"/>
              <a:ea typeface="Calibri"/>
              <a:cs typeface="Calibri"/>
              <a:sym typeface="Calibri"/>
            </a:endParaRPr>
          </a:p>
        </p:txBody>
      </p:sp>
      <p:sp>
        <p:nvSpPr>
          <p:cNvPr id="229" name="Google Shape;229;p72"/>
          <p:cNvSpPr/>
          <p:nvPr/>
        </p:nvSpPr>
        <p:spPr>
          <a:xfrm>
            <a:off x="5881256" y="1857375"/>
            <a:ext cx="3113016"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400" b="0" i="0" u="none" strike="noStrike" cap="none">
                <a:solidFill>
                  <a:schemeClr val="dk1"/>
                </a:solidFill>
                <a:latin typeface="Calibri"/>
                <a:ea typeface="Calibri"/>
                <a:cs typeface="Calibri"/>
                <a:sym typeface="Calibri"/>
              </a:rPr>
              <a:t>I have</a:t>
            </a:r>
            <a:r>
              <a:rPr lang="en-US" sz="1400" b="1" i="0" u="none" strike="noStrike" cap="none">
                <a:solidFill>
                  <a:schemeClr val="dk1"/>
                </a:solidFill>
                <a:latin typeface="Calibri"/>
                <a:ea typeface="Calibri"/>
                <a:cs typeface="Calibri"/>
                <a:sym typeface="Calibri"/>
              </a:rPr>
              <a:t> </a:t>
            </a:r>
            <a:r>
              <a:rPr lang="en-US" sz="1400" b="1" i="0" u="none" strike="noStrike" cap="none">
                <a:solidFill>
                  <a:schemeClr val="dk2"/>
                </a:solidFill>
                <a:latin typeface="Calibri"/>
                <a:ea typeface="Calibri"/>
                <a:cs typeface="Calibri"/>
                <a:sym typeface="Calibri"/>
              </a:rPr>
              <a:t>multiple jobs </a:t>
            </a:r>
            <a:r>
              <a:rPr lang="en-US" sz="1400" b="0" i="0" u="none" strike="noStrike" cap="none">
                <a:solidFill>
                  <a:schemeClr val="dk1"/>
                </a:solidFill>
                <a:latin typeface="Calibri"/>
                <a:ea typeface="Calibri"/>
                <a:cs typeface="Calibri"/>
                <a:sym typeface="Calibri"/>
              </a:rPr>
              <a:t>in one – Finding information, designing presentations, translating... Impossible to do in a normal workday!</a:t>
            </a:r>
            <a:r>
              <a:rPr lang="en-US" sz="1400" b="1" i="0" u="none" strike="noStrike" cap="none">
                <a:solidFill>
                  <a:schemeClr val="dk1"/>
                </a:solidFill>
                <a:latin typeface="Calibri"/>
                <a:ea typeface="Calibri"/>
                <a:cs typeface="Calibri"/>
                <a:sym typeface="Calibri"/>
              </a:rPr>
              <a:t> </a:t>
            </a:r>
            <a:endParaRPr sz="1400" b="0" i="0" u="none" strike="noStrike" cap="none">
              <a:solidFill>
                <a:schemeClr val="dk1"/>
              </a:solidFill>
              <a:latin typeface="Calibri"/>
              <a:ea typeface="Calibri"/>
              <a:cs typeface="Calibri"/>
              <a:sym typeface="Calibri"/>
            </a:endParaRPr>
          </a:p>
        </p:txBody>
      </p:sp>
      <p:sp>
        <p:nvSpPr>
          <p:cNvPr id="230" name="Google Shape;230;p72"/>
          <p:cNvSpPr/>
          <p:nvPr/>
        </p:nvSpPr>
        <p:spPr>
          <a:xfrm>
            <a:off x="5881256" y="5271220"/>
            <a:ext cx="3113016"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400" b="0" i="0" u="none" strike="noStrike" cap="none" dirty="0">
                <a:solidFill>
                  <a:schemeClr val="dk1"/>
                </a:solidFill>
                <a:latin typeface="Calibri"/>
                <a:ea typeface="Calibri"/>
                <a:cs typeface="Calibri"/>
                <a:sym typeface="Calibri"/>
              </a:rPr>
              <a:t>I would like to use more </a:t>
            </a:r>
            <a:r>
              <a:rPr lang="en-US" sz="1400" b="1" i="0" u="none" strike="noStrike" cap="none" dirty="0">
                <a:solidFill>
                  <a:schemeClr val="dk2"/>
                </a:solidFill>
                <a:latin typeface="Calibri"/>
                <a:ea typeface="Calibri"/>
                <a:cs typeface="Calibri"/>
                <a:sym typeface="Calibri"/>
              </a:rPr>
              <a:t>data</a:t>
            </a:r>
            <a:r>
              <a:rPr lang="en-US" sz="1400" b="1" i="0" u="none" strike="noStrike" cap="none" dirty="0">
                <a:solidFill>
                  <a:schemeClr val="dk1"/>
                </a:solidFill>
                <a:latin typeface="Calibri"/>
                <a:ea typeface="Calibri"/>
                <a:cs typeface="Calibri"/>
                <a:sym typeface="Calibri"/>
              </a:rPr>
              <a:t> </a:t>
            </a:r>
            <a:r>
              <a:rPr lang="en-US" sz="1400" b="0" i="0" u="none" strike="noStrike" cap="none" dirty="0">
                <a:solidFill>
                  <a:schemeClr val="dk1"/>
                </a:solidFill>
                <a:latin typeface="Calibri"/>
                <a:ea typeface="Calibri"/>
                <a:cs typeface="Calibri"/>
                <a:sym typeface="Calibri"/>
              </a:rPr>
              <a:t>to get </a:t>
            </a:r>
            <a:r>
              <a:rPr lang="en-US" sz="1400" b="1" i="0" u="none" strike="noStrike" cap="none" dirty="0">
                <a:solidFill>
                  <a:schemeClr val="dk2"/>
                </a:solidFill>
                <a:latin typeface="Calibri"/>
                <a:ea typeface="Calibri"/>
                <a:cs typeface="Calibri"/>
                <a:sym typeface="Calibri"/>
              </a:rPr>
              <a:t>insights,</a:t>
            </a:r>
            <a:r>
              <a:rPr lang="en-US" sz="1400" b="1" i="0" u="none" strike="noStrike" cap="none" dirty="0">
                <a:solidFill>
                  <a:schemeClr val="dk1"/>
                </a:solidFill>
                <a:latin typeface="Calibri"/>
                <a:ea typeface="Calibri"/>
                <a:cs typeface="Calibri"/>
                <a:sym typeface="Calibri"/>
              </a:rPr>
              <a:t> </a:t>
            </a:r>
            <a:r>
              <a:rPr lang="en-US" sz="1400" b="0" i="0" u="none" strike="noStrike" cap="none" dirty="0">
                <a:solidFill>
                  <a:schemeClr val="dk1"/>
                </a:solidFill>
                <a:latin typeface="Calibri"/>
                <a:ea typeface="Calibri"/>
                <a:cs typeface="Calibri"/>
                <a:sym typeface="Calibri"/>
              </a:rPr>
              <a:t>but I don’t have the </a:t>
            </a:r>
            <a:r>
              <a:rPr lang="en-US" sz="1400" b="1" i="0" u="none" strike="noStrike" cap="none" dirty="0">
                <a:solidFill>
                  <a:schemeClr val="dk2"/>
                </a:solidFill>
                <a:latin typeface="Calibri"/>
                <a:ea typeface="Calibri"/>
                <a:cs typeface="Calibri"/>
                <a:sym typeface="Calibri"/>
              </a:rPr>
              <a:t>right capabilities</a:t>
            </a:r>
            <a:r>
              <a:rPr lang="en-US" sz="1400" b="1" i="0" u="none" strike="noStrike" cap="none" dirty="0">
                <a:solidFill>
                  <a:schemeClr val="dk1"/>
                </a:solidFill>
                <a:latin typeface="Calibri"/>
                <a:ea typeface="Calibri"/>
                <a:cs typeface="Calibri"/>
                <a:sym typeface="Calibri"/>
              </a:rPr>
              <a:t> </a:t>
            </a:r>
            <a:r>
              <a:rPr lang="en-US" sz="1400" b="0" i="0" u="none" strike="noStrike" cap="none" dirty="0">
                <a:solidFill>
                  <a:schemeClr val="dk1"/>
                </a:solidFill>
                <a:latin typeface="Calibri"/>
                <a:ea typeface="Calibri"/>
                <a:cs typeface="Calibri"/>
                <a:sym typeface="Calibri"/>
              </a:rPr>
              <a:t>in my team </a:t>
            </a:r>
            <a:endParaRPr sz="1400" b="1" i="0" u="none" strike="noStrike" cap="none" dirty="0">
              <a:solidFill>
                <a:schemeClr val="dk1"/>
              </a:solidFill>
              <a:latin typeface="Calibri"/>
              <a:ea typeface="Calibri"/>
              <a:cs typeface="Calibri"/>
              <a:sym typeface="Calibri"/>
            </a:endParaRPr>
          </a:p>
        </p:txBody>
      </p:sp>
      <p:sp>
        <p:nvSpPr>
          <p:cNvPr id="231" name="Google Shape;231;p72"/>
          <p:cNvSpPr/>
          <p:nvPr/>
        </p:nvSpPr>
        <p:spPr>
          <a:xfrm>
            <a:off x="5881256" y="2994096"/>
            <a:ext cx="3113016"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400" b="0" i="0" u="none" strike="noStrike" cap="none">
                <a:solidFill>
                  <a:schemeClr val="dk1"/>
                </a:solidFill>
                <a:latin typeface="Calibri"/>
                <a:ea typeface="Calibri"/>
                <a:cs typeface="Calibri"/>
                <a:sym typeface="Calibri"/>
              </a:rPr>
              <a:t>We use providers but they</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have </a:t>
            </a:r>
            <a:r>
              <a:rPr lang="en-US" sz="1400" b="1" i="0" u="none" strike="noStrike" cap="none">
                <a:solidFill>
                  <a:schemeClr val="dk2"/>
                </a:solidFill>
                <a:latin typeface="Calibri"/>
                <a:ea typeface="Calibri"/>
                <a:cs typeface="Calibri"/>
                <a:sym typeface="Calibri"/>
              </a:rPr>
              <a:t>zero critical thinking</a:t>
            </a:r>
            <a:r>
              <a:rPr lang="en-US" sz="1400" b="0" i="0" u="none" strike="noStrike" cap="none">
                <a:solidFill>
                  <a:schemeClr val="dk2"/>
                </a:solidFill>
                <a:latin typeface="Calibri"/>
                <a:ea typeface="Calibri"/>
                <a:cs typeface="Calibri"/>
                <a:sym typeface="Calibri"/>
              </a:rPr>
              <a:t> </a:t>
            </a:r>
            <a:r>
              <a:rPr lang="en-US" sz="1400" b="0" i="0" u="none" strike="noStrike" cap="none">
                <a:solidFill>
                  <a:schemeClr val="dk1"/>
                </a:solidFill>
                <a:latin typeface="Calibri"/>
                <a:ea typeface="Calibri"/>
                <a:cs typeface="Calibri"/>
                <a:sym typeface="Calibri"/>
              </a:rPr>
              <a:t>–</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I only use them for basic stuff </a:t>
            </a:r>
            <a:endParaRPr sz="1400" b="0" i="0" u="none" strike="noStrike" cap="none">
              <a:solidFill>
                <a:schemeClr val="dk1"/>
              </a:solidFill>
              <a:latin typeface="Calibri"/>
              <a:ea typeface="Calibri"/>
              <a:cs typeface="Calibri"/>
              <a:sym typeface="Calibri"/>
            </a:endParaRPr>
          </a:p>
        </p:txBody>
      </p:sp>
      <p:sp>
        <p:nvSpPr>
          <p:cNvPr id="232" name="Google Shape;232;p72"/>
          <p:cNvSpPr/>
          <p:nvPr/>
        </p:nvSpPr>
        <p:spPr>
          <a:xfrm>
            <a:off x="568579" y="4133271"/>
            <a:ext cx="2209254"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2"/>
                </a:solidFill>
                <a:latin typeface="Calibri"/>
                <a:ea typeface="Calibri"/>
                <a:cs typeface="Calibri"/>
                <a:sym typeface="Calibri"/>
              </a:rPr>
              <a:t>Analytics? </a:t>
            </a:r>
            <a:r>
              <a:rPr lang="en-US" sz="1400" b="0" i="0" u="none" strike="noStrike" cap="none">
                <a:solidFill>
                  <a:schemeClr val="dk1"/>
                </a:solidFill>
                <a:latin typeface="Calibri"/>
                <a:ea typeface="Calibri"/>
                <a:cs typeface="Calibri"/>
                <a:sym typeface="Calibri"/>
              </a:rPr>
              <a:t>Too many Data with bad quality – Very difficult to use </a:t>
            </a:r>
            <a:endParaRPr sz="1400" b="1" i="0" u="none" strike="noStrike" cap="none">
              <a:solidFill>
                <a:schemeClr val="dk1"/>
              </a:solidFill>
              <a:latin typeface="Calibri"/>
              <a:ea typeface="Calibri"/>
              <a:cs typeface="Calibri"/>
              <a:sym typeface="Calibri"/>
            </a:endParaRPr>
          </a:p>
        </p:txBody>
      </p:sp>
      <p:sp>
        <p:nvSpPr>
          <p:cNvPr id="233" name="Google Shape;233;p72"/>
          <p:cNvSpPr/>
          <p:nvPr/>
        </p:nvSpPr>
        <p:spPr>
          <a:xfrm>
            <a:off x="3010175" y="4133271"/>
            <a:ext cx="2624889"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400" b="0" i="0" u="none" strike="noStrike" cap="none" dirty="0">
                <a:solidFill>
                  <a:schemeClr val="dk1"/>
                </a:solidFill>
                <a:latin typeface="Calibri"/>
                <a:ea typeface="Calibri"/>
                <a:cs typeface="Calibri"/>
                <a:sym typeface="Calibri"/>
              </a:rPr>
              <a:t>I would love to have an automatized </a:t>
            </a:r>
            <a:r>
              <a:rPr lang="en-US" sz="1400" b="1" i="0" u="none" strike="noStrike" cap="none" dirty="0">
                <a:solidFill>
                  <a:schemeClr val="dk2"/>
                </a:solidFill>
                <a:latin typeface="Calibri"/>
                <a:ea typeface="Calibri"/>
                <a:cs typeface="Calibri"/>
                <a:sym typeface="Calibri"/>
              </a:rPr>
              <a:t>Dashboard,</a:t>
            </a:r>
            <a:r>
              <a:rPr lang="en-US" sz="1400" b="1" i="0" u="none" strike="noStrike" cap="none" dirty="0">
                <a:solidFill>
                  <a:schemeClr val="dk1"/>
                </a:solidFill>
                <a:latin typeface="Calibri"/>
                <a:ea typeface="Calibri"/>
                <a:cs typeface="Calibri"/>
                <a:sym typeface="Calibri"/>
              </a:rPr>
              <a:t> </a:t>
            </a:r>
            <a:r>
              <a:rPr lang="en-US" sz="1400" b="0" i="0" u="none" strike="noStrike" cap="none" dirty="0">
                <a:solidFill>
                  <a:schemeClr val="dk1"/>
                </a:solidFill>
                <a:latin typeface="Calibri"/>
                <a:ea typeface="Calibri"/>
                <a:cs typeface="Calibri"/>
                <a:sym typeface="Calibri"/>
              </a:rPr>
              <a:t>but I don’t know where to start ?</a:t>
            </a:r>
            <a:endParaRPr sz="1400" b="0" i="0" u="none" strike="noStrike" cap="none" dirty="0">
              <a:solidFill>
                <a:schemeClr val="dk1"/>
              </a:solidFill>
              <a:latin typeface="Calibri"/>
              <a:ea typeface="Calibri"/>
              <a:cs typeface="Calibri"/>
              <a:sym typeface="Calibri"/>
            </a:endParaRPr>
          </a:p>
        </p:txBody>
      </p:sp>
      <p:sp>
        <p:nvSpPr>
          <p:cNvPr id="234" name="Google Shape;234;p72"/>
          <p:cNvSpPr/>
          <p:nvPr/>
        </p:nvSpPr>
        <p:spPr>
          <a:xfrm>
            <a:off x="5881256" y="4138134"/>
            <a:ext cx="3113016" cy="102619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US" sz="1400" b="0" i="0" u="none" strike="noStrike" cap="none">
                <a:solidFill>
                  <a:schemeClr val="dk1"/>
                </a:solidFill>
                <a:latin typeface="Calibri"/>
                <a:ea typeface="Calibri"/>
                <a:cs typeface="Calibri"/>
                <a:sym typeface="Calibri"/>
              </a:rPr>
              <a:t>My clients demand that</a:t>
            </a:r>
            <a:br>
              <a:rPr lang="en-US" sz="1400" b="0" i="0" u="none" strike="noStrike" cap="none">
                <a:solidFill>
                  <a:schemeClr val="dk1"/>
                </a:solidFill>
                <a:latin typeface="Calibri"/>
                <a:ea typeface="Calibri"/>
                <a:cs typeface="Calibri"/>
                <a:sym typeface="Calibri"/>
              </a:rPr>
            </a:br>
            <a:r>
              <a:rPr lang="en-US" sz="1400" b="0" i="0" u="none" strike="noStrike" cap="none">
                <a:solidFill>
                  <a:schemeClr val="dk1"/>
                </a:solidFill>
                <a:latin typeface="Calibri"/>
                <a:ea typeface="Calibri"/>
                <a:cs typeface="Calibri"/>
                <a:sym typeface="Calibri"/>
              </a:rPr>
              <a:t>I </a:t>
            </a:r>
            <a:r>
              <a:rPr lang="en-US" sz="1400" b="1" i="0" u="none" strike="noStrike" cap="none">
                <a:solidFill>
                  <a:schemeClr val="dk2"/>
                </a:solidFill>
                <a:latin typeface="Calibri"/>
                <a:ea typeface="Calibri"/>
                <a:cs typeface="Calibri"/>
                <a:sym typeface="Calibri"/>
              </a:rPr>
              <a:t>translate</a:t>
            </a:r>
            <a:r>
              <a:rPr lang="en-US" sz="1400" b="0" i="0" u="none" strike="noStrike" cap="none">
                <a:solidFill>
                  <a:schemeClr val="dk1"/>
                </a:solidFill>
                <a:latin typeface="Calibri"/>
                <a:ea typeface="Calibri"/>
                <a:cs typeface="Calibri"/>
                <a:sym typeface="Calibri"/>
              </a:rPr>
              <a:t> all my work to Arabic – But I can only find unstructured </a:t>
            </a:r>
            <a:r>
              <a:rPr lang="en-US" sz="1400" b="1" i="0" u="none" strike="noStrike" cap="none">
                <a:solidFill>
                  <a:schemeClr val="dk2"/>
                </a:solidFill>
                <a:latin typeface="Calibri"/>
                <a:ea typeface="Calibri"/>
                <a:cs typeface="Calibri"/>
                <a:sym typeface="Calibri"/>
              </a:rPr>
              <a:t>free lancers</a:t>
            </a:r>
            <a:r>
              <a:rPr lang="en-US" sz="1400" b="0" i="0" u="none" strike="noStrike" cap="none">
                <a:solidFill>
                  <a:schemeClr val="dk2"/>
                </a:solidFill>
                <a:latin typeface="Calibri"/>
                <a:ea typeface="Calibri"/>
                <a:cs typeface="Calibri"/>
                <a:sym typeface="Calibri"/>
              </a:rPr>
              <a:t> </a:t>
            </a:r>
            <a:endParaRPr sz="1400" b="1" i="0" u="none" strike="noStrike" cap="none">
              <a:solidFill>
                <a:schemeClr val="dk2"/>
              </a:solidFill>
              <a:latin typeface="Calibri"/>
              <a:ea typeface="Calibri"/>
              <a:cs typeface="Calibri"/>
              <a:sym typeface="Calibri"/>
            </a:endParaRPr>
          </a:p>
        </p:txBody>
      </p:sp>
      <p:pic>
        <p:nvPicPr>
          <p:cNvPr id="235" name="Google Shape;235;p72"/>
          <p:cNvPicPr preferRelativeResize="0"/>
          <p:nvPr/>
        </p:nvPicPr>
        <p:blipFill rotWithShape="1">
          <a:blip r:embed="rId3">
            <a:alphaModFix/>
          </a:blip>
          <a:srcRect/>
          <a:stretch/>
        </p:blipFill>
        <p:spPr>
          <a:xfrm flipH="1">
            <a:off x="592029" y="1826616"/>
            <a:ext cx="191552" cy="124104"/>
          </a:xfrm>
          <a:prstGeom prst="rect">
            <a:avLst/>
          </a:prstGeom>
          <a:noFill/>
          <a:ln>
            <a:noFill/>
          </a:ln>
        </p:spPr>
      </p:pic>
      <p:pic>
        <p:nvPicPr>
          <p:cNvPr id="236" name="Google Shape;236;p72"/>
          <p:cNvPicPr preferRelativeResize="0"/>
          <p:nvPr/>
        </p:nvPicPr>
        <p:blipFill rotWithShape="1">
          <a:blip r:embed="rId3">
            <a:alphaModFix/>
          </a:blip>
          <a:srcRect/>
          <a:stretch/>
        </p:blipFill>
        <p:spPr>
          <a:xfrm flipH="1">
            <a:off x="3068529" y="1826616"/>
            <a:ext cx="191552" cy="124104"/>
          </a:xfrm>
          <a:prstGeom prst="rect">
            <a:avLst/>
          </a:prstGeom>
          <a:noFill/>
          <a:ln>
            <a:noFill/>
          </a:ln>
        </p:spPr>
      </p:pic>
      <p:pic>
        <p:nvPicPr>
          <p:cNvPr id="237" name="Google Shape;237;p72"/>
          <p:cNvPicPr preferRelativeResize="0"/>
          <p:nvPr/>
        </p:nvPicPr>
        <p:blipFill rotWithShape="1">
          <a:blip r:embed="rId3">
            <a:alphaModFix/>
          </a:blip>
          <a:srcRect/>
          <a:stretch/>
        </p:blipFill>
        <p:spPr>
          <a:xfrm flipH="1">
            <a:off x="5956509" y="1826616"/>
            <a:ext cx="191552" cy="124104"/>
          </a:xfrm>
          <a:prstGeom prst="rect">
            <a:avLst/>
          </a:prstGeom>
          <a:noFill/>
          <a:ln>
            <a:noFill/>
          </a:ln>
        </p:spPr>
      </p:pic>
      <p:pic>
        <p:nvPicPr>
          <p:cNvPr id="238" name="Google Shape;238;p72"/>
          <p:cNvPicPr preferRelativeResize="0"/>
          <p:nvPr/>
        </p:nvPicPr>
        <p:blipFill rotWithShape="1">
          <a:blip r:embed="rId3">
            <a:alphaModFix/>
          </a:blip>
          <a:srcRect/>
          <a:stretch/>
        </p:blipFill>
        <p:spPr>
          <a:xfrm flipH="1">
            <a:off x="592029" y="2969616"/>
            <a:ext cx="191552" cy="124104"/>
          </a:xfrm>
          <a:prstGeom prst="rect">
            <a:avLst/>
          </a:prstGeom>
          <a:noFill/>
          <a:ln>
            <a:noFill/>
          </a:ln>
        </p:spPr>
      </p:pic>
      <p:pic>
        <p:nvPicPr>
          <p:cNvPr id="239" name="Google Shape;239;p72"/>
          <p:cNvPicPr preferRelativeResize="0"/>
          <p:nvPr/>
        </p:nvPicPr>
        <p:blipFill rotWithShape="1">
          <a:blip r:embed="rId3">
            <a:alphaModFix/>
          </a:blip>
          <a:srcRect/>
          <a:stretch/>
        </p:blipFill>
        <p:spPr>
          <a:xfrm flipH="1">
            <a:off x="3068529" y="2969616"/>
            <a:ext cx="191552" cy="124104"/>
          </a:xfrm>
          <a:prstGeom prst="rect">
            <a:avLst/>
          </a:prstGeom>
          <a:noFill/>
          <a:ln>
            <a:noFill/>
          </a:ln>
        </p:spPr>
      </p:pic>
      <p:pic>
        <p:nvPicPr>
          <p:cNvPr id="240" name="Google Shape;240;p72"/>
          <p:cNvPicPr preferRelativeResize="0"/>
          <p:nvPr/>
        </p:nvPicPr>
        <p:blipFill rotWithShape="1">
          <a:blip r:embed="rId3">
            <a:alphaModFix/>
          </a:blip>
          <a:srcRect/>
          <a:stretch/>
        </p:blipFill>
        <p:spPr>
          <a:xfrm flipH="1">
            <a:off x="5956509" y="2969616"/>
            <a:ext cx="191552" cy="124104"/>
          </a:xfrm>
          <a:prstGeom prst="rect">
            <a:avLst/>
          </a:prstGeom>
          <a:noFill/>
          <a:ln>
            <a:noFill/>
          </a:ln>
        </p:spPr>
      </p:pic>
      <p:pic>
        <p:nvPicPr>
          <p:cNvPr id="241" name="Google Shape;241;p72"/>
          <p:cNvPicPr preferRelativeResize="0"/>
          <p:nvPr/>
        </p:nvPicPr>
        <p:blipFill rotWithShape="1">
          <a:blip r:embed="rId3">
            <a:alphaModFix/>
          </a:blip>
          <a:srcRect/>
          <a:stretch/>
        </p:blipFill>
        <p:spPr>
          <a:xfrm flipH="1">
            <a:off x="592029" y="4164570"/>
            <a:ext cx="191552" cy="124104"/>
          </a:xfrm>
          <a:prstGeom prst="rect">
            <a:avLst/>
          </a:prstGeom>
          <a:noFill/>
          <a:ln>
            <a:noFill/>
          </a:ln>
        </p:spPr>
      </p:pic>
      <p:pic>
        <p:nvPicPr>
          <p:cNvPr id="242" name="Google Shape;242;p72"/>
          <p:cNvPicPr preferRelativeResize="0"/>
          <p:nvPr/>
        </p:nvPicPr>
        <p:blipFill rotWithShape="1">
          <a:blip r:embed="rId3">
            <a:alphaModFix/>
          </a:blip>
          <a:srcRect/>
          <a:stretch/>
        </p:blipFill>
        <p:spPr>
          <a:xfrm flipH="1">
            <a:off x="3068529" y="4164570"/>
            <a:ext cx="191552" cy="124104"/>
          </a:xfrm>
          <a:prstGeom prst="rect">
            <a:avLst/>
          </a:prstGeom>
          <a:noFill/>
          <a:ln>
            <a:noFill/>
          </a:ln>
        </p:spPr>
      </p:pic>
      <p:pic>
        <p:nvPicPr>
          <p:cNvPr id="243" name="Google Shape;243;p72"/>
          <p:cNvPicPr preferRelativeResize="0"/>
          <p:nvPr/>
        </p:nvPicPr>
        <p:blipFill rotWithShape="1">
          <a:blip r:embed="rId3">
            <a:alphaModFix/>
          </a:blip>
          <a:srcRect/>
          <a:stretch/>
        </p:blipFill>
        <p:spPr>
          <a:xfrm flipH="1">
            <a:off x="5956509" y="4164570"/>
            <a:ext cx="191552" cy="124104"/>
          </a:xfrm>
          <a:prstGeom prst="rect">
            <a:avLst/>
          </a:prstGeom>
          <a:noFill/>
          <a:ln>
            <a:noFill/>
          </a:ln>
        </p:spPr>
      </p:pic>
      <p:pic>
        <p:nvPicPr>
          <p:cNvPr id="244" name="Google Shape;244;p72"/>
          <p:cNvPicPr preferRelativeResize="0"/>
          <p:nvPr/>
        </p:nvPicPr>
        <p:blipFill rotWithShape="1">
          <a:blip r:embed="rId3">
            <a:alphaModFix/>
          </a:blip>
          <a:srcRect/>
          <a:stretch/>
        </p:blipFill>
        <p:spPr>
          <a:xfrm flipH="1">
            <a:off x="592029" y="5214052"/>
            <a:ext cx="191552" cy="124104"/>
          </a:xfrm>
          <a:prstGeom prst="rect">
            <a:avLst/>
          </a:prstGeom>
          <a:noFill/>
          <a:ln>
            <a:noFill/>
          </a:ln>
        </p:spPr>
      </p:pic>
      <p:pic>
        <p:nvPicPr>
          <p:cNvPr id="245" name="Google Shape;245;p72"/>
          <p:cNvPicPr preferRelativeResize="0"/>
          <p:nvPr/>
        </p:nvPicPr>
        <p:blipFill rotWithShape="1">
          <a:blip r:embed="rId3">
            <a:alphaModFix/>
          </a:blip>
          <a:srcRect/>
          <a:stretch/>
        </p:blipFill>
        <p:spPr>
          <a:xfrm flipH="1">
            <a:off x="3068529" y="5214052"/>
            <a:ext cx="191552" cy="124104"/>
          </a:xfrm>
          <a:prstGeom prst="rect">
            <a:avLst/>
          </a:prstGeom>
          <a:noFill/>
          <a:ln>
            <a:noFill/>
          </a:ln>
        </p:spPr>
      </p:pic>
      <p:pic>
        <p:nvPicPr>
          <p:cNvPr id="246" name="Google Shape;246;p72"/>
          <p:cNvPicPr preferRelativeResize="0"/>
          <p:nvPr/>
        </p:nvPicPr>
        <p:blipFill rotWithShape="1">
          <a:blip r:embed="rId3">
            <a:alphaModFix/>
          </a:blip>
          <a:srcRect/>
          <a:stretch/>
        </p:blipFill>
        <p:spPr>
          <a:xfrm flipH="1">
            <a:off x="5956509" y="5214052"/>
            <a:ext cx="191552" cy="124104"/>
          </a:xfrm>
          <a:prstGeom prst="rect">
            <a:avLst/>
          </a:prstGeom>
          <a:noFill/>
          <a:ln>
            <a:noFill/>
          </a:ln>
        </p:spPr>
      </p:pic>
      <p:grpSp>
        <p:nvGrpSpPr>
          <p:cNvPr id="247" name="Google Shape;247;p72"/>
          <p:cNvGrpSpPr/>
          <p:nvPr/>
        </p:nvGrpSpPr>
        <p:grpSpPr>
          <a:xfrm>
            <a:off x="9344004" y="1857375"/>
            <a:ext cx="176934" cy="4440037"/>
            <a:chOff x="9344004" y="1857375"/>
            <a:chExt cx="176934" cy="4440037"/>
          </a:xfrm>
        </p:grpSpPr>
        <p:cxnSp>
          <p:nvCxnSpPr>
            <p:cNvPr id="248" name="Google Shape;248;p72"/>
            <p:cNvCxnSpPr/>
            <p:nvPr/>
          </p:nvCxnSpPr>
          <p:spPr>
            <a:xfrm>
              <a:off x="9354799" y="1857375"/>
              <a:ext cx="0" cy="4440037"/>
            </a:xfrm>
            <a:prstGeom prst="straightConnector1">
              <a:avLst/>
            </a:prstGeom>
            <a:solidFill>
              <a:schemeClr val="lt1"/>
            </a:solidFill>
            <a:ln w="25400" cap="flat" cmpd="sng">
              <a:solidFill>
                <a:schemeClr val="accent1"/>
              </a:solidFill>
              <a:prstDash val="solid"/>
              <a:round/>
              <a:headEnd type="none" w="sm" len="sm"/>
              <a:tailEnd type="none" w="sm" len="sm"/>
            </a:ln>
          </p:spPr>
        </p:cxnSp>
        <p:sp>
          <p:nvSpPr>
            <p:cNvPr id="249" name="Google Shape;249;p72"/>
            <p:cNvSpPr/>
            <p:nvPr/>
          </p:nvSpPr>
          <p:spPr>
            <a:xfrm rot="5400000">
              <a:off x="9246800" y="3988926"/>
              <a:ext cx="371342" cy="176934"/>
            </a:xfrm>
            <a:custGeom>
              <a:avLst/>
              <a:gdLst/>
              <a:ahLst/>
              <a:cxnLst/>
              <a:rect l="l" t="t" r="r" b="b"/>
              <a:pathLst>
                <a:path w="371342" h="176934" extrusionOk="0">
                  <a:moveTo>
                    <a:pt x="0" y="176934"/>
                  </a:moveTo>
                  <a:lnTo>
                    <a:pt x="185671" y="0"/>
                  </a:lnTo>
                  <a:lnTo>
                    <a:pt x="371342" y="176934"/>
                  </a:lnTo>
                </a:path>
              </a:pathLst>
            </a:custGeom>
            <a:solidFill>
              <a:schemeClr val="lt1"/>
            </a:solidFill>
            <a:ln w="254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20434F-E856-C27E-DD2E-524743F791A8}"/>
              </a:ext>
            </a:extLst>
          </p:cNvPr>
          <p:cNvGraphicFramePr>
            <a:graphicFrameLocks noChangeAspect="1"/>
          </p:cNvGraphicFramePr>
          <p:nvPr>
            <p:custDataLst>
              <p:tags r:id="rId1"/>
            </p:custDataLst>
            <p:extLst>
              <p:ext uri="{D42A27DB-BD31-4B8C-83A1-F6EECF244321}">
                <p14:modId xmlns:p14="http://schemas.microsoft.com/office/powerpoint/2010/main" val="1108870486"/>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5B20434F-E856-C27E-DD2E-524743F791A8}"/>
                          </a:ext>
                        </a:extLst>
                      </p:cNvPr>
                      <p:cNvPicPr/>
                      <p:nvPr/>
                    </p:nvPicPr>
                    <p:blipFill>
                      <a:blip r:embed="rId4"/>
                      <a:stretch>
                        <a:fillRect/>
                      </a:stretch>
                    </p:blipFill>
                    <p:spPr>
                      <a:xfrm>
                        <a:off x="1441" y="1531"/>
                        <a:ext cx="1441" cy="1441"/>
                      </a:xfrm>
                      <a:prstGeom prst="rect">
                        <a:avLst/>
                      </a:prstGeom>
                    </p:spPr>
                  </p:pic>
                </p:oleObj>
              </mc:Fallback>
            </mc:AlternateContent>
          </a:graphicData>
        </a:graphic>
      </p:graphicFrame>
      <p:sp>
        <p:nvSpPr>
          <p:cNvPr id="13" name="Google Shape;831;p25">
            <a:extLst>
              <a:ext uri="{FF2B5EF4-FFF2-40B4-BE49-F238E27FC236}">
                <a16:creationId xmlns:a16="http://schemas.microsoft.com/office/drawing/2014/main" id="{6B6DE1E1-ADFC-3C82-AF9A-0F05AD80D8EB}"/>
              </a:ext>
            </a:extLst>
          </p:cNvPr>
          <p:cNvSpPr>
            <a:spLocks/>
          </p:cNvSpPr>
          <p:nvPr/>
        </p:nvSpPr>
        <p:spPr>
          <a:xfrm>
            <a:off x="8035681" y="2096784"/>
            <a:ext cx="3654893" cy="423836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defRPr/>
            </a:pPr>
            <a:endParaRPr sz="1270" dirty="0"/>
          </a:p>
        </p:txBody>
      </p:sp>
      <p:sp>
        <p:nvSpPr>
          <p:cNvPr id="54" name="Google Shape;545;p30">
            <a:extLst>
              <a:ext uri="{FF2B5EF4-FFF2-40B4-BE49-F238E27FC236}">
                <a16:creationId xmlns:a16="http://schemas.microsoft.com/office/drawing/2014/main" id="{1BDBFB7E-5466-26DD-78B9-A4EA00EA8BC3}"/>
              </a:ext>
            </a:extLst>
          </p:cNvPr>
          <p:cNvSpPr>
            <a:spLocks/>
          </p:cNvSpPr>
          <p:nvPr/>
        </p:nvSpPr>
        <p:spPr>
          <a:xfrm>
            <a:off x="8034932" y="1683960"/>
            <a:ext cx="3654797" cy="716854"/>
          </a:xfrm>
          <a:prstGeom prst="round2SameRect">
            <a:avLst/>
          </a:prstGeom>
          <a:gradFill flip="none" rotWithShape="1">
            <a:gsLst>
              <a:gs pos="16000">
                <a:srgbClr val="0F47F2">
                  <a:lumMod val="50000"/>
                </a:srgbClr>
              </a:gs>
              <a:gs pos="46000">
                <a:srgbClr val="0F47F2"/>
              </a:gs>
              <a:gs pos="79000">
                <a:srgbClr val="00B9FF"/>
              </a:gs>
            </a:gsLst>
            <a:lin ang="2700000" scaled="1"/>
            <a:tileRect/>
          </a:gradFill>
          <a:ln w="25400" cap="flat" cmpd="sng" algn="ctr">
            <a:noFill/>
            <a:prstDash val="solid"/>
          </a:ln>
          <a:effectLst/>
        </p:spPr>
        <p:txBody>
          <a:bodyPr lIns="0" tIns="0" rIns="0" bIns="0" rtlCol="0" anchor="ctr">
            <a:noAutofit/>
          </a:bodyPr>
          <a:lstStyle/>
          <a:p>
            <a:pPr algn="ctr" defTabSz="914406">
              <a:buClrTx/>
              <a:defRPr/>
            </a:pPr>
            <a:endParaRPr sz="1800" b="1" kern="1200">
              <a:solidFill>
                <a:srgbClr val="FFFFFF"/>
              </a:solidFill>
              <a:ea typeface="+mn-ea"/>
              <a:cs typeface="Calibri" panose="020F0502020204030204" pitchFamily="34" charset="0"/>
            </a:endParaRPr>
          </a:p>
        </p:txBody>
      </p:sp>
      <p:sp>
        <p:nvSpPr>
          <p:cNvPr id="14" name="Google Shape;831;p25">
            <a:extLst>
              <a:ext uri="{FF2B5EF4-FFF2-40B4-BE49-F238E27FC236}">
                <a16:creationId xmlns:a16="http://schemas.microsoft.com/office/drawing/2014/main" id="{49ABA2F6-6D33-8F8D-1DDB-11FD1855AA71}"/>
              </a:ext>
            </a:extLst>
          </p:cNvPr>
          <p:cNvSpPr>
            <a:spLocks/>
          </p:cNvSpPr>
          <p:nvPr/>
        </p:nvSpPr>
        <p:spPr>
          <a:xfrm>
            <a:off x="4267701" y="2096784"/>
            <a:ext cx="3654893" cy="423836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defRPr/>
            </a:pPr>
            <a:endParaRPr sz="1270" dirty="0"/>
          </a:p>
        </p:txBody>
      </p:sp>
      <p:sp>
        <p:nvSpPr>
          <p:cNvPr id="39" name="Google Shape;545;p30">
            <a:extLst>
              <a:ext uri="{FF2B5EF4-FFF2-40B4-BE49-F238E27FC236}">
                <a16:creationId xmlns:a16="http://schemas.microsoft.com/office/drawing/2014/main" id="{B6149E10-DB19-6E97-BA42-806FD57C294F}"/>
              </a:ext>
            </a:extLst>
          </p:cNvPr>
          <p:cNvSpPr>
            <a:spLocks/>
          </p:cNvSpPr>
          <p:nvPr/>
        </p:nvSpPr>
        <p:spPr>
          <a:xfrm>
            <a:off x="4280237" y="1684944"/>
            <a:ext cx="3654797" cy="716854"/>
          </a:xfrm>
          <a:prstGeom prst="round2SameRect">
            <a:avLst/>
          </a:prstGeom>
          <a:gradFill flip="none" rotWithShape="1">
            <a:gsLst>
              <a:gs pos="16000">
                <a:srgbClr val="0F47F2">
                  <a:lumMod val="50000"/>
                </a:srgbClr>
              </a:gs>
              <a:gs pos="46000">
                <a:srgbClr val="0F47F2"/>
              </a:gs>
              <a:gs pos="79000">
                <a:srgbClr val="00B9FF"/>
              </a:gs>
            </a:gsLst>
            <a:lin ang="2700000" scaled="1"/>
            <a:tileRect/>
          </a:gradFill>
          <a:ln w="25400" cap="flat" cmpd="sng" algn="ctr">
            <a:noFill/>
            <a:prstDash val="solid"/>
          </a:ln>
          <a:effectLst/>
        </p:spPr>
        <p:txBody>
          <a:bodyPr lIns="0" tIns="0" rIns="0" bIns="0" rtlCol="0" anchor="ctr">
            <a:noAutofit/>
          </a:bodyPr>
          <a:lstStyle/>
          <a:p>
            <a:pPr algn="ctr" defTabSz="914406">
              <a:buClrTx/>
              <a:defRPr/>
            </a:pPr>
            <a:endParaRPr sz="1800" b="1" kern="1200">
              <a:solidFill>
                <a:srgbClr val="FFFFFF"/>
              </a:solidFill>
              <a:ea typeface="+mn-ea"/>
              <a:cs typeface="Calibri" panose="020F0502020204030204" pitchFamily="34" charset="0"/>
            </a:endParaRPr>
          </a:p>
        </p:txBody>
      </p:sp>
      <p:sp>
        <p:nvSpPr>
          <p:cNvPr id="12" name="Google Shape;831;p25">
            <a:extLst>
              <a:ext uri="{FF2B5EF4-FFF2-40B4-BE49-F238E27FC236}">
                <a16:creationId xmlns:a16="http://schemas.microsoft.com/office/drawing/2014/main" id="{6DBD8C5B-D702-A493-8E0D-3874137F787E}"/>
              </a:ext>
            </a:extLst>
          </p:cNvPr>
          <p:cNvSpPr>
            <a:spLocks/>
          </p:cNvSpPr>
          <p:nvPr/>
        </p:nvSpPr>
        <p:spPr>
          <a:xfrm>
            <a:off x="499720" y="2096784"/>
            <a:ext cx="3654893" cy="4238366"/>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defRPr/>
            </a:pPr>
            <a:endParaRPr lang="en-US" sz="1270" dirty="0"/>
          </a:p>
        </p:txBody>
      </p:sp>
      <p:sp>
        <p:nvSpPr>
          <p:cNvPr id="37" name="Google Shape;545;p30">
            <a:extLst>
              <a:ext uri="{FF2B5EF4-FFF2-40B4-BE49-F238E27FC236}">
                <a16:creationId xmlns:a16="http://schemas.microsoft.com/office/drawing/2014/main" id="{2AC21F8F-9CF0-476C-3AA8-D5E948FBA41E}"/>
              </a:ext>
            </a:extLst>
          </p:cNvPr>
          <p:cNvSpPr>
            <a:spLocks/>
          </p:cNvSpPr>
          <p:nvPr/>
        </p:nvSpPr>
        <p:spPr>
          <a:xfrm>
            <a:off x="500468" y="1686439"/>
            <a:ext cx="3654797" cy="716854"/>
          </a:xfrm>
          <a:prstGeom prst="round2SameRect">
            <a:avLst/>
          </a:prstGeom>
          <a:gradFill flip="none" rotWithShape="1">
            <a:gsLst>
              <a:gs pos="16000">
                <a:srgbClr val="0F47F2">
                  <a:lumMod val="50000"/>
                </a:srgbClr>
              </a:gs>
              <a:gs pos="46000">
                <a:srgbClr val="0F47F2"/>
              </a:gs>
              <a:gs pos="79000">
                <a:srgbClr val="00B9FF"/>
              </a:gs>
            </a:gsLst>
            <a:lin ang="2700000" scaled="1"/>
            <a:tileRect/>
          </a:gradFill>
          <a:ln w="25400" cap="flat" cmpd="sng" algn="ctr">
            <a:noFill/>
            <a:prstDash val="solid"/>
          </a:ln>
          <a:effectLst/>
        </p:spPr>
        <p:txBody>
          <a:bodyPr lIns="0" tIns="0" rIns="0" bIns="0" rtlCol="0" anchor="ctr">
            <a:noAutofit/>
          </a:bodyPr>
          <a:lstStyle/>
          <a:p>
            <a:pPr algn="ctr" defTabSz="914406">
              <a:buClrTx/>
              <a:defRPr/>
            </a:pPr>
            <a:endParaRPr sz="1800" b="1" kern="1200">
              <a:solidFill>
                <a:srgbClr val="FFFFFF"/>
              </a:solidFill>
              <a:ea typeface="+mn-ea"/>
              <a:cs typeface="Calibri" panose="020F0502020204030204" pitchFamily="34" charset="0"/>
            </a:endParaRPr>
          </a:p>
        </p:txBody>
      </p:sp>
      <p:sp>
        <p:nvSpPr>
          <p:cNvPr id="4" name="Title 3">
            <a:extLst>
              <a:ext uri="{FF2B5EF4-FFF2-40B4-BE49-F238E27FC236}">
                <a16:creationId xmlns:a16="http://schemas.microsoft.com/office/drawing/2014/main" id="{3CDE784D-5533-C755-84E7-62641661B0D2}"/>
              </a:ext>
            </a:extLst>
          </p:cNvPr>
          <p:cNvSpPr>
            <a:spLocks noGrp="1"/>
          </p:cNvSpPr>
          <p:nvPr>
            <p:ph type="title"/>
          </p:nvPr>
        </p:nvSpPr>
        <p:spPr>
          <a:xfrm>
            <a:off x="531814" y="560664"/>
            <a:ext cx="9815174" cy="830997"/>
          </a:xfrm>
        </p:spPr>
        <p:txBody>
          <a:bodyPr vert="horz"/>
          <a:lstStyle/>
          <a:p>
            <a:r>
              <a:rPr lang="en-US" sz="3000" dirty="0">
                <a:latin typeface="Franklin Gothic" panose="020B0604020202020204" charset="0"/>
              </a:rPr>
              <a:t>Assessing Candidates’ Experience through Sentiment Analysis</a:t>
            </a:r>
          </a:p>
        </p:txBody>
      </p:sp>
      <p:grpSp>
        <p:nvGrpSpPr>
          <p:cNvPr id="9" name="Group 8">
            <a:extLst>
              <a:ext uri="{FF2B5EF4-FFF2-40B4-BE49-F238E27FC236}">
                <a16:creationId xmlns:a16="http://schemas.microsoft.com/office/drawing/2014/main" id="{E9600AAE-D2C3-E412-75F5-5CFD6CE2A94B}"/>
              </a:ext>
            </a:extLst>
          </p:cNvPr>
          <p:cNvGrpSpPr/>
          <p:nvPr/>
        </p:nvGrpSpPr>
        <p:grpSpPr>
          <a:xfrm>
            <a:off x="10346988" y="560664"/>
            <a:ext cx="1845013" cy="886350"/>
            <a:chOff x="11405937" y="617945"/>
            <a:chExt cx="2033838" cy="977062"/>
          </a:xfrm>
        </p:grpSpPr>
        <p:sp>
          <p:nvSpPr>
            <p:cNvPr id="10" name="Arrow: Pentagon 9">
              <a:extLst>
                <a:ext uri="{FF2B5EF4-FFF2-40B4-BE49-F238E27FC236}">
                  <a16:creationId xmlns:a16="http://schemas.microsoft.com/office/drawing/2014/main" id="{7D2FD724-392D-CFA7-E492-EA5DB90693AF}"/>
                </a:ext>
              </a:extLst>
            </p:cNvPr>
            <p:cNvSpPr>
              <a:spLocks/>
            </p:cNvSpPr>
            <p:nvPr/>
          </p:nvSpPr>
          <p:spPr>
            <a:xfrm flipH="1">
              <a:off x="11405937" y="617945"/>
              <a:ext cx="2033838" cy="977062"/>
            </a:xfrm>
            <a:prstGeom prst="homePlate">
              <a:avLst>
                <a:gd name="adj" fmla="val 1507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defRPr/>
              </a:pPr>
              <a:endParaRPr lang="en-US" sz="1270" dirty="0">
                <a:solidFill>
                  <a:srgbClr val="FFFFFF"/>
                </a:solidFill>
                <a:latin typeface="Calibri" panose="020F0502020204030204"/>
              </a:endParaRPr>
            </a:p>
          </p:txBody>
        </p:sp>
        <p:pic>
          <p:nvPicPr>
            <p:cNvPr id="11" name="Google Shape;547;p30">
              <a:extLst>
                <a:ext uri="{FF2B5EF4-FFF2-40B4-BE49-F238E27FC236}">
                  <a16:creationId xmlns:a16="http://schemas.microsoft.com/office/drawing/2014/main" id="{118871B0-02EF-4F7A-A9EE-8BD96EE66D5F}"/>
                </a:ext>
              </a:extLst>
            </p:cNvPr>
            <p:cNvPicPr preferRelativeResize="0"/>
            <p:nvPr/>
          </p:nvPicPr>
          <p:blipFill rotWithShape="1">
            <a:blip r:embed="rId5" cstate="print">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11927040" y="677910"/>
              <a:ext cx="949173" cy="857133"/>
            </a:xfrm>
            <a:prstGeom prst="rect">
              <a:avLst/>
            </a:prstGeom>
            <a:noFill/>
            <a:ln>
              <a:noFill/>
            </a:ln>
          </p:spPr>
        </p:pic>
      </p:grpSp>
      <p:sp>
        <p:nvSpPr>
          <p:cNvPr id="15" name="Google Shape;563;p30">
            <a:extLst>
              <a:ext uri="{FF2B5EF4-FFF2-40B4-BE49-F238E27FC236}">
                <a16:creationId xmlns:a16="http://schemas.microsoft.com/office/drawing/2014/main" id="{8D0FFC6C-9A87-5503-913C-B26675408B02}"/>
              </a:ext>
            </a:extLst>
          </p:cNvPr>
          <p:cNvSpPr txBox="1">
            <a:spLocks/>
          </p:cNvSpPr>
          <p:nvPr/>
        </p:nvSpPr>
        <p:spPr>
          <a:xfrm>
            <a:off x="8262866" y="2461766"/>
            <a:ext cx="3199308" cy="3655270"/>
          </a:xfrm>
          <a:prstGeom prst="rect">
            <a:avLst/>
          </a:prstGeom>
          <a:noFill/>
          <a:ln>
            <a:noFill/>
          </a:ln>
        </p:spPr>
        <p:txBody>
          <a:bodyPr spcFirstLastPara="1" wrap="square" lIns="0" tIns="0" rIns="0" bIns="0" anchor="t" anchorCtr="0">
            <a:noAutofit/>
          </a:bodyPr>
          <a:lstStyle/>
          <a:p>
            <a:pPr defTabSz="829544">
              <a:buClr>
                <a:srgbClr val="00B9FF"/>
              </a:buClr>
              <a:buSzPct val="100000"/>
              <a:defRPr/>
            </a:pPr>
            <a:r>
              <a:rPr lang="en-US" sz="1452" dirty="0">
                <a:solidFill>
                  <a:srgbClr val="444444"/>
                </a:solidFill>
                <a:latin typeface="Calibri" panose="020F0502020204030204"/>
                <a:ea typeface="Calibri"/>
                <a:cs typeface="Calibri"/>
                <a:sym typeface="Calibri"/>
              </a:rPr>
              <a:t>The client benefited from Infomineo Data Analytics service on multiple fronts: </a:t>
            </a:r>
          </a:p>
          <a:p>
            <a:pPr marL="157613" indent="-157613" defTabSz="829544">
              <a:buClr>
                <a:srgbClr val="00B9FF"/>
              </a:buClr>
              <a:buSzPct val="100000"/>
              <a:buFont typeface="Wingdings" panose="05000000000000000000" pitchFamily="2" charset="2"/>
              <a:buChar char="§"/>
              <a:defRPr/>
            </a:pPr>
            <a:endParaRPr lang="en-US" sz="1452" b="1" dirty="0">
              <a:solidFill>
                <a:srgbClr val="00B9FF"/>
              </a:solidFill>
              <a:latin typeface="Calibri" panose="020F0502020204030204"/>
              <a:ea typeface="Calibri"/>
              <a:cs typeface="Calibri"/>
              <a:sym typeface="Calibri"/>
            </a:endParaRPr>
          </a:p>
          <a:p>
            <a:pPr defTabSz="829544">
              <a:buClr>
                <a:srgbClr val="00B9FF"/>
              </a:buClr>
              <a:buSzPct val="100000"/>
              <a:defRPr/>
            </a:pPr>
            <a:r>
              <a:rPr lang="en-US" sz="1452" b="1" dirty="0">
                <a:solidFill>
                  <a:srgbClr val="00B9FF"/>
                </a:solidFill>
                <a:latin typeface="Calibri" panose="020F0502020204030204"/>
                <a:ea typeface="Calibri"/>
                <a:cs typeface="Calibri"/>
                <a:sym typeface="Calibri"/>
              </a:rPr>
              <a:t>Data-Driven Decision-Making</a:t>
            </a:r>
            <a:endParaRPr lang="en-US" sz="1452" dirty="0">
              <a:solidFill>
                <a:srgbClr val="00B9FF"/>
              </a:solidFill>
              <a:latin typeface="Calibri" panose="020F0502020204030204"/>
              <a:ea typeface="Calibri"/>
              <a:cs typeface="Calibri"/>
              <a:sym typeface="Calibri"/>
            </a:endParaRPr>
          </a:p>
          <a:p>
            <a:pPr marL="311079" indent="-311079" defTabSz="829544">
              <a:buClr>
                <a:srgbClr val="444444"/>
              </a:buClr>
              <a:buSzPct val="100000"/>
              <a:buFont typeface="Calibri" panose="020F0502020204030204" pitchFamily="34" charset="0"/>
              <a:buChar char="⁻"/>
              <a:defRPr/>
            </a:pPr>
            <a:r>
              <a:rPr lang="en-US" sz="1452" dirty="0">
                <a:latin typeface="Calibri" panose="020F0502020204030204"/>
                <a:ea typeface="Calibri"/>
                <a:cs typeface="Calibri"/>
                <a:sym typeface="Calibri"/>
              </a:rPr>
              <a:t>Re-evaluate the recruitment procedures.</a:t>
            </a:r>
          </a:p>
          <a:p>
            <a:pPr marL="311079" indent="-311079" defTabSz="829544">
              <a:buClr>
                <a:srgbClr val="444444"/>
              </a:buClr>
              <a:buSzPct val="100000"/>
              <a:buFont typeface="Calibri" panose="020F0502020204030204" pitchFamily="34" charset="0"/>
              <a:buChar char="⁻"/>
              <a:defRPr/>
            </a:pPr>
            <a:r>
              <a:rPr lang="en-US" sz="1452" dirty="0">
                <a:latin typeface="Calibri" panose="020F0502020204030204"/>
                <a:ea typeface="Calibri"/>
                <a:cs typeface="Calibri"/>
                <a:sym typeface="Calibri"/>
              </a:rPr>
              <a:t>Identify specific areas where improvements could be made.</a:t>
            </a:r>
          </a:p>
          <a:p>
            <a:pPr marL="311079" indent="-311079" defTabSz="829544">
              <a:buClr>
                <a:srgbClr val="444444"/>
              </a:buClr>
              <a:buSzPct val="100000"/>
              <a:buFont typeface="Calibri" panose="020F0502020204030204" pitchFamily="34" charset="0"/>
              <a:buChar char="⁻"/>
              <a:defRPr/>
            </a:pPr>
            <a:r>
              <a:rPr lang="en-US" sz="1452" dirty="0">
                <a:latin typeface="Calibri" panose="020F0502020204030204"/>
                <a:ea typeface="Calibri"/>
                <a:cs typeface="Calibri"/>
                <a:sym typeface="Calibri"/>
              </a:rPr>
              <a:t>Enhance the candidate experience at the global, regional, country, and departmental levels.</a:t>
            </a:r>
          </a:p>
          <a:p>
            <a:pPr marL="157613" indent="-157613" defTabSz="829544">
              <a:buClr>
                <a:srgbClr val="0F47F2"/>
              </a:buClr>
              <a:buSzPct val="100000"/>
              <a:buFont typeface="Wingdings" panose="05000000000000000000" pitchFamily="2" charset="2"/>
              <a:buChar char="§"/>
              <a:defRPr/>
            </a:pPr>
            <a:endParaRPr lang="en-US" sz="1452" dirty="0">
              <a:latin typeface="Calibri" panose="020F0502020204030204"/>
              <a:ea typeface="Calibri"/>
              <a:cs typeface="Calibri"/>
              <a:sym typeface="Calibri"/>
            </a:endParaRPr>
          </a:p>
          <a:p>
            <a:pPr defTabSz="829544">
              <a:buClr>
                <a:srgbClr val="00B9FF"/>
              </a:buClr>
              <a:buSzPct val="100000"/>
              <a:defRPr/>
            </a:pPr>
            <a:r>
              <a:rPr lang="en-US" sz="1452" b="1" dirty="0">
                <a:solidFill>
                  <a:srgbClr val="00B9FF"/>
                </a:solidFill>
                <a:latin typeface="Calibri" panose="020F0502020204030204"/>
                <a:ea typeface="Calibri"/>
                <a:cs typeface="Calibri"/>
                <a:sym typeface="Calibri"/>
              </a:rPr>
              <a:t>Advanced Analytics Perspectives</a:t>
            </a:r>
          </a:p>
          <a:p>
            <a:pPr defTabSz="829544">
              <a:buClr>
                <a:srgbClr val="00B9FF"/>
              </a:buClr>
              <a:buSzPct val="100000"/>
              <a:defRPr/>
            </a:pPr>
            <a:r>
              <a:rPr lang="en-US" sz="1452" dirty="0">
                <a:solidFill>
                  <a:srgbClr val="444444"/>
                </a:solidFill>
                <a:latin typeface="Calibri" panose="020F0502020204030204"/>
                <a:ea typeface="Calibri"/>
                <a:cs typeface="Calibri"/>
                <a:sym typeface="Calibri"/>
              </a:rPr>
              <a:t>The AI-powered tool offered the client a fresh perspective on harnessing advanced analytics within their operations</a:t>
            </a:r>
            <a:endParaRPr lang="en-US" sz="1452" dirty="0">
              <a:solidFill>
                <a:srgbClr val="444444"/>
              </a:solidFill>
              <a:latin typeface="Calibri" panose="020F0502020204030204"/>
              <a:ea typeface="Calibri"/>
              <a:cs typeface="Calibri"/>
            </a:endParaRPr>
          </a:p>
        </p:txBody>
      </p:sp>
      <p:sp>
        <p:nvSpPr>
          <p:cNvPr id="16" name="Google Shape;543;p30">
            <a:extLst>
              <a:ext uri="{FF2B5EF4-FFF2-40B4-BE49-F238E27FC236}">
                <a16:creationId xmlns:a16="http://schemas.microsoft.com/office/drawing/2014/main" id="{91D310E8-C1CE-B245-234F-A77B9CDA577C}"/>
              </a:ext>
            </a:extLst>
          </p:cNvPr>
          <p:cNvSpPr txBox="1">
            <a:spLocks/>
          </p:cNvSpPr>
          <p:nvPr/>
        </p:nvSpPr>
        <p:spPr>
          <a:xfrm>
            <a:off x="684125" y="2494084"/>
            <a:ext cx="3331275" cy="1564211"/>
          </a:xfrm>
          <a:prstGeom prst="rect">
            <a:avLst/>
          </a:prstGeom>
          <a:noFill/>
          <a:ln>
            <a:noFill/>
          </a:ln>
        </p:spPr>
        <p:txBody>
          <a:bodyPr spcFirstLastPara="1" wrap="square" lIns="0" tIns="0" rIns="0" bIns="0" anchor="t" anchorCtr="0">
            <a:spAutoFit/>
          </a:bodyPr>
          <a:lstStyle/>
          <a:p>
            <a:pPr defTabSz="829544">
              <a:defRPr/>
            </a:pPr>
            <a:r>
              <a:rPr lang="en-US" sz="1452" dirty="0">
                <a:solidFill>
                  <a:srgbClr val="444444"/>
                </a:solidFill>
                <a:latin typeface="Calibri" panose="020F0502020204030204"/>
                <a:ea typeface="Calibri"/>
                <a:cs typeface="Calibri"/>
                <a:sym typeface="Calibri"/>
              </a:rPr>
              <a:t>The client need to analyze a large volume of candidates' feedback data collected during the recruitment process and sought an automated solution.</a:t>
            </a:r>
          </a:p>
          <a:p>
            <a:pPr defTabSz="829544">
              <a:defRPr/>
            </a:pPr>
            <a:endParaRPr lang="en-US" sz="1452" dirty="0">
              <a:solidFill>
                <a:srgbClr val="444444"/>
              </a:solidFill>
              <a:latin typeface="Calibri" panose="020F0502020204030204"/>
              <a:ea typeface="Calibri"/>
              <a:cs typeface="Calibri"/>
              <a:sym typeface="Calibri"/>
            </a:endParaRPr>
          </a:p>
          <a:p>
            <a:pPr defTabSz="829544">
              <a:defRPr/>
            </a:pPr>
            <a:r>
              <a:rPr lang="en-US" sz="1452" dirty="0">
                <a:solidFill>
                  <a:srgbClr val="444444"/>
                </a:solidFill>
                <a:latin typeface="Calibri" panose="020F0502020204030204"/>
                <a:ea typeface="Calibri"/>
                <a:cs typeface="Calibri"/>
                <a:sym typeface="Calibri"/>
              </a:rPr>
              <a:t>The firm was looking for: </a:t>
            </a:r>
          </a:p>
          <a:p>
            <a:pPr defTabSz="829544">
              <a:defRPr/>
            </a:pPr>
            <a:endParaRPr lang="en-US" sz="1452" dirty="0">
              <a:solidFill>
                <a:srgbClr val="444444"/>
              </a:solidFill>
              <a:latin typeface="Calibri" panose="020F0502020204030204"/>
              <a:ea typeface="Calibri"/>
              <a:cs typeface="Calibri"/>
              <a:sym typeface="Calibri"/>
            </a:endParaRPr>
          </a:p>
        </p:txBody>
      </p:sp>
      <p:sp>
        <p:nvSpPr>
          <p:cNvPr id="17" name="Google Shape;565;p30">
            <a:extLst>
              <a:ext uri="{FF2B5EF4-FFF2-40B4-BE49-F238E27FC236}">
                <a16:creationId xmlns:a16="http://schemas.microsoft.com/office/drawing/2014/main" id="{673118F9-672E-C047-3A4D-144B7DE7E395}"/>
              </a:ext>
            </a:extLst>
          </p:cNvPr>
          <p:cNvSpPr txBox="1">
            <a:spLocks/>
          </p:cNvSpPr>
          <p:nvPr/>
        </p:nvSpPr>
        <p:spPr>
          <a:xfrm>
            <a:off x="4492796" y="2461767"/>
            <a:ext cx="3315700" cy="368125"/>
          </a:xfrm>
          <a:prstGeom prst="rect">
            <a:avLst/>
          </a:prstGeom>
          <a:noFill/>
          <a:ln>
            <a:noFill/>
          </a:ln>
        </p:spPr>
        <p:txBody>
          <a:bodyPr spcFirstLastPara="1" wrap="square" lIns="0" tIns="0" rIns="0" bIns="0" anchor="t" anchorCtr="0">
            <a:noAutofit/>
          </a:bodyPr>
          <a:lstStyle/>
          <a:p>
            <a:pPr defTabSz="829544">
              <a:defRPr/>
            </a:pPr>
            <a:r>
              <a:rPr lang="en-US" sz="1452" dirty="0">
                <a:solidFill>
                  <a:srgbClr val="222222"/>
                </a:solidFill>
                <a:latin typeface="Calibri" panose="020F0502020204030204"/>
                <a:ea typeface="Calibri"/>
                <a:cs typeface="Calibri"/>
                <a:sym typeface="Calibri"/>
              </a:rPr>
              <a:t>Infomineo’s Data Analytics team addressed the client’s challenges by:</a:t>
            </a:r>
          </a:p>
        </p:txBody>
      </p:sp>
      <p:grpSp>
        <p:nvGrpSpPr>
          <p:cNvPr id="22" name="Group 21">
            <a:extLst>
              <a:ext uri="{FF2B5EF4-FFF2-40B4-BE49-F238E27FC236}">
                <a16:creationId xmlns:a16="http://schemas.microsoft.com/office/drawing/2014/main" id="{731A042F-0D4E-8A7F-EABA-CC8D82FEB838}"/>
              </a:ext>
            </a:extLst>
          </p:cNvPr>
          <p:cNvGrpSpPr/>
          <p:nvPr/>
        </p:nvGrpSpPr>
        <p:grpSpPr>
          <a:xfrm>
            <a:off x="3465991" y="1746794"/>
            <a:ext cx="592190" cy="593331"/>
            <a:chOff x="3416568" y="1395569"/>
            <a:chExt cx="955760" cy="957600"/>
          </a:xfrm>
        </p:grpSpPr>
        <p:sp>
          <p:nvSpPr>
            <p:cNvPr id="23" name="Google Shape;551;p30">
              <a:extLst>
                <a:ext uri="{FF2B5EF4-FFF2-40B4-BE49-F238E27FC236}">
                  <a16:creationId xmlns:a16="http://schemas.microsoft.com/office/drawing/2014/main" id="{456D4AD3-A19A-0B2C-C717-7F1E3FD773BF}"/>
                </a:ext>
              </a:extLst>
            </p:cNvPr>
            <p:cNvSpPr/>
            <p:nvPr/>
          </p:nvSpPr>
          <p:spPr>
            <a:xfrm>
              <a:off x="3416568"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401">
                <a:solidFill>
                  <a:srgbClr val="FFFFFF"/>
                </a:solidFill>
              </a:endParaRPr>
            </a:p>
          </p:txBody>
        </p:sp>
        <p:pic>
          <p:nvPicPr>
            <p:cNvPr id="24" name="Google Shape;552;p30">
              <a:extLst>
                <a:ext uri="{FF2B5EF4-FFF2-40B4-BE49-F238E27FC236}">
                  <a16:creationId xmlns:a16="http://schemas.microsoft.com/office/drawing/2014/main" id="{580BF20C-A87C-20C9-1E2B-4188E0DF790D}"/>
                </a:ext>
              </a:extLst>
            </p:cNvPr>
            <p:cNvPicPr preferRelativeResize="0"/>
            <p:nvPr/>
          </p:nvPicPr>
          <p:blipFill rotWithShape="1">
            <a:blip r:embed="rId7" cstate="print">
              <a:alphaModFix/>
              <a:extLst>
                <a:ext uri="{28A0092B-C50C-407E-A947-70E740481C1C}">
                  <a14:useLocalDpi xmlns:a14="http://schemas.microsoft.com/office/drawing/2010/main" val="0"/>
                </a:ext>
              </a:extLst>
            </a:blip>
            <a:srcRect/>
            <a:stretch/>
          </p:blipFill>
          <p:spPr>
            <a:xfrm>
              <a:off x="3568608" y="1548529"/>
              <a:ext cx="651681" cy="651681"/>
            </a:xfrm>
            <a:prstGeom prst="rect">
              <a:avLst/>
            </a:prstGeom>
            <a:noFill/>
            <a:ln>
              <a:noFill/>
            </a:ln>
          </p:spPr>
        </p:pic>
      </p:grpSp>
      <p:grpSp>
        <p:nvGrpSpPr>
          <p:cNvPr id="27" name="Group 26">
            <a:extLst>
              <a:ext uri="{FF2B5EF4-FFF2-40B4-BE49-F238E27FC236}">
                <a16:creationId xmlns:a16="http://schemas.microsoft.com/office/drawing/2014/main" id="{4F1D2C07-8BE7-9348-58A1-E79E8DC2B6C5}"/>
              </a:ext>
            </a:extLst>
          </p:cNvPr>
          <p:cNvGrpSpPr/>
          <p:nvPr/>
        </p:nvGrpSpPr>
        <p:grpSpPr>
          <a:xfrm>
            <a:off x="7222958" y="1746794"/>
            <a:ext cx="592190" cy="593331"/>
            <a:chOff x="7762572" y="1395569"/>
            <a:chExt cx="955760" cy="957600"/>
          </a:xfrm>
        </p:grpSpPr>
        <p:sp>
          <p:nvSpPr>
            <p:cNvPr id="28" name="Google Shape;568;p30">
              <a:extLst>
                <a:ext uri="{FF2B5EF4-FFF2-40B4-BE49-F238E27FC236}">
                  <a16:creationId xmlns:a16="http://schemas.microsoft.com/office/drawing/2014/main" id="{57E815B7-80BC-D1F2-CF50-1E7EBF4C4FB5}"/>
                </a:ext>
              </a:extLst>
            </p:cNvPr>
            <p:cNvSpPr/>
            <p:nvPr/>
          </p:nvSpPr>
          <p:spPr>
            <a:xfrm>
              <a:off x="7762572"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597">
                <a:solidFill>
                  <a:srgbClr val="FFFFFF"/>
                </a:solidFill>
              </a:endParaRPr>
            </a:p>
          </p:txBody>
        </p:sp>
        <p:pic>
          <p:nvPicPr>
            <p:cNvPr id="29" name="Google Shape;569;p30">
              <a:extLst>
                <a:ext uri="{FF2B5EF4-FFF2-40B4-BE49-F238E27FC236}">
                  <a16:creationId xmlns:a16="http://schemas.microsoft.com/office/drawing/2014/main" id="{777BD43C-415D-E39C-5597-C8009F84E260}"/>
                </a:ext>
              </a:extLst>
            </p:cNvPr>
            <p:cNvPicPr preferRelativeResize="0"/>
            <p:nvPr/>
          </p:nvPicPr>
          <p:blipFill rotWithShape="1">
            <a:blip r:embed="rId8" cstate="print">
              <a:alphaModFix/>
              <a:extLst>
                <a:ext uri="{28A0092B-C50C-407E-A947-70E740481C1C}">
                  <a14:useLocalDpi xmlns:a14="http://schemas.microsoft.com/office/drawing/2010/main" val="0"/>
                </a:ext>
              </a:extLst>
            </a:blip>
            <a:srcRect/>
            <a:stretch/>
          </p:blipFill>
          <p:spPr>
            <a:xfrm>
              <a:off x="7909107" y="1543024"/>
              <a:ext cx="662691" cy="662691"/>
            </a:xfrm>
            <a:prstGeom prst="rect">
              <a:avLst/>
            </a:prstGeom>
            <a:noFill/>
            <a:ln>
              <a:noFill/>
            </a:ln>
          </p:spPr>
        </p:pic>
      </p:grpSp>
      <p:grpSp>
        <p:nvGrpSpPr>
          <p:cNvPr id="30" name="Group 29">
            <a:extLst>
              <a:ext uri="{FF2B5EF4-FFF2-40B4-BE49-F238E27FC236}">
                <a16:creationId xmlns:a16="http://schemas.microsoft.com/office/drawing/2014/main" id="{30CCAFC6-E51F-DF96-F072-69ACFC427C2E}"/>
              </a:ext>
            </a:extLst>
          </p:cNvPr>
          <p:cNvGrpSpPr/>
          <p:nvPr/>
        </p:nvGrpSpPr>
        <p:grpSpPr>
          <a:xfrm>
            <a:off x="10997736" y="1746794"/>
            <a:ext cx="592190" cy="593331"/>
            <a:chOff x="12019931" y="1366765"/>
            <a:chExt cx="955760" cy="957600"/>
          </a:xfrm>
        </p:grpSpPr>
        <p:sp>
          <p:nvSpPr>
            <p:cNvPr id="31" name="Google Shape;583;p30">
              <a:extLst>
                <a:ext uri="{FF2B5EF4-FFF2-40B4-BE49-F238E27FC236}">
                  <a16:creationId xmlns:a16="http://schemas.microsoft.com/office/drawing/2014/main" id="{6838AA54-C60E-E908-605A-F26E748F0229}"/>
                </a:ext>
              </a:extLst>
            </p:cNvPr>
            <p:cNvSpPr/>
            <p:nvPr/>
          </p:nvSpPr>
          <p:spPr>
            <a:xfrm>
              <a:off x="12019931" y="1366765"/>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401">
                <a:solidFill>
                  <a:srgbClr val="FFFFFF"/>
                </a:solidFill>
                <a:highlight>
                  <a:srgbClr val="FFFF00"/>
                </a:highlight>
              </a:endParaRPr>
            </a:p>
          </p:txBody>
        </p:sp>
        <p:grpSp>
          <p:nvGrpSpPr>
            <p:cNvPr id="32" name="Google Shape;584;p30">
              <a:extLst>
                <a:ext uri="{FF2B5EF4-FFF2-40B4-BE49-F238E27FC236}">
                  <a16:creationId xmlns:a16="http://schemas.microsoft.com/office/drawing/2014/main" id="{202660EC-89A0-8F32-72C5-DA21D25FF1FD}"/>
                </a:ext>
              </a:extLst>
            </p:cNvPr>
            <p:cNvGrpSpPr/>
            <p:nvPr/>
          </p:nvGrpSpPr>
          <p:grpSpPr>
            <a:xfrm>
              <a:off x="12226115" y="1593618"/>
              <a:ext cx="543392" cy="503895"/>
              <a:chOff x="10915170" y="2075424"/>
              <a:chExt cx="432288" cy="400866"/>
            </a:xfrm>
          </p:grpSpPr>
          <p:sp>
            <p:nvSpPr>
              <p:cNvPr id="33" name="Google Shape;585;p30">
                <a:extLst>
                  <a:ext uri="{FF2B5EF4-FFF2-40B4-BE49-F238E27FC236}">
                    <a16:creationId xmlns:a16="http://schemas.microsoft.com/office/drawing/2014/main" id="{9D51ECE1-4669-5B7B-3132-934B9ADC8D35}"/>
                  </a:ext>
                </a:extLst>
              </p:cNvPr>
              <p:cNvSpPr/>
              <p:nvPr/>
            </p:nvSpPr>
            <p:spPr>
              <a:xfrm>
                <a:off x="10915170" y="2075424"/>
                <a:ext cx="432288" cy="400866"/>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noFill/>
              <a:ln w="6350" cap="flat" cmpd="sng">
                <a:solidFill>
                  <a:schemeClr val="accent1"/>
                </a:solidFill>
                <a:prstDash val="solid"/>
                <a:round/>
                <a:headEnd type="none" w="sm" len="sm"/>
                <a:tailEnd type="none" w="sm" len="sm"/>
              </a:ln>
            </p:spPr>
            <p:txBody>
              <a:bodyPr spcFirstLastPara="1" wrap="square" lIns="91424" tIns="45698" rIns="91424" bIns="45698" anchor="t" anchorCtr="0">
                <a:noAutofit/>
              </a:bodyPr>
              <a:lstStyle/>
              <a:p>
                <a:pPr defTabSz="829544">
                  <a:defRPr/>
                </a:pPr>
                <a:endParaRPr sz="1801">
                  <a:solidFill>
                    <a:srgbClr val="444444"/>
                  </a:solidFill>
                  <a:highlight>
                    <a:srgbClr val="FFFF00"/>
                  </a:highlight>
                  <a:latin typeface="Calibri"/>
                  <a:ea typeface="Calibri"/>
                  <a:cs typeface="Calibri"/>
                  <a:sym typeface="Calibri"/>
                </a:endParaRPr>
              </a:p>
            </p:txBody>
          </p:sp>
          <p:sp>
            <p:nvSpPr>
              <p:cNvPr id="34" name="Google Shape;586;p30">
                <a:extLst>
                  <a:ext uri="{FF2B5EF4-FFF2-40B4-BE49-F238E27FC236}">
                    <a16:creationId xmlns:a16="http://schemas.microsoft.com/office/drawing/2014/main" id="{3D166A38-0986-9A3D-A20D-D28966DB058B}"/>
                  </a:ext>
                </a:extLst>
              </p:cNvPr>
              <p:cNvSpPr/>
              <p:nvPr/>
            </p:nvSpPr>
            <p:spPr>
              <a:xfrm>
                <a:off x="11005647" y="2167089"/>
                <a:ext cx="282550" cy="266407"/>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3175" cap="flat" cmpd="sng">
                <a:solidFill>
                  <a:schemeClr val="accent1"/>
                </a:solidFill>
                <a:prstDash val="solid"/>
                <a:round/>
                <a:headEnd type="none" w="sm" len="sm"/>
                <a:tailEnd type="none" w="sm" len="sm"/>
              </a:ln>
            </p:spPr>
            <p:txBody>
              <a:bodyPr spcFirstLastPara="1" wrap="square" lIns="91424" tIns="45698" rIns="91424" bIns="45698" anchor="t" anchorCtr="0">
                <a:noAutofit/>
              </a:bodyPr>
              <a:lstStyle/>
              <a:p>
                <a:pPr defTabSz="829544">
                  <a:defRPr/>
                </a:pPr>
                <a:endParaRPr sz="1801">
                  <a:solidFill>
                    <a:srgbClr val="444444"/>
                  </a:solidFill>
                  <a:highlight>
                    <a:srgbClr val="FFFF00"/>
                  </a:highlight>
                  <a:latin typeface="Calibri"/>
                  <a:ea typeface="Calibri"/>
                  <a:cs typeface="Calibri"/>
                  <a:sym typeface="Calibri"/>
                </a:endParaRPr>
              </a:p>
            </p:txBody>
          </p:sp>
        </p:grpSp>
      </p:grpSp>
      <p:grpSp>
        <p:nvGrpSpPr>
          <p:cNvPr id="7" name="Group 6">
            <a:extLst>
              <a:ext uri="{FF2B5EF4-FFF2-40B4-BE49-F238E27FC236}">
                <a16:creationId xmlns:a16="http://schemas.microsoft.com/office/drawing/2014/main" id="{8DD0F1CD-71C7-10E2-D28B-94400833EABD}"/>
              </a:ext>
            </a:extLst>
          </p:cNvPr>
          <p:cNvGrpSpPr/>
          <p:nvPr/>
        </p:nvGrpSpPr>
        <p:grpSpPr>
          <a:xfrm>
            <a:off x="684126" y="4048570"/>
            <a:ext cx="3097525" cy="588535"/>
            <a:chOff x="803725" y="4219935"/>
            <a:chExt cx="3414537" cy="648768"/>
          </a:xfrm>
        </p:grpSpPr>
        <p:sp>
          <p:nvSpPr>
            <p:cNvPr id="61" name="Google Shape;561;p30">
              <a:extLst>
                <a:ext uri="{FF2B5EF4-FFF2-40B4-BE49-F238E27FC236}">
                  <a16:creationId xmlns:a16="http://schemas.microsoft.com/office/drawing/2014/main" id="{2283A587-2296-7AE0-0660-5BA1D053D36D}"/>
                </a:ext>
              </a:extLst>
            </p:cNvPr>
            <p:cNvSpPr txBox="1">
              <a:spLocks/>
            </p:cNvSpPr>
            <p:nvPr/>
          </p:nvSpPr>
          <p:spPr>
            <a:xfrm>
              <a:off x="1437182" y="4219935"/>
              <a:ext cx="2781080" cy="648768"/>
            </a:xfrm>
            <a:prstGeom prst="rect">
              <a:avLst/>
            </a:prstGeom>
            <a:noFill/>
            <a:ln>
              <a:noFill/>
            </a:ln>
          </p:spPr>
          <p:txBody>
            <a:bodyPr spcFirstLastPara="1" wrap="square" lIns="0" tIns="0" rIns="0" bIns="0" anchor="t" anchorCtr="0">
              <a:noAutofit/>
            </a:bodyPr>
            <a:lstStyle/>
            <a:p>
              <a:pPr defTabSz="829544">
                <a:defRPr/>
              </a:pPr>
              <a:r>
                <a:rPr lang="en-US" sz="1452" dirty="0">
                  <a:solidFill>
                    <a:srgbClr val="444444"/>
                  </a:solidFill>
                  <a:latin typeface="Calibri" panose="020F0502020204030204"/>
                  <a:ea typeface="Calibri"/>
                  <a:cs typeface="Calibri"/>
                  <a:sym typeface="Calibri"/>
                </a:rPr>
                <a:t>An automated tool to analyze candidate feedback, replacing the manual analysis process.</a:t>
              </a:r>
              <a:endParaRPr lang="en-US" sz="1452" dirty="0">
                <a:latin typeface="Calibri" panose="020F0502020204030204"/>
                <a:ea typeface="Calibri"/>
                <a:cs typeface="Calibri"/>
                <a:sym typeface="Calibri"/>
              </a:endParaRPr>
            </a:p>
          </p:txBody>
        </p:sp>
        <p:grpSp>
          <p:nvGrpSpPr>
            <p:cNvPr id="73" name="Group 72">
              <a:extLst>
                <a:ext uri="{FF2B5EF4-FFF2-40B4-BE49-F238E27FC236}">
                  <a16:creationId xmlns:a16="http://schemas.microsoft.com/office/drawing/2014/main" id="{D42463D1-5A0D-F381-3886-7D81E064EF9C}"/>
                </a:ext>
              </a:extLst>
            </p:cNvPr>
            <p:cNvGrpSpPr/>
            <p:nvPr/>
          </p:nvGrpSpPr>
          <p:grpSpPr>
            <a:xfrm>
              <a:off x="803725" y="4219935"/>
              <a:ext cx="503992" cy="503992"/>
              <a:chOff x="803725" y="4219935"/>
              <a:chExt cx="503992" cy="503992"/>
            </a:xfrm>
          </p:grpSpPr>
          <p:sp>
            <p:nvSpPr>
              <p:cNvPr id="63" name="Google Shape;554;p30">
                <a:extLst>
                  <a:ext uri="{FF2B5EF4-FFF2-40B4-BE49-F238E27FC236}">
                    <a16:creationId xmlns:a16="http://schemas.microsoft.com/office/drawing/2014/main" id="{DDF68B26-B66B-A679-4FA8-E08328A397EF}"/>
                  </a:ext>
                </a:extLst>
              </p:cNvPr>
              <p:cNvSpPr/>
              <p:nvPr/>
            </p:nvSpPr>
            <p:spPr>
              <a:xfrm>
                <a:off x="803725" y="4219935"/>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633">
                  <a:solidFill>
                    <a:srgbClr val="FFFFFF"/>
                  </a:solidFill>
                  <a:latin typeface="Calibri" panose="020F0502020204030204"/>
                  <a:ea typeface="Calibri"/>
                  <a:cs typeface="Calibri"/>
                  <a:sym typeface="Calibri"/>
                </a:endParaRPr>
              </a:p>
            </p:txBody>
          </p:sp>
          <p:pic>
            <p:nvPicPr>
              <p:cNvPr id="49" name="Graphic 48">
                <a:extLst>
                  <a:ext uri="{FF2B5EF4-FFF2-40B4-BE49-F238E27FC236}">
                    <a16:creationId xmlns:a16="http://schemas.microsoft.com/office/drawing/2014/main" id="{33DBFBE0-874D-6760-C42D-671E8A93DDC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5849" y="4358082"/>
                <a:ext cx="279745" cy="227699"/>
              </a:xfrm>
              <a:prstGeom prst="rect">
                <a:avLst/>
              </a:prstGeom>
            </p:spPr>
          </p:pic>
        </p:grpSp>
      </p:grpSp>
      <p:grpSp>
        <p:nvGrpSpPr>
          <p:cNvPr id="8" name="Group 7">
            <a:extLst>
              <a:ext uri="{FF2B5EF4-FFF2-40B4-BE49-F238E27FC236}">
                <a16:creationId xmlns:a16="http://schemas.microsoft.com/office/drawing/2014/main" id="{7AB14513-9787-0256-026B-7AB9FFA78CAA}"/>
              </a:ext>
            </a:extLst>
          </p:cNvPr>
          <p:cNvGrpSpPr/>
          <p:nvPr/>
        </p:nvGrpSpPr>
        <p:grpSpPr>
          <a:xfrm>
            <a:off x="726905" y="5047237"/>
            <a:ext cx="3097524" cy="686810"/>
            <a:chOff x="803725" y="5099909"/>
            <a:chExt cx="3414536" cy="757101"/>
          </a:xfrm>
        </p:grpSpPr>
        <p:sp>
          <p:nvSpPr>
            <p:cNvPr id="51" name="Google Shape;562;p30">
              <a:extLst>
                <a:ext uri="{FF2B5EF4-FFF2-40B4-BE49-F238E27FC236}">
                  <a16:creationId xmlns:a16="http://schemas.microsoft.com/office/drawing/2014/main" id="{1A0EB63E-B13B-9D6F-5480-8673966A3DD0}"/>
                </a:ext>
              </a:extLst>
            </p:cNvPr>
            <p:cNvSpPr txBox="1"/>
            <p:nvPr/>
          </p:nvSpPr>
          <p:spPr>
            <a:xfrm>
              <a:off x="1437182" y="5163607"/>
              <a:ext cx="2781079" cy="693403"/>
            </a:xfrm>
            <a:prstGeom prst="rect">
              <a:avLst/>
            </a:prstGeom>
            <a:noFill/>
            <a:ln>
              <a:noFill/>
            </a:ln>
          </p:spPr>
          <p:txBody>
            <a:bodyPr spcFirstLastPara="1" vert="horz" wrap="square" lIns="0" tIns="0" rIns="0" bIns="0" anchor="t" anchorCtr="0">
              <a:noAutofit/>
            </a:bodyPr>
            <a:lstStyle/>
            <a:p>
              <a:pPr defTabSz="829544">
                <a:defRPr/>
              </a:pPr>
              <a:r>
                <a:rPr lang="en-US" sz="1452" dirty="0">
                  <a:solidFill>
                    <a:srgbClr val="444444"/>
                  </a:solidFill>
                  <a:latin typeface="Calibri" panose="020F0502020204030204"/>
                  <a:ea typeface="Calibri"/>
                  <a:cs typeface="Calibri"/>
                  <a:sym typeface="Calibri"/>
                </a:rPr>
                <a:t>Generate meaningful insights to enhance the candidate recruitment experience.</a:t>
              </a:r>
              <a:endParaRPr lang="en-US" sz="1452" dirty="0">
                <a:latin typeface="Calibri" panose="020F0502020204030204"/>
                <a:ea typeface="Calibri"/>
                <a:cs typeface="Calibri"/>
                <a:sym typeface="Calibri"/>
              </a:endParaRPr>
            </a:p>
          </p:txBody>
        </p:sp>
        <p:grpSp>
          <p:nvGrpSpPr>
            <p:cNvPr id="72" name="Group 71">
              <a:extLst>
                <a:ext uri="{FF2B5EF4-FFF2-40B4-BE49-F238E27FC236}">
                  <a16:creationId xmlns:a16="http://schemas.microsoft.com/office/drawing/2014/main" id="{33ACC8BF-EB37-0436-0679-3FC8DBA545C1}"/>
                </a:ext>
              </a:extLst>
            </p:cNvPr>
            <p:cNvGrpSpPr/>
            <p:nvPr/>
          </p:nvGrpSpPr>
          <p:grpSpPr>
            <a:xfrm>
              <a:off x="803725" y="5099909"/>
              <a:ext cx="503992" cy="503992"/>
              <a:chOff x="803725" y="5091190"/>
              <a:chExt cx="503992" cy="503992"/>
            </a:xfrm>
          </p:grpSpPr>
          <p:sp>
            <p:nvSpPr>
              <p:cNvPr id="53" name="Google Shape;557;p30">
                <a:extLst>
                  <a:ext uri="{FF2B5EF4-FFF2-40B4-BE49-F238E27FC236}">
                    <a16:creationId xmlns:a16="http://schemas.microsoft.com/office/drawing/2014/main" id="{FE8AD1C5-D386-085B-2B7E-5979368F499E}"/>
                  </a:ext>
                </a:extLst>
              </p:cNvPr>
              <p:cNvSpPr/>
              <p:nvPr/>
            </p:nvSpPr>
            <p:spPr>
              <a:xfrm>
                <a:off x="803725" y="5091190"/>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633">
                  <a:solidFill>
                    <a:srgbClr val="FFFFFF"/>
                  </a:solidFill>
                  <a:latin typeface="Calibri" panose="020F0502020204030204"/>
                  <a:ea typeface="Calibri"/>
                  <a:cs typeface="Calibri"/>
                  <a:sym typeface="Calibri"/>
                </a:endParaRPr>
              </a:p>
            </p:txBody>
          </p:sp>
          <p:pic>
            <p:nvPicPr>
              <p:cNvPr id="44" name="Graphic 43">
                <a:extLst>
                  <a:ext uri="{FF2B5EF4-FFF2-40B4-BE49-F238E27FC236}">
                    <a16:creationId xmlns:a16="http://schemas.microsoft.com/office/drawing/2014/main" id="{02E0615B-C376-CA04-F318-A6A77403110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15849" y="5209819"/>
                <a:ext cx="279745" cy="266734"/>
              </a:xfrm>
              <a:prstGeom prst="rect">
                <a:avLst/>
              </a:prstGeom>
            </p:spPr>
          </p:pic>
        </p:grpSp>
      </p:grpSp>
      <p:grpSp>
        <p:nvGrpSpPr>
          <p:cNvPr id="40" name="Group 39">
            <a:extLst>
              <a:ext uri="{FF2B5EF4-FFF2-40B4-BE49-F238E27FC236}">
                <a16:creationId xmlns:a16="http://schemas.microsoft.com/office/drawing/2014/main" id="{D2F423DA-9C1C-4E94-13C2-DF683537591B}"/>
              </a:ext>
            </a:extLst>
          </p:cNvPr>
          <p:cNvGrpSpPr/>
          <p:nvPr/>
        </p:nvGrpSpPr>
        <p:grpSpPr>
          <a:xfrm>
            <a:off x="4492797" y="5543640"/>
            <a:ext cx="3085402" cy="457201"/>
            <a:chOff x="4949498" y="6110669"/>
            <a:chExt cx="3401174" cy="503993"/>
          </a:xfrm>
        </p:grpSpPr>
        <p:sp>
          <p:nvSpPr>
            <p:cNvPr id="36" name="Google Shape;573;p30">
              <a:extLst>
                <a:ext uri="{FF2B5EF4-FFF2-40B4-BE49-F238E27FC236}">
                  <a16:creationId xmlns:a16="http://schemas.microsoft.com/office/drawing/2014/main" id="{50D458FE-D4D2-A99A-CE32-A0E3AC12B9A5}"/>
                </a:ext>
              </a:extLst>
            </p:cNvPr>
            <p:cNvSpPr txBox="1"/>
            <p:nvPr/>
          </p:nvSpPr>
          <p:spPr>
            <a:xfrm>
              <a:off x="5582955" y="6110670"/>
              <a:ext cx="2767717" cy="503992"/>
            </a:xfrm>
            <a:prstGeom prst="rect">
              <a:avLst/>
            </a:prstGeom>
            <a:noFill/>
            <a:ln>
              <a:noFill/>
            </a:ln>
          </p:spPr>
          <p:txBody>
            <a:bodyPr spcFirstLastPara="1" wrap="square" lIns="0" tIns="0" rIns="0" bIns="0" anchor="t" anchorCtr="0">
              <a:noAutofit/>
            </a:bodyPr>
            <a:lstStyle/>
            <a:p>
              <a:pPr defTabSz="829544">
                <a:defRPr/>
              </a:pPr>
              <a:r>
                <a:rPr lang="en-US" sz="1452" b="1" dirty="0">
                  <a:latin typeface="Calibri" panose="020F0502020204030204"/>
                  <a:ea typeface="Calibri"/>
                  <a:cs typeface="Calibri"/>
                  <a:sym typeface="Calibri"/>
                </a:rPr>
                <a:t>Creating a Dashboard for a </a:t>
              </a:r>
              <a:r>
                <a:rPr lang="en-US" sz="1452" dirty="0">
                  <a:solidFill>
                    <a:srgbClr val="374151"/>
                  </a:solidFill>
                  <a:latin typeface="Calibri" panose="020F0502020204030204"/>
                </a:rPr>
                <a:t>streamlined analysis</a:t>
              </a:r>
              <a:endParaRPr lang="en-US" sz="1452" dirty="0">
                <a:latin typeface="Calibri" panose="020F0502020204030204"/>
                <a:ea typeface="Calibri"/>
                <a:cs typeface="Calibri"/>
                <a:sym typeface="Calibri"/>
              </a:endParaRPr>
            </a:p>
          </p:txBody>
        </p:sp>
        <p:grpSp>
          <p:nvGrpSpPr>
            <p:cNvPr id="88" name="Group 87">
              <a:extLst>
                <a:ext uri="{FF2B5EF4-FFF2-40B4-BE49-F238E27FC236}">
                  <a16:creationId xmlns:a16="http://schemas.microsoft.com/office/drawing/2014/main" id="{27D0F03B-6B08-69F6-DFC6-E8F69141BBC9}"/>
                </a:ext>
              </a:extLst>
            </p:cNvPr>
            <p:cNvGrpSpPr/>
            <p:nvPr/>
          </p:nvGrpSpPr>
          <p:grpSpPr>
            <a:xfrm>
              <a:off x="4949498" y="6110669"/>
              <a:ext cx="503992" cy="503992"/>
              <a:chOff x="4949498" y="6202259"/>
              <a:chExt cx="503992" cy="503992"/>
            </a:xfrm>
          </p:grpSpPr>
          <p:sp>
            <p:nvSpPr>
              <p:cNvPr id="38" name="Google Shape;558;p30">
                <a:extLst>
                  <a:ext uri="{FF2B5EF4-FFF2-40B4-BE49-F238E27FC236}">
                    <a16:creationId xmlns:a16="http://schemas.microsoft.com/office/drawing/2014/main" id="{75E80F64-F84D-DCF0-AFB0-38BE7AC116C1}"/>
                  </a:ext>
                </a:extLst>
              </p:cNvPr>
              <p:cNvSpPr/>
              <p:nvPr/>
            </p:nvSpPr>
            <p:spPr>
              <a:xfrm>
                <a:off x="4949498" y="6202259"/>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452">
                  <a:solidFill>
                    <a:srgbClr val="FFFFFF"/>
                  </a:solidFill>
                  <a:latin typeface="Calibri" panose="020F0502020204030204"/>
                  <a:ea typeface="Calibri"/>
                  <a:cs typeface="Calibri"/>
                  <a:sym typeface="Calibri"/>
                </a:endParaRPr>
              </a:p>
            </p:txBody>
          </p:sp>
          <p:pic>
            <p:nvPicPr>
              <p:cNvPr id="75" name="Graphic 74">
                <a:extLst>
                  <a:ext uri="{FF2B5EF4-FFF2-40B4-BE49-F238E27FC236}">
                    <a16:creationId xmlns:a16="http://schemas.microsoft.com/office/drawing/2014/main" id="{E8AB0CE2-199E-47AA-ED33-2D651DEF454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047634" y="6329021"/>
                <a:ext cx="307720" cy="250469"/>
              </a:xfrm>
              <a:prstGeom prst="rect">
                <a:avLst/>
              </a:prstGeom>
            </p:spPr>
          </p:pic>
        </p:grpSp>
      </p:grpSp>
      <p:grpSp>
        <p:nvGrpSpPr>
          <p:cNvPr id="45" name="Group 44">
            <a:extLst>
              <a:ext uri="{FF2B5EF4-FFF2-40B4-BE49-F238E27FC236}">
                <a16:creationId xmlns:a16="http://schemas.microsoft.com/office/drawing/2014/main" id="{44F3AC4C-3A74-F006-B5E5-4A6080AF3F86}"/>
              </a:ext>
            </a:extLst>
          </p:cNvPr>
          <p:cNvGrpSpPr/>
          <p:nvPr/>
        </p:nvGrpSpPr>
        <p:grpSpPr>
          <a:xfrm>
            <a:off x="4492797" y="3114679"/>
            <a:ext cx="3177496" cy="586168"/>
            <a:chOff x="4949498" y="3541552"/>
            <a:chExt cx="3502693" cy="646159"/>
          </a:xfrm>
        </p:grpSpPr>
        <p:sp>
          <p:nvSpPr>
            <p:cNvPr id="46" name="Google Shape;574;p30">
              <a:extLst>
                <a:ext uri="{FF2B5EF4-FFF2-40B4-BE49-F238E27FC236}">
                  <a16:creationId xmlns:a16="http://schemas.microsoft.com/office/drawing/2014/main" id="{717B2DD5-9EDA-6D27-4385-552D03349A62}"/>
                </a:ext>
              </a:extLst>
            </p:cNvPr>
            <p:cNvSpPr txBox="1"/>
            <p:nvPr/>
          </p:nvSpPr>
          <p:spPr>
            <a:xfrm>
              <a:off x="5582955" y="3541553"/>
              <a:ext cx="2869236" cy="646158"/>
            </a:xfrm>
            <a:prstGeom prst="rect">
              <a:avLst/>
            </a:prstGeom>
            <a:noFill/>
            <a:ln>
              <a:noFill/>
            </a:ln>
          </p:spPr>
          <p:txBody>
            <a:bodyPr spcFirstLastPara="1" wrap="square" lIns="0" tIns="0" rIns="0" bIns="0" anchor="t" anchorCtr="0">
              <a:noAutofit/>
            </a:bodyPr>
            <a:lstStyle/>
            <a:p>
              <a:pPr defTabSz="829544">
                <a:defRPr/>
              </a:pPr>
              <a:r>
                <a:rPr lang="en-US" sz="1452" dirty="0">
                  <a:latin typeface="Calibri" panose="020F0502020204030204"/>
                  <a:ea typeface="Calibri"/>
                  <a:cs typeface="Calibri"/>
                  <a:sym typeface="Calibri"/>
                </a:rPr>
                <a:t>Conducting sentiment analysis to analyze candidate feedback and </a:t>
              </a:r>
              <a:r>
                <a:rPr lang="en-US" sz="1452" b="1" dirty="0">
                  <a:latin typeface="Calibri" panose="020F0502020204030204"/>
                  <a:ea typeface="Calibri"/>
                  <a:cs typeface="Calibri"/>
                  <a:sym typeface="Calibri"/>
                </a:rPr>
                <a:t>extract the overall sentiment.</a:t>
              </a:r>
              <a:endParaRPr lang="en-US" sz="1452" dirty="0">
                <a:latin typeface="Calibri" panose="020F0502020204030204"/>
              </a:endParaRPr>
            </a:p>
          </p:txBody>
        </p:sp>
        <p:grpSp>
          <p:nvGrpSpPr>
            <p:cNvPr id="90" name="Group 89">
              <a:extLst>
                <a:ext uri="{FF2B5EF4-FFF2-40B4-BE49-F238E27FC236}">
                  <a16:creationId xmlns:a16="http://schemas.microsoft.com/office/drawing/2014/main" id="{4593A578-64EC-FF7F-508B-E76DF8A8557D}"/>
                </a:ext>
              </a:extLst>
            </p:cNvPr>
            <p:cNvGrpSpPr/>
            <p:nvPr/>
          </p:nvGrpSpPr>
          <p:grpSpPr>
            <a:xfrm>
              <a:off x="4949498" y="3541552"/>
              <a:ext cx="503992" cy="503992"/>
              <a:chOff x="4949498" y="3541552"/>
              <a:chExt cx="503992" cy="503992"/>
            </a:xfrm>
          </p:grpSpPr>
          <p:sp>
            <p:nvSpPr>
              <p:cNvPr id="48" name="Google Shape;554;p30">
                <a:extLst>
                  <a:ext uri="{FF2B5EF4-FFF2-40B4-BE49-F238E27FC236}">
                    <a16:creationId xmlns:a16="http://schemas.microsoft.com/office/drawing/2014/main" id="{EFC4AD23-4962-8F9D-5EB7-63B82E9CDAF6}"/>
                  </a:ext>
                </a:extLst>
              </p:cNvPr>
              <p:cNvSpPr/>
              <p:nvPr/>
            </p:nvSpPr>
            <p:spPr>
              <a:xfrm>
                <a:off x="4949498" y="3541552"/>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633">
                  <a:solidFill>
                    <a:srgbClr val="FFFFFF"/>
                  </a:solidFill>
                  <a:latin typeface="Calibri" panose="020F0502020204030204"/>
                  <a:ea typeface="Calibri"/>
                  <a:cs typeface="Calibri"/>
                  <a:sym typeface="Calibri"/>
                </a:endParaRPr>
              </a:p>
            </p:txBody>
          </p:sp>
          <p:pic>
            <p:nvPicPr>
              <p:cNvPr id="77" name="Graphic 76">
                <a:extLst>
                  <a:ext uri="{FF2B5EF4-FFF2-40B4-BE49-F238E27FC236}">
                    <a16:creationId xmlns:a16="http://schemas.microsoft.com/office/drawing/2014/main" id="{8B7C25FE-CD16-2E81-89A8-44AED07A197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47634" y="3668314"/>
                <a:ext cx="307720" cy="250469"/>
              </a:xfrm>
              <a:prstGeom prst="rect">
                <a:avLst/>
              </a:prstGeom>
            </p:spPr>
          </p:pic>
        </p:grpSp>
      </p:grpSp>
      <p:grpSp>
        <p:nvGrpSpPr>
          <p:cNvPr id="42" name="Group 41">
            <a:extLst>
              <a:ext uri="{FF2B5EF4-FFF2-40B4-BE49-F238E27FC236}">
                <a16:creationId xmlns:a16="http://schemas.microsoft.com/office/drawing/2014/main" id="{63BAD0FF-D625-2583-A3A4-B675ABC01BBE}"/>
              </a:ext>
            </a:extLst>
          </p:cNvPr>
          <p:cNvGrpSpPr/>
          <p:nvPr/>
        </p:nvGrpSpPr>
        <p:grpSpPr>
          <a:xfrm>
            <a:off x="4492797" y="3943435"/>
            <a:ext cx="3085402" cy="1357617"/>
            <a:chOff x="4949498" y="4963842"/>
            <a:chExt cx="3401174" cy="1496561"/>
          </a:xfrm>
        </p:grpSpPr>
        <p:sp>
          <p:nvSpPr>
            <p:cNvPr id="41" name="Google Shape;581;p30">
              <a:extLst>
                <a:ext uri="{FF2B5EF4-FFF2-40B4-BE49-F238E27FC236}">
                  <a16:creationId xmlns:a16="http://schemas.microsoft.com/office/drawing/2014/main" id="{7A4C0872-EC88-EDBB-8CBD-96830AE10D48}"/>
                </a:ext>
              </a:extLst>
            </p:cNvPr>
            <p:cNvSpPr txBox="1"/>
            <p:nvPr/>
          </p:nvSpPr>
          <p:spPr>
            <a:xfrm>
              <a:off x="5582955" y="4963843"/>
              <a:ext cx="2767717" cy="1496560"/>
            </a:xfrm>
            <a:prstGeom prst="rect">
              <a:avLst/>
            </a:prstGeom>
            <a:noFill/>
            <a:ln>
              <a:noFill/>
            </a:ln>
          </p:spPr>
          <p:txBody>
            <a:bodyPr spcFirstLastPara="1" wrap="square" lIns="0" tIns="0" rIns="0" bIns="0" anchor="t" anchorCtr="0">
              <a:noAutofit/>
            </a:bodyPr>
            <a:lstStyle/>
            <a:p>
              <a:pPr defTabSz="829544">
                <a:defRPr/>
              </a:pPr>
              <a:r>
                <a:rPr lang="en-US" sz="1452" dirty="0">
                  <a:latin typeface="Calibri" panose="020F0502020204030204"/>
                  <a:ea typeface="Calibri"/>
                  <a:cs typeface="Calibri"/>
                  <a:sym typeface="Calibri"/>
                </a:rPr>
                <a:t>Leveraging </a:t>
              </a:r>
              <a:r>
                <a:rPr lang="en-US" sz="1452" b="1" dirty="0">
                  <a:latin typeface="Calibri" panose="020F0502020204030204"/>
                  <a:ea typeface="Calibri"/>
                  <a:cs typeface="Calibri"/>
                  <a:sym typeface="Calibri"/>
                </a:rPr>
                <a:t>AI-powered text summarization </a:t>
              </a:r>
              <a:r>
                <a:rPr lang="en-US" sz="1452" dirty="0">
                  <a:latin typeface="Calibri" panose="020F0502020204030204"/>
                  <a:ea typeface="Calibri"/>
                  <a:cs typeface="Calibri"/>
                  <a:sym typeface="Calibri"/>
                </a:rPr>
                <a:t>through </a:t>
              </a:r>
              <a:r>
                <a:rPr lang="en-US" sz="1452" b="1" dirty="0">
                  <a:latin typeface="Calibri" panose="020F0502020204030204"/>
                  <a:ea typeface="Calibri"/>
                  <a:cs typeface="Calibri"/>
                  <a:sym typeface="Calibri"/>
                </a:rPr>
                <a:t>OpenAI</a:t>
              </a:r>
              <a:r>
                <a:rPr lang="en-US" sz="1452" dirty="0">
                  <a:latin typeface="Calibri" panose="020F0502020204030204"/>
                  <a:ea typeface="Calibri"/>
                  <a:cs typeface="Calibri"/>
                  <a:sym typeface="Calibri"/>
                </a:rPr>
                <a:t>, the extract key insights  from candidate comments and displaying  the corresponding specific comments.</a:t>
              </a:r>
            </a:p>
          </p:txBody>
        </p:sp>
        <p:grpSp>
          <p:nvGrpSpPr>
            <p:cNvPr id="80" name="Group 79">
              <a:extLst>
                <a:ext uri="{FF2B5EF4-FFF2-40B4-BE49-F238E27FC236}">
                  <a16:creationId xmlns:a16="http://schemas.microsoft.com/office/drawing/2014/main" id="{C3FEE74E-1B09-0ECE-17AD-7782235064F7}"/>
                </a:ext>
              </a:extLst>
            </p:cNvPr>
            <p:cNvGrpSpPr/>
            <p:nvPr/>
          </p:nvGrpSpPr>
          <p:grpSpPr>
            <a:xfrm>
              <a:off x="4949498" y="4963842"/>
              <a:ext cx="503992" cy="503992"/>
              <a:chOff x="4949498" y="4963842"/>
              <a:chExt cx="503992" cy="503992"/>
            </a:xfrm>
          </p:grpSpPr>
          <p:sp>
            <p:nvSpPr>
              <p:cNvPr id="43" name="Google Shape;557;p30">
                <a:extLst>
                  <a:ext uri="{FF2B5EF4-FFF2-40B4-BE49-F238E27FC236}">
                    <a16:creationId xmlns:a16="http://schemas.microsoft.com/office/drawing/2014/main" id="{26FA3E6F-16CC-3A8E-5316-4D6878A5859F}"/>
                  </a:ext>
                </a:extLst>
              </p:cNvPr>
              <p:cNvSpPr/>
              <p:nvPr/>
            </p:nvSpPr>
            <p:spPr>
              <a:xfrm>
                <a:off x="4949498" y="4963842"/>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defRPr/>
                </a:pPr>
                <a:endParaRPr sz="1452">
                  <a:solidFill>
                    <a:srgbClr val="FFFFFF"/>
                  </a:solidFill>
                  <a:latin typeface="Calibri" panose="020F0502020204030204"/>
                  <a:ea typeface="Calibri"/>
                  <a:cs typeface="Calibri"/>
                  <a:sym typeface="Calibri"/>
                </a:endParaRPr>
              </a:p>
            </p:txBody>
          </p:sp>
          <p:pic>
            <p:nvPicPr>
              <p:cNvPr id="79" name="Graphic 78">
                <a:extLst>
                  <a:ext uri="{FF2B5EF4-FFF2-40B4-BE49-F238E27FC236}">
                    <a16:creationId xmlns:a16="http://schemas.microsoft.com/office/drawing/2014/main" id="{A49636D8-552B-6289-137D-88942F5B2A6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044056" y="5066272"/>
                <a:ext cx="314876" cy="299132"/>
              </a:xfrm>
              <a:prstGeom prst="rect">
                <a:avLst/>
              </a:prstGeom>
            </p:spPr>
          </p:pic>
        </p:grpSp>
      </p:grpSp>
      <p:sp>
        <p:nvSpPr>
          <p:cNvPr id="2" name="Google Shape;541;p30">
            <a:extLst>
              <a:ext uri="{FF2B5EF4-FFF2-40B4-BE49-F238E27FC236}">
                <a16:creationId xmlns:a16="http://schemas.microsoft.com/office/drawing/2014/main" id="{459D2802-1B74-ACD7-E83B-D884B7D00E7F}"/>
              </a:ext>
            </a:extLst>
          </p:cNvPr>
          <p:cNvSpPr txBox="1"/>
          <p:nvPr/>
        </p:nvSpPr>
        <p:spPr>
          <a:xfrm>
            <a:off x="8998252" y="1901065"/>
            <a:ext cx="1710125" cy="284758"/>
          </a:xfrm>
          <a:prstGeom prst="rect">
            <a:avLst/>
          </a:prstGeom>
          <a:noFill/>
          <a:ln>
            <a:noFill/>
          </a:ln>
        </p:spPr>
        <p:txBody>
          <a:bodyPr spcFirstLastPara="1" wrap="square" lIns="0" tIns="0" rIns="0" bIns="0" anchor="t" anchorCtr="0">
            <a:spAutoFit/>
          </a:bodyPr>
          <a:lstStyle/>
          <a:p>
            <a:pPr algn="ctr" defTabSz="829544">
              <a:lnSpc>
                <a:spcPct val="85000"/>
              </a:lnSpc>
              <a:defRPr/>
            </a:pPr>
            <a:r>
              <a:rPr lang="en-IN" sz="2177" b="1" dirty="0">
                <a:solidFill>
                  <a:srgbClr val="FFFFFF"/>
                </a:solidFill>
                <a:latin typeface="Calibri" panose="020F0502020204030204"/>
                <a:ea typeface="Franklin Gothic"/>
                <a:cs typeface="Franklin Gothic"/>
                <a:sym typeface="Franklin Gothic"/>
              </a:rPr>
              <a:t>Outcome</a:t>
            </a:r>
            <a:endParaRPr sz="2177" b="1" dirty="0">
              <a:latin typeface="Calibri" panose="020F0502020204030204"/>
            </a:endParaRPr>
          </a:p>
        </p:txBody>
      </p:sp>
      <p:sp>
        <p:nvSpPr>
          <p:cNvPr id="3" name="Google Shape;546;p30">
            <a:extLst>
              <a:ext uri="{FF2B5EF4-FFF2-40B4-BE49-F238E27FC236}">
                <a16:creationId xmlns:a16="http://schemas.microsoft.com/office/drawing/2014/main" id="{D69BDBBE-FDFB-3B4F-8071-241BA200B6DA}"/>
              </a:ext>
            </a:extLst>
          </p:cNvPr>
          <p:cNvSpPr txBox="1"/>
          <p:nvPr/>
        </p:nvSpPr>
        <p:spPr>
          <a:xfrm>
            <a:off x="1218392" y="1901065"/>
            <a:ext cx="2217549" cy="284758"/>
          </a:xfrm>
          <a:prstGeom prst="rect">
            <a:avLst/>
          </a:prstGeom>
          <a:noFill/>
          <a:ln>
            <a:noFill/>
          </a:ln>
        </p:spPr>
        <p:txBody>
          <a:bodyPr spcFirstLastPara="1" wrap="square" lIns="0" tIns="0" rIns="0" bIns="0" anchor="t" anchorCtr="0">
            <a:spAutoFit/>
          </a:bodyPr>
          <a:lstStyle/>
          <a:p>
            <a:pPr algn="ctr" defTabSz="829544">
              <a:lnSpc>
                <a:spcPct val="85000"/>
              </a:lnSpc>
              <a:defRPr/>
            </a:pPr>
            <a:r>
              <a:rPr lang="en-IN" sz="2177" b="1" dirty="0">
                <a:solidFill>
                  <a:srgbClr val="FFFFFF"/>
                </a:solidFill>
                <a:latin typeface="Calibri" panose="020F0502020204030204"/>
                <a:ea typeface="Franklin Gothic"/>
                <a:cs typeface="Franklin Gothic"/>
                <a:sym typeface="Franklin Gothic"/>
              </a:rPr>
              <a:t>Client Challenge</a:t>
            </a:r>
            <a:endParaRPr sz="2177" b="1" dirty="0">
              <a:latin typeface="Calibri" panose="020F0502020204030204"/>
            </a:endParaRPr>
          </a:p>
        </p:txBody>
      </p:sp>
      <p:sp>
        <p:nvSpPr>
          <p:cNvPr id="6" name="Google Shape;567;p30">
            <a:extLst>
              <a:ext uri="{FF2B5EF4-FFF2-40B4-BE49-F238E27FC236}">
                <a16:creationId xmlns:a16="http://schemas.microsoft.com/office/drawing/2014/main" id="{7013453D-EE2C-DE94-297C-0360B67D4AF2}"/>
              </a:ext>
            </a:extLst>
          </p:cNvPr>
          <p:cNvSpPr txBox="1"/>
          <p:nvPr/>
        </p:nvSpPr>
        <p:spPr>
          <a:xfrm>
            <a:off x="5210232" y="1901065"/>
            <a:ext cx="1760015" cy="284758"/>
          </a:xfrm>
          <a:prstGeom prst="rect">
            <a:avLst/>
          </a:prstGeom>
          <a:noFill/>
          <a:ln>
            <a:noFill/>
          </a:ln>
        </p:spPr>
        <p:txBody>
          <a:bodyPr spcFirstLastPara="1" wrap="square" lIns="0" tIns="0" rIns="0" bIns="0" anchor="t" anchorCtr="0">
            <a:spAutoFit/>
          </a:bodyPr>
          <a:lstStyle/>
          <a:p>
            <a:pPr algn="ctr" defTabSz="829544">
              <a:lnSpc>
                <a:spcPct val="85000"/>
              </a:lnSpc>
              <a:defRPr/>
            </a:pPr>
            <a:r>
              <a:rPr lang="en-IN" sz="2177" b="1" dirty="0">
                <a:solidFill>
                  <a:srgbClr val="FFFFFF"/>
                </a:solidFill>
                <a:latin typeface="Calibri" panose="020F0502020204030204"/>
                <a:ea typeface="Franklin Gothic"/>
                <a:cs typeface="Franklin Gothic"/>
                <a:sym typeface="Franklin Gothic"/>
              </a:rPr>
              <a:t>Our Solution</a:t>
            </a:r>
            <a:endParaRPr sz="2177" b="1" dirty="0">
              <a:latin typeface="Calibri" panose="020F0502020204030204"/>
            </a:endParaRPr>
          </a:p>
        </p:txBody>
      </p:sp>
      <p:cxnSp>
        <p:nvCxnSpPr>
          <p:cNvPr id="47" name="Straight Connector 46">
            <a:extLst>
              <a:ext uri="{FF2B5EF4-FFF2-40B4-BE49-F238E27FC236}">
                <a16:creationId xmlns:a16="http://schemas.microsoft.com/office/drawing/2014/main" id="{DFFC06B7-BE50-F6DA-C67A-647C493BC307}"/>
              </a:ext>
            </a:extLst>
          </p:cNvPr>
          <p:cNvCxnSpPr/>
          <p:nvPr/>
        </p:nvCxnSpPr>
        <p:spPr>
          <a:xfrm>
            <a:off x="785839" y="4895291"/>
            <a:ext cx="3266145"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960E2F5-AFB5-4C90-E4E6-A06E90F0FD0A}"/>
              </a:ext>
            </a:extLst>
          </p:cNvPr>
          <p:cNvCxnSpPr/>
          <p:nvPr/>
        </p:nvCxnSpPr>
        <p:spPr>
          <a:xfrm>
            <a:off x="4492797" y="5422346"/>
            <a:ext cx="3266145"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C343DE5-C14B-ADBF-27E4-93D094785073}"/>
              </a:ext>
            </a:extLst>
          </p:cNvPr>
          <p:cNvCxnSpPr/>
          <p:nvPr/>
        </p:nvCxnSpPr>
        <p:spPr>
          <a:xfrm>
            <a:off x="4492797" y="3822141"/>
            <a:ext cx="3266145"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09998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0CC34-3F50-5FA7-32FD-FC44D1049061}"/>
              </a:ext>
            </a:extLst>
          </p:cNvPr>
          <p:cNvGraphicFramePr>
            <a:graphicFrameLocks noChangeAspect="1"/>
          </p:cNvGraphicFramePr>
          <p:nvPr>
            <p:custDataLst>
              <p:tags r:id="rId1"/>
            </p:custDataLst>
            <p:extLst>
              <p:ext uri="{D42A27DB-BD31-4B8C-83A1-F6EECF244321}">
                <p14:modId xmlns:p14="http://schemas.microsoft.com/office/powerpoint/2010/main" val="1990027844"/>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0BA0CC34-3F50-5FA7-32FD-FC44D1049061}"/>
                          </a:ext>
                        </a:extLst>
                      </p:cNvPr>
                      <p:cNvPicPr/>
                      <p:nvPr/>
                    </p:nvPicPr>
                    <p:blipFill>
                      <a:blip r:embed="rId4"/>
                      <a:stretch>
                        <a:fillRect/>
                      </a:stretch>
                    </p:blipFill>
                    <p:spPr>
                      <a:xfrm>
                        <a:off x="1441" y="1531"/>
                        <a:ext cx="1441" cy="144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86787A8-F0D7-BD87-36F1-79956EF4174D}"/>
              </a:ext>
            </a:extLst>
          </p:cNvPr>
          <p:cNvSpPr>
            <a:spLocks noGrp="1"/>
          </p:cNvSpPr>
          <p:nvPr>
            <p:ph type="title"/>
          </p:nvPr>
        </p:nvSpPr>
        <p:spPr>
          <a:xfrm>
            <a:off x="531814" y="560665"/>
            <a:ext cx="11089972" cy="415498"/>
          </a:xfrm>
        </p:spPr>
        <p:txBody>
          <a:bodyPr vert="horz"/>
          <a:lstStyle/>
          <a:p>
            <a:pPr>
              <a:spcBef>
                <a:spcPts val="0"/>
              </a:spcBef>
              <a:buClr>
                <a:schemeClr val="dk2"/>
              </a:buClr>
              <a:buSzPts val="3200"/>
            </a:pPr>
            <a:r>
              <a:rPr lang="en-US" sz="3000" dirty="0">
                <a:latin typeface="Franklin Gothic" panose="020B0604020202020204" charset="0"/>
                <a:sym typeface="Franklin Gothic"/>
              </a:rPr>
              <a:t>Assessing Candidates’ Experience through Sentiment Analysis</a:t>
            </a:r>
          </a:p>
        </p:txBody>
      </p:sp>
      <p:sp>
        <p:nvSpPr>
          <p:cNvPr id="19" name="Google Shape;831;p25">
            <a:extLst>
              <a:ext uri="{FF2B5EF4-FFF2-40B4-BE49-F238E27FC236}">
                <a16:creationId xmlns:a16="http://schemas.microsoft.com/office/drawing/2014/main" id="{221F5302-1B84-74EE-8BAF-DD460B2C665A}"/>
              </a:ext>
            </a:extLst>
          </p:cNvPr>
          <p:cNvSpPr>
            <a:spLocks/>
          </p:cNvSpPr>
          <p:nvPr/>
        </p:nvSpPr>
        <p:spPr>
          <a:xfrm>
            <a:off x="499720" y="1989059"/>
            <a:ext cx="5225883" cy="4811131"/>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lang="en-US" sz="1270" dirty="0"/>
          </a:p>
        </p:txBody>
      </p:sp>
      <p:sp>
        <p:nvSpPr>
          <p:cNvPr id="36" name="Google Shape;658;p33">
            <a:extLst>
              <a:ext uri="{FF2B5EF4-FFF2-40B4-BE49-F238E27FC236}">
                <a16:creationId xmlns:a16="http://schemas.microsoft.com/office/drawing/2014/main" id="{0588B74F-06C0-31F7-353E-AD4DF18A5BCF}"/>
              </a:ext>
            </a:extLst>
          </p:cNvPr>
          <p:cNvSpPr txBox="1">
            <a:spLocks/>
          </p:cNvSpPr>
          <p:nvPr/>
        </p:nvSpPr>
        <p:spPr>
          <a:xfrm>
            <a:off x="748398" y="2509374"/>
            <a:ext cx="4755596" cy="1961424"/>
          </a:xfrm>
          <a:prstGeom prst="rect">
            <a:avLst/>
          </a:prstGeom>
          <a:noFill/>
          <a:ln>
            <a:noFill/>
          </a:ln>
        </p:spPr>
        <p:txBody>
          <a:bodyPr spcFirstLastPara="1" wrap="square" lIns="0" tIns="35977" rIns="215975" bIns="35977" anchor="t" anchorCtr="0">
            <a:noAutofit/>
          </a:bodyPr>
          <a:lstStyle/>
          <a:p>
            <a:pPr defTabSz="829544">
              <a:buClr>
                <a:srgbClr val="0F47F2"/>
              </a:buClr>
            </a:pPr>
            <a:r>
              <a:rPr lang="en-US" sz="1633" b="1" dirty="0">
                <a:solidFill>
                  <a:srgbClr val="00B9FF"/>
                </a:solidFill>
                <a:latin typeface="Calibri" panose="020F0502020204030204"/>
                <a:ea typeface="Calibri"/>
                <a:cs typeface="Calibri"/>
                <a:sym typeface="Calibri"/>
              </a:rPr>
              <a:t>Leveraging pre-trained RoBERTa Model</a:t>
            </a:r>
          </a:p>
          <a:p>
            <a:pPr marL="157613" indent="-157613" defTabSz="829544">
              <a:spcBef>
                <a:spcPts val="544"/>
              </a:spcBef>
              <a:buClr>
                <a:schemeClr val="accent1"/>
              </a:buClr>
              <a:buSzPct val="100000"/>
              <a:buFont typeface="Wingdings" panose="05000000000000000000" pitchFamily="2" charset="2"/>
              <a:buChar char="§"/>
            </a:pPr>
            <a:r>
              <a:rPr lang="en-US" sz="1452" dirty="0">
                <a:latin typeface="Calibri" panose="020F0502020204030204"/>
                <a:sym typeface="Calibri"/>
              </a:rPr>
              <a:t>Optimizing input for the model by cleaning and pre-</a:t>
            </a:r>
            <a:r>
              <a:rPr lang="en-US" sz="1452" dirty="0">
                <a:solidFill>
                  <a:srgbClr val="444444"/>
                </a:solidFill>
                <a:latin typeface="Calibri" panose="020F0502020204030204"/>
                <a:ea typeface="Calibri"/>
                <a:cs typeface="Calibri"/>
                <a:sym typeface="Calibri"/>
              </a:rPr>
              <a:t>processing feedback data.</a:t>
            </a:r>
          </a:p>
          <a:p>
            <a:pPr marL="157613" indent="-157613" defTabSz="829544">
              <a:spcBef>
                <a:spcPts val="544"/>
              </a:spcBef>
              <a:buClr>
                <a:schemeClr val="accent1"/>
              </a:buClr>
              <a:buSzPct val="100000"/>
              <a:buFont typeface="Wingdings" panose="05000000000000000000" pitchFamily="2" charset="2"/>
              <a:buChar char="§"/>
            </a:pPr>
            <a:r>
              <a:rPr lang="en-US" sz="1452" dirty="0">
                <a:latin typeface="Calibri" panose="020F0502020204030204"/>
              </a:rPr>
              <a:t>Fine-tuning the "sentiment-Roberta-large" model using labeled data to enhance its ability to handle nuances and provide more accurate sentiment analysis results aligned with client-specific requirements.</a:t>
            </a:r>
          </a:p>
        </p:txBody>
      </p:sp>
      <p:sp>
        <p:nvSpPr>
          <p:cNvPr id="37" name="Google Shape;659;p33">
            <a:extLst>
              <a:ext uri="{FF2B5EF4-FFF2-40B4-BE49-F238E27FC236}">
                <a16:creationId xmlns:a16="http://schemas.microsoft.com/office/drawing/2014/main" id="{D48478E5-B387-2ED6-74F0-DEDBD09D902A}"/>
              </a:ext>
            </a:extLst>
          </p:cNvPr>
          <p:cNvSpPr txBox="1">
            <a:spLocks/>
          </p:cNvSpPr>
          <p:nvPr/>
        </p:nvSpPr>
        <p:spPr>
          <a:xfrm>
            <a:off x="748398" y="4615852"/>
            <a:ext cx="4755596" cy="1567821"/>
          </a:xfrm>
          <a:prstGeom prst="rect">
            <a:avLst/>
          </a:prstGeom>
          <a:noFill/>
          <a:ln>
            <a:noFill/>
          </a:ln>
        </p:spPr>
        <p:txBody>
          <a:bodyPr spcFirstLastPara="1" wrap="square" lIns="0" tIns="35977" rIns="215975" bIns="35977" anchor="t" anchorCtr="0">
            <a:noAutofit/>
          </a:bodyPr>
          <a:lstStyle/>
          <a:p>
            <a:pPr defTabSz="829544">
              <a:buClr>
                <a:srgbClr val="0F47F2"/>
              </a:buClr>
            </a:pPr>
            <a:r>
              <a:rPr lang="en-IN" sz="1633" b="1" dirty="0">
                <a:solidFill>
                  <a:srgbClr val="00B9FF"/>
                </a:solidFill>
                <a:latin typeface="Calibri" panose="020F0502020204030204"/>
                <a:ea typeface="Calibri"/>
                <a:cs typeface="Calibri"/>
                <a:sym typeface="Calibri"/>
              </a:rPr>
              <a:t>End-to-End Solution Deployment</a:t>
            </a:r>
          </a:p>
          <a:p>
            <a:pPr marL="157613" indent="-157613" defTabSz="829544">
              <a:spcBef>
                <a:spcPts val="544"/>
              </a:spcBef>
              <a:buClr>
                <a:schemeClr val="accent1"/>
              </a:buClr>
              <a:buSzPct val="100000"/>
              <a:buFont typeface="Wingdings" panose="05000000000000000000" pitchFamily="2" charset="2"/>
              <a:buChar char="§"/>
            </a:pPr>
            <a:r>
              <a:rPr lang="en-US" sz="1452" dirty="0">
                <a:solidFill>
                  <a:srgbClr val="444444"/>
                </a:solidFill>
                <a:latin typeface="Calibri" panose="020F0502020204030204"/>
                <a:ea typeface="Calibri"/>
                <a:cs typeface="Calibri"/>
                <a:sym typeface="Calibri"/>
              </a:rPr>
              <a:t>Deploying an end-to-end solution by integrating the fine-tuned model into the client's ETL pipeline.</a:t>
            </a:r>
          </a:p>
          <a:p>
            <a:pPr marL="157613" indent="-157613" defTabSz="829544">
              <a:spcBef>
                <a:spcPts val="544"/>
              </a:spcBef>
              <a:buClr>
                <a:schemeClr val="accent1"/>
              </a:buClr>
              <a:buSzPct val="100000"/>
              <a:buFont typeface="Wingdings" panose="05000000000000000000" pitchFamily="2" charset="2"/>
              <a:buChar char="§"/>
            </a:pPr>
            <a:r>
              <a:rPr lang="en-IN" sz="1452" dirty="0">
                <a:solidFill>
                  <a:srgbClr val="444444"/>
                </a:solidFill>
                <a:latin typeface="Calibri" panose="020F0502020204030204"/>
                <a:ea typeface="Calibri"/>
                <a:cs typeface="Calibri"/>
                <a:sym typeface="Calibri"/>
              </a:rPr>
              <a:t>Dashboarding in Power BI for dynamic visualization of key insights, trends, and actionable feedback categories</a:t>
            </a:r>
            <a:endParaRPr sz="1633" dirty="0">
              <a:solidFill>
                <a:srgbClr val="444444"/>
              </a:solidFill>
              <a:latin typeface="Calibri" panose="020F0502020204030204"/>
            </a:endParaRPr>
          </a:p>
        </p:txBody>
      </p:sp>
      <p:grpSp>
        <p:nvGrpSpPr>
          <p:cNvPr id="10" name="Group 9">
            <a:extLst>
              <a:ext uri="{FF2B5EF4-FFF2-40B4-BE49-F238E27FC236}">
                <a16:creationId xmlns:a16="http://schemas.microsoft.com/office/drawing/2014/main" id="{2ABF7756-8AF2-91DE-7DAF-1AD0C51EED42}"/>
              </a:ext>
            </a:extLst>
          </p:cNvPr>
          <p:cNvGrpSpPr/>
          <p:nvPr/>
        </p:nvGrpSpPr>
        <p:grpSpPr>
          <a:xfrm>
            <a:off x="6302084" y="2078126"/>
            <a:ext cx="5474735" cy="4313428"/>
            <a:chOff x="4662343" y="2693866"/>
            <a:chExt cx="4610513" cy="3534681"/>
          </a:xfrm>
        </p:grpSpPr>
        <p:sp>
          <p:nvSpPr>
            <p:cNvPr id="12" name="Freeform: Shape 11">
              <a:extLst>
                <a:ext uri="{FF2B5EF4-FFF2-40B4-BE49-F238E27FC236}">
                  <a16:creationId xmlns:a16="http://schemas.microsoft.com/office/drawing/2014/main" id="{F91D5C2E-7726-C2DB-E9E0-3CE4EAE20D35}"/>
                </a:ext>
              </a:extLst>
            </p:cNvPr>
            <p:cNvSpPr/>
            <p:nvPr/>
          </p:nvSpPr>
          <p:spPr>
            <a:xfrm>
              <a:off x="4662343" y="2693866"/>
              <a:ext cx="4610513" cy="2788869"/>
            </a:xfrm>
            <a:custGeom>
              <a:avLst/>
              <a:gdLst>
                <a:gd name="connsiteX0" fmla="*/ 129502 w 4610513"/>
                <a:gd name="connsiteY0" fmla="*/ 0 h 2788869"/>
                <a:gd name="connsiteX1" fmla="*/ 4481011 w 4610513"/>
                <a:gd name="connsiteY1" fmla="*/ 0 h 2788869"/>
                <a:gd name="connsiteX2" fmla="*/ 4610514 w 4610513"/>
                <a:gd name="connsiteY2" fmla="*/ 129502 h 2788869"/>
                <a:gd name="connsiteX3" fmla="*/ 4610514 w 4610513"/>
                <a:gd name="connsiteY3" fmla="*/ 2659367 h 2788869"/>
                <a:gd name="connsiteX4" fmla="*/ 4481011 w 4610513"/>
                <a:gd name="connsiteY4" fmla="*/ 2788870 h 2788869"/>
                <a:gd name="connsiteX5" fmla="*/ 129502 w 4610513"/>
                <a:gd name="connsiteY5" fmla="*/ 2788870 h 2788869"/>
                <a:gd name="connsiteX6" fmla="*/ 0 w 4610513"/>
                <a:gd name="connsiteY6" fmla="*/ 2659367 h 2788869"/>
                <a:gd name="connsiteX7" fmla="*/ 0 w 4610513"/>
                <a:gd name="connsiteY7" fmla="*/ 129502 h 2788869"/>
                <a:gd name="connsiteX8" fmla="*/ 129502 w 4610513"/>
                <a:gd name="connsiteY8" fmla="*/ 0 h 278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513" h="2788869">
                  <a:moveTo>
                    <a:pt x="129502" y="0"/>
                  </a:moveTo>
                  <a:lnTo>
                    <a:pt x="4481011" y="0"/>
                  </a:lnTo>
                  <a:cubicBezTo>
                    <a:pt x="4552494" y="0"/>
                    <a:pt x="4610514" y="58020"/>
                    <a:pt x="4610514" y="129502"/>
                  </a:cubicBezTo>
                  <a:lnTo>
                    <a:pt x="4610514" y="2659367"/>
                  </a:lnTo>
                  <a:cubicBezTo>
                    <a:pt x="4610514" y="2730850"/>
                    <a:pt x="4552467" y="2788870"/>
                    <a:pt x="4481011" y="2788870"/>
                  </a:cubicBezTo>
                  <a:lnTo>
                    <a:pt x="129502" y="2788870"/>
                  </a:lnTo>
                  <a:cubicBezTo>
                    <a:pt x="58020" y="2788870"/>
                    <a:pt x="0" y="2730850"/>
                    <a:pt x="0" y="2659367"/>
                  </a:cubicBezTo>
                  <a:lnTo>
                    <a:pt x="0" y="129502"/>
                  </a:lnTo>
                  <a:cubicBezTo>
                    <a:pt x="0" y="58020"/>
                    <a:pt x="58020" y="0"/>
                    <a:pt x="129502" y="0"/>
                  </a:cubicBezTo>
                  <a:close/>
                </a:path>
              </a:pathLst>
            </a:custGeom>
            <a:solidFill>
              <a:srgbClr val="000000"/>
            </a:solidFill>
            <a:ln w="2742" cap="flat">
              <a:noFill/>
              <a:prstDash val="solid"/>
              <a:miter/>
            </a:ln>
          </p:spPr>
          <p:txBody>
            <a:bodyPr rtlCol="0" anchor="ctr"/>
            <a:lstStyle/>
            <a:p>
              <a:pPr defTabSz="829544"/>
              <a:endParaRPr lang="en-US" sz="1270"/>
            </a:p>
          </p:txBody>
        </p:sp>
        <p:grpSp>
          <p:nvGrpSpPr>
            <p:cNvPr id="13" name="Graphic 2">
              <a:extLst>
                <a:ext uri="{FF2B5EF4-FFF2-40B4-BE49-F238E27FC236}">
                  <a16:creationId xmlns:a16="http://schemas.microsoft.com/office/drawing/2014/main" id="{CD217B7C-AF9C-213F-3647-01EB4DF664AD}"/>
                </a:ext>
              </a:extLst>
            </p:cNvPr>
            <p:cNvGrpSpPr/>
            <p:nvPr/>
          </p:nvGrpSpPr>
          <p:grpSpPr>
            <a:xfrm>
              <a:off x="6249770" y="5482791"/>
              <a:ext cx="1435672" cy="745756"/>
              <a:chOff x="6249770" y="5482791"/>
              <a:chExt cx="1435672" cy="745756"/>
            </a:xfrm>
          </p:grpSpPr>
          <p:sp>
            <p:nvSpPr>
              <p:cNvPr id="15" name="Freeform: Shape 14">
                <a:extLst>
                  <a:ext uri="{FF2B5EF4-FFF2-40B4-BE49-F238E27FC236}">
                    <a16:creationId xmlns:a16="http://schemas.microsoft.com/office/drawing/2014/main" id="{C88B74C4-6FD7-997F-DE5D-910E27B1F99C}"/>
                  </a:ext>
                </a:extLst>
              </p:cNvPr>
              <p:cNvSpPr/>
              <p:nvPr/>
            </p:nvSpPr>
            <p:spPr>
              <a:xfrm>
                <a:off x="6249770" y="5482791"/>
                <a:ext cx="1435604" cy="744495"/>
              </a:xfrm>
              <a:custGeom>
                <a:avLst/>
                <a:gdLst>
                  <a:gd name="connsiteX0" fmla="*/ 1435605 w 1435604"/>
                  <a:gd name="connsiteY0" fmla="*/ 703449 h 744495"/>
                  <a:gd name="connsiteX1" fmla="*/ 1345422 w 1435604"/>
                  <a:gd name="connsiteY1" fmla="*/ 643619 h 744495"/>
                  <a:gd name="connsiteX2" fmla="*/ 1221897 w 1435604"/>
                  <a:gd name="connsiteY2" fmla="*/ 529828 h 744495"/>
                  <a:gd name="connsiteX3" fmla="*/ 1144464 w 1435604"/>
                  <a:gd name="connsiteY3" fmla="*/ 0 h 744495"/>
                  <a:gd name="connsiteX4" fmla="*/ 291141 w 1435604"/>
                  <a:gd name="connsiteY4" fmla="*/ 0 h 744495"/>
                  <a:gd name="connsiteX5" fmla="*/ 213681 w 1435604"/>
                  <a:gd name="connsiteY5" fmla="*/ 529828 h 744495"/>
                  <a:gd name="connsiteX6" fmla="*/ 90183 w 1435604"/>
                  <a:gd name="connsiteY6" fmla="*/ 643619 h 744495"/>
                  <a:gd name="connsiteX7" fmla="*/ 0 w 1435604"/>
                  <a:gd name="connsiteY7" fmla="*/ 703449 h 744495"/>
                  <a:gd name="connsiteX8" fmla="*/ 0 w 1435604"/>
                  <a:gd name="connsiteY8" fmla="*/ 724781 h 744495"/>
                  <a:gd name="connsiteX9" fmla="*/ 224703 w 1435604"/>
                  <a:gd name="connsiteY9" fmla="*/ 744496 h 744495"/>
                  <a:gd name="connsiteX10" fmla="*/ 1210874 w 1435604"/>
                  <a:gd name="connsiteY10" fmla="*/ 744496 h 744495"/>
                  <a:gd name="connsiteX11" fmla="*/ 1435605 w 1435604"/>
                  <a:gd name="connsiteY11" fmla="*/ 724781 h 744495"/>
                  <a:gd name="connsiteX12" fmla="*/ 1435605 w 1435604"/>
                  <a:gd name="connsiteY12" fmla="*/ 703449 h 74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5604" h="744495">
                    <a:moveTo>
                      <a:pt x="1435605" y="703449"/>
                    </a:moveTo>
                    <a:cubicBezTo>
                      <a:pt x="1435605" y="703449"/>
                      <a:pt x="1425432" y="663526"/>
                      <a:pt x="1345422" y="643619"/>
                    </a:cubicBezTo>
                    <a:cubicBezTo>
                      <a:pt x="1265440" y="623712"/>
                      <a:pt x="1238376" y="600927"/>
                      <a:pt x="1221897" y="529828"/>
                    </a:cubicBezTo>
                    <a:cubicBezTo>
                      <a:pt x="1205445" y="458702"/>
                      <a:pt x="1144464" y="0"/>
                      <a:pt x="1144464" y="0"/>
                    </a:cubicBezTo>
                    <a:lnTo>
                      <a:pt x="291141" y="0"/>
                    </a:lnTo>
                    <a:cubicBezTo>
                      <a:pt x="291141" y="0"/>
                      <a:pt x="230160" y="458702"/>
                      <a:pt x="213681" y="529828"/>
                    </a:cubicBezTo>
                    <a:cubicBezTo>
                      <a:pt x="197229" y="600954"/>
                      <a:pt x="170166" y="623712"/>
                      <a:pt x="90183" y="643619"/>
                    </a:cubicBezTo>
                    <a:cubicBezTo>
                      <a:pt x="10200" y="663526"/>
                      <a:pt x="0" y="703449"/>
                      <a:pt x="0" y="703449"/>
                    </a:cubicBezTo>
                    <a:lnTo>
                      <a:pt x="0" y="724781"/>
                    </a:lnTo>
                    <a:cubicBezTo>
                      <a:pt x="0" y="724781"/>
                      <a:pt x="26542" y="744496"/>
                      <a:pt x="224703" y="744496"/>
                    </a:cubicBezTo>
                    <a:lnTo>
                      <a:pt x="1210874" y="744496"/>
                    </a:lnTo>
                    <a:cubicBezTo>
                      <a:pt x="1409036" y="744496"/>
                      <a:pt x="1435605" y="724781"/>
                      <a:pt x="1435605" y="724781"/>
                    </a:cubicBezTo>
                    <a:lnTo>
                      <a:pt x="1435605" y="703449"/>
                    </a:lnTo>
                    <a:close/>
                  </a:path>
                </a:pathLst>
              </a:custGeom>
              <a:gradFill>
                <a:gsLst>
                  <a:gs pos="0">
                    <a:srgbClr val="F3F4F4"/>
                  </a:gs>
                  <a:gs pos="11000">
                    <a:srgbClr val="CCCDCF"/>
                  </a:gs>
                  <a:gs pos="19000">
                    <a:srgbClr val="B3B5B8"/>
                  </a:gs>
                  <a:gs pos="24000">
                    <a:srgbClr val="ABADB0"/>
                  </a:gs>
                  <a:gs pos="35000">
                    <a:srgbClr val="E6E7E8"/>
                  </a:gs>
                  <a:gs pos="61000">
                    <a:srgbClr val="C7C8CA"/>
                  </a:gs>
                  <a:gs pos="99000">
                    <a:srgbClr val="8A8C8E"/>
                  </a:gs>
                </a:gsLst>
                <a:lin ang="16200000" scaled="1"/>
              </a:gradFill>
              <a:ln w="2742" cap="flat">
                <a:noFill/>
                <a:prstDash val="solid"/>
                <a:miter/>
              </a:ln>
            </p:spPr>
            <p:txBody>
              <a:bodyPr rtlCol="0" anchor="ctr"/>
              <a:lstStyle/>
              <a:p>
                <a:pPr defTabSz="829544"/>
                <a:endParaRPr lang="en-US" sz="1270"/>
              </a:p>
            </p:txBody>
          </p:sp>
          <p:sp>
            <p:nvSpPr>
              <p:cNvPr id="16" name="Freeform: Shape 15">
                <a:extLst>
                  <a:ext uri="{FF2B5EF4-FFF2-40B4-BE49-F238E27FC236}">
                    <a16:creationId xmlns:a16="http://schemas.microsoft.com/office/drawing/2014/main" id="{055BB240-14C8-BBFC-7626-57AAEBCD8A67}"/>
                  </a:ext>
                </a:extLst>
              </p:cNvPr>
              <p:cNvSpPr/>
              <p:nvPr/>
            </p:nvSpPr>
            <p:spPr>
              <a:xfrm>
                <a:off x="6249804" y="6185444"/>
                <a:ext cx="1435637" cy="43103"/>
              </a:xfrm>
              <a:custGeom>
                <a:avLst/>
                <a:gdLst>
                  <a:gd name="connsiteX0" fmla="*/ 1435269 w 1435637"/>
                  <a:gd name="connsiteY0" fmla="*/ 0 h 43103"/>
                  <a:gd name="connsiteX1" fmla="*/ 1210867 w 1435637"/>
                  <a:gd name="connsiteY1" fmla="*/ 19358 h 43103"/>
                  <a:gd name="connsiteX2" fmla="*/ 224696 w 1435637"/>
                  <a:gd name="connsiteY2" fmla="*/ 19358 h 43103"/>
                  <a:gd name="connsiteX3" fmla="*/ 322 w 1435637"/>
                  <a:gd name="connsiteY3" fmla="*/ 0 h 43103"/>
                  <a:gd name="connsiteX4" fmla="*/ 20 w 1435637"/>
                  <a:gd name="connsiteY4" fmla="*/ 2029 h 43103"/>
                  <a:gd name="connsiteX5" fmla="*/ 20 w 1435637"/>
                  <a:gd name="connsiteY5" fmla="*/ 23389 h 43103"/>
                  <a:gd name="connsiteX6" fmla="*/ 224723 w 1435637"/>
                  <a:gd name="connsiteY6" fmla="*/ 43103 h 43103"/>
                  <a:gd name="connsiteX7" fmla="*/ 1210895 w 1435637"/>
                  <a:gd name="connsiteY7" fmla="*/ 43103 h 43103"/>
                  <a:gd name="connsiteX8" fmla="*/ 1435625 w 1435637"/>
                  <a:gd name="connsiteY8" fmla="*/ 23389 h 43103"/>
                  <a:gd name="connsiteX9" fmla="*/ 1435625 w 1435637"/>
                  <a:gd name="connsiteY9" fmla="*/ 2029 h 43103"/>
                  <a:gd name="connsiteX10" fmla="*/ 1435297 w 1435637"/>
                  <a:gd name="connsiteY10" fmla="*/ 0 h 4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5637" h="43103">
                    <a:moveTo>
                      <a:pt x="1435269" y="0"/>
                    </a:moveTo>
                    <a:cubicBezTo>
                      <a:pt x="1432363" y="2660"/>
                      <a:pt x="1393235" y="19358"/>
                      <a:pt x="1210867" y="19358"/>
                    </a:cubicBezTo>
                    <a:lnTo>
                      <a:pt x="224696" y="19358"/>
                    </a:lnTo>
                    <a:cubicBezTo>
                      <a:pt x="42329" y="19358"/>
                      <a:pt x="3201" y="2660"/>
                      <a:pt x="322" y="0"/>
                    </a:cubicBezTo>
                    <a:cubicBezTo>
                      <a:pt x="-117" y="1316"/>
                      <a:pt x="20" y="2029"/>
                      <a:pt x="20" y="2029"/>
                    </a:cubicBezTo>
                    <a:lnTo>
                      <a:pt x="20" y="23389"/>
                    </a:lnTo>
                    <a:cubicBezTo>
                      <a:pt x="20" y="23389"/>
                      <a:pt x="26563" y="43103"/>
                      <a:pt x="224723" y="43103"/>
                    </a:cubicBezTo>
                    <a:lnTo>
                      <a:pt x="1210895" y="43103"/>
                    </a:lnTo>
                    <a:cubicBezTo>
                      <a:pt x="1409056" y="43103"/>
                      <a:pt x="1435625" y="23389"/>
                      <a:pt x="1435625" y="23389"/>
                    </a:cubicBezTo>
                    <a:lnTo>
                      <a:pt x="1435625" y="2029"/>
                    </a:lnTo>
                    <a:cubicBezTo>
                      <a:pt x="1435625" y="2029"/>
                      <a:pt x="1435735" y="1316"/>
                      <a:pt x="1435297" y="0"/>
                    </a:cubicBezTo>
                    <a:close/>
                  </a:path>
                </a:pathLst>
              </a:custGeom>
              <a:gradFill>
                <a:gsLst>
                  <a:gs pos="19000">
                    <a:srgbClr val="ABADB0"/>
                  </a:gs>
                  <a:gs pos="99000">
                    <a:srgbClr val="8A8C8E"/>
                  </a:gs>
                </a:gsLst>
                <a:lin ang="16799923" scaled="1"/>
              </a:gradFill>
              <a:ln w="2742" cap="flat">
                <a:noFill/>
                <a:prstDash val="solid"/>
                <a:miter/>
              </a:ln>
            </p:spPr>
            <p:txBody>
              <a:bodyPr rtlCol="0" anchor="ctr"/>
              <a:lstStyle/>
              <a:p>
                <a:pPr defTabSz="829544"/>
                <a:endParaRPr lang="en-US" sz="1270"/>
              </a:p>
            </p:txBody>
          </p:sp>
        </p:grpSp>
        <p:sp>
          <p:nvSpPr>
            <p:cNvPr id="14" name="Freeform: Shape 13">
              <a:extLst>
                <a:ext uri="{FF2B5EF4-FFF2-40B4-BE49-F238E27FC236}">
                  <a16:creationId xmlns:a16="http://schemas.microsoft.com/office/drawing/2014/main" id="{D70DB2AD-7129-CD10-F3EC-B174EBF84018}"/>
                </a:ext>
              </a:extLst>
            </p:cNvPr>
            <p:cNvSpPr/>
            <p:nvPr/>
          </p:nvSpPr>
          <p:spPr>
            <a:xfrm>
              <a:off x="6946363" y="2746594"/>
              <a:ext cx="42445" cy="42445"/>
            </a:xfrm>
            <a:custGeom>
              <a:avLst/>
              <a:gdLst>
                <a:gd name="connsiteX0" fmla="*/ 42445 w 42445"/>
                <a:gd name="connsiteY0" fmla="*/ 21223 h 42445"/>
                <a:gd name="connsiteX1" fmla="*/ 21250 w 42445"/>
                <a:gd name="connsiteY1" fmla="*/ 42445 h 42445"/>
                <a:gd name="connsiteX2" fmla="*/ 0 w 42445"/>
                <a:gd name="connsiteY2" fmla="*/ 21223 h 42445"/>
                <a:gd name="connsiteX3" fmla="*/ 21250 w 42445"/>
                <a:gd name="connsiteY3" fmla="*/ 0 h 42445"/>
                <a:gd name="connsiteX4" fmla="*/ 42445 w 42445"/>
                <a:gd name="connsiteY4" fmla="*/ 21223 h 4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45" h="42445">
                  <a:moveTo>
                    <a:pt x="42445" y="21223"/>
                  </a:moveTo>
                  <a:cubicBezTo>
                    <a:pt x="42445" y="32958"/>
                    <a:pt x="32958" y="42445"/>
                    <a:pt x="21250" y="42445"/>
                  </a:cubicBezTo>
                  <a:cubicBezTo>
                    <a:pt x="9542" y="42445"/>
                    <a:pt x="0" y="32958"/>
                    <a:pt x="0" y="21223"/>
                  </a:cubicBezTo>
                  <a:cubicBezTo>
                    <a:pt x="0" y="9487"/>
                    <a:pt x="9488" y="0"/>
                    <a:pt x="21250" y="0"/>
                  </a:cubicBezTo>
                  <a:cubicBezTo>
                    <a:pt x="33013" y="0"/>
                    <a:pt x="42445" y="9515"/>
                    <a:pt x="42445" y="21223"/>
                  </a:cubicBezTo>
                  <a:close/>
                </a:path>
              </a:pathLst>
            </a:custGeom>
            <a:solidFill>
              <a:srgbClr val="424143"/>
            </a:solidFill>
            <a:ln w="2742" cap="flat">
              <a:noFill/>
              <a:prstDash val="solid"/>
              <a:miter/>
            </a:ln>
          </p:spPr>
          <p:txBody>
            <a:bodyPr rtlCol="0" anchor="ctr"/>
            <a:lstStyle/>
            <a:p>
              <a:pPr defTabSz="829544"/>
              <a:endParaRPr lang="en-US" sz="1270"/>
            </a:p>
          </p:txBody>
        </p:sp>
      </p:grpSp>
      <p:cxnSp>
        <p:nvCxnSpPr>
          <p:cNvPr id="25" name="Straight Connector 24">
            <a:extLst>
              <a:ext uri="{FF2B5EF4-FFF2-40B4-BE49-F238E27FC236}">
                <a16:creationId xmlns:a16="http://schemas.microsoft.com/office/drawing/2014/main" id="{06AF127D-3A70-50F0-E167-C4C301888865}"/>
              </a:ext>
            </a:extLst>
          </p:cNvPr>
          <p:cNvCxnSpPr>
            <a:cxnSpLocks/>
          </p:cNvCxnSpPr>
          <p:nvPr/>
        </p:nvCxnSpPr>
        <p:spPr>
          <a:xfrm>
            <a:off x="673896" y="4510499"/>
            <a:ext cx="4755596"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24191317-055B-F2F6-1D4B-1036712B0C5C}"/>
              </a:ext>
            </a:extLst>
          </p:cNvPr>
          <p:cNvPicPr>
            <a:picLocks noChangeAspect="1"/>
          </p:cNvPicPr>
          <p:nvPr/>
        </p:nvPicPr>
        <p:blipFill>
          <a:blip r:embed="rId5"/>
          <a:stretch>
            <a:fillRect/>
          </a:stretch>
        </p:blipFill>
        <p:spPr>
          <a:xfrm>
            <a:off x="6542668" y="2304472"/>
            <a:ext cx="4954798" cy="2933265"/>
          </a:xfrm>
          <a:prstGeom prst="rect">
            <a:avLst/>
          </a:prstGeom>
        </p:spPr>
      </p:pic>
      <p:grpSp>
        <p:nvGrpSpPr>
          <p:cNvPr id="9" name="Group 8">
            <a:extLst>
              <a:ext uri="{FF2B5EF4-FFF2-40B4-BE49-F238E27FC236}">
                <a16:creationId xmlns:a16="http://schemas.microsoft.com/office/drawing/2014/main" id="{6906CD14-B1B5-8CFD-4794-95B0CEEE8CC2}"/>
              </a:ext>
            </a:extLst>
          </p:cNvPr>
          <p:cNvGrpSpPr>
            <a:grpSpLocks/>
          </p:cNvGrpSpPr>
          <p:nvPr/>
        </p:nvGrpSpPr>
        <p:grpSpPr>
          <a:xfrm>
            <a:off x="5925995" y="1911771"/>
            <a:ext cx="703197" cy="703197"/>
            <a:chOff x="4949498" y="3541552"/>
            <a:chExt cx="503992" cy="503992"/>
          </a:xfrm>
        </p:grpSpPr>
        <p:sp>
          <p:nvSpPr>
            <p:cNvPr id="11" name="Google Shape;554;p30">
              <a:extLst>
                <a:ext uri="{FF2B5EF4-FFF2-40B4-BE49-F238E27FC236}">
                  <a16:creationId xmlns:a16="http://schemas.microsoft.com/office/drawing/2014/main" id="{102EE214-83C3-2D20-1D31-67D4A23CAB59}"/>
                </a:ext>
              </a:extLst>
            </p:cNvPr>
            <p:cNvSpPr/>
            <p:nvPr/>
          </p:nvSpPr>
          <p:spPr>
            <a:xfrm>
              <a:off x="4949498" y="3541552"/>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endParaRPr sz="1452">
                <a:solidFill>
                  <a:srgbClr val="FFFFFF"/>
                </a:solidFill>
                <a:latin typeface="Calibri" panose="020F0502020204030204"/>
                <a:ea typeface="Calibri"/>
                <a:cs typeface="Calibri"/>
                <a:sym typeface="Calibri"/>
              </a:endParaRPr>
            </a:p>
          </p:txBody>
        </p:sp>
        <p:pic>
          <p:nvPicPr>
            <p:cNvPr id="20" name="Graphic 19">
              <a:extLst>
                <a:ext uri="{FF2B5EF4-FFF2-40B4-BE49-F238E27FC236}">
                  <a16:creationId xmlns:a16="http://schemas.microsoft.com/office/drawing/2014/main" id="{40ED85A9-7009-388F-1291-FA477DDA925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47634" y="3668314"/>
              <a:ext cx="307720" cy="250469"/>
            </a:xfrm>
            <a:prstGeom prst="rect">
              <a:avLst/>
            </a:prstGeom>
          </p:spPr>
        </p:pic>
      </p:grpSp>
      <p:sp>
        <p:nvSpPr>
          <p:cNvPr id="18" name="Google Shape;545;p30">
            <a:extLst>
              <a:ext uri="{FF2B5EF4-FFF2-40B4-BE49-F238E27FC236}">
                <a16:creationId xmlns:a16="http://schemas.microsoft.com/office/drawing/2014/main" id="{6318D880-D1E4-94E2-86AF-69752DA81F6D}"/>
              </a:ext>
            </a:extLst>
          </p:cNvPr>
          <p:cNvSpPr>
            <a:spLocks/>
          </p:cNvSpPr>
          <p:nvPr/>
        </p:nvSpPr>
        <p:spPr>
          <a:xfrm>
            <a:off x="507470" y="1729127"/>
            <a:ext cx="5225884" cy="716854"/>
          </a:xfrm>
          <a:prstGeom prst="round2SameRect">
            <a:avLst/>
          </a:prstGeom>
          <a:gradFill flip="none" rotWithShape="1">
            <a:gsLst>
              <a:gs pos="16000">
                <a:srgbClr val="0F47F2">
                  <a:lumMod val="50000"/>
                </a:srgbClr>
              </a:gs>
              <a:gs pos="46000">
                <a:srgbClr val="0F47F2"/>
              </a:gs>
              <a:gs pos="79000">
                <a:srgbClr val="00B9FF"/>
              </a:gs>
            </a:gsLst>
            <a:lin ang="2700000" scaled="1"/>
            <a:tileRect/>
          </a:gradFill>
          <a:ln w="25400" cap="flat" cmpd="sng" algn="ctr">
            <a:noFill/>
            <a:prstDash val="solid"/>
          </a:ln>
          <a:effectLst/>
        </p:spPr>
        <p:txBody>
          <a:bodyPr lIns="0" tIns="0" rIns="0" bIns="0" rtlCol="0" anchor="ctr">
            <a:noAutofit/>
          </a:bodyPr>
          <a:lstStyle/>
          <a:p>
            <a:pPr algn="ctr" defTabSz="914406">
              <a:buClrTx/>
              <a:defRPr/>
            </a:pPr>
            <a:r>
              <a:rPr lang="en-US" sz="1800" b="1" kern="1200" dirty="0">
                <a:solidFill>
                  <a:srgbClr val="FFFFFF"/>
                </a:solidFill>
                <a:ea typeface="+mn-ea"/>
                <a:cs typeface="Calibri" panose="020F0502020204030204" pitchFamily="34" charset="0"/>
              </a:rPr>
              <a:t>Uncovering Candidates Feedback Sentiment</a:t>
            </a:r>
          </a:p>
        </p:txBody>
      </p:sp>
    </p:spTree>
    <p:extLst>
      <p:ext uri="{BB962C8B-B14F-4D97-AF65-F5344CB8AC3E}">
        <p14:creationId xmlns:p14="http://schemas.microsoft.com/office/powerpoint/2010/main" val="13515788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B3186A-32A5-FEF2-F4D8-AFA6BA781EBE}"/>
              </a:ext>
            </a:extLst>
          </p:cNvPr>
          <p:cNvGraphicFramePr>
            <a:graphicFrameLocks noChangeAspect="1"/>
          </p:cNvGraphicFramePr>
          <p:nvPr>
            <p:custDataLst>
              <p:tags r:id="rId1"/>
            </p:custDataLst>
            <p:extLst>
              <p:ext uri="{D42A27DB-BD31-4B8C-83A1-F6EECF244321}">
                <p14:modId xmlns:p14="http://schemas.microsoft.com/office/powerpoint/2010/main" val="1042151143"/>
              </p:ext>
            </p:extLst>
          </p:nvPr>
        </p:nvGraphicFramePr>
        <p:xfrm>
          <a:off x="1441" y="1531"/>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1EB3186A-32A5-FEF2-F4D8-AFA6BA781EBE}"/>
                          </a:ext>
                        </a:extLst>
                      </p:cNvPr>
                      <p:cNvPicPr/>
                      <p:nvPr/>
                    </p:nvPicPr>
                    <p:blipFill>
                      <a:blip r:embed="rId4"/>
                      <a:stretch>
                        <a:fillRect/>
                      </a:stretch>
                    </p:blipFill>
                    <p:spPr>
                      <a:xfrm>
                        <a:off x="1441" y="1531"/>
                        <a:ext cx="1441" cy="144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BB57624-D49F-E49D-4297-4C11CE6FA5BA}"/>
              </a:ext>
            </a:extLst>
          </p:cNvPr>
          <p:cNvSpPr>
            <a:spLocks noGrp="1"/>
          </p:cNvSpPr>
          <p:nvPr>
            <p:ph type="title"/>
          </p:nvPr>
        </p:nvSpPr>
        <p:spPr>
          <a:xfrm>
            <a:off x="531814" y="560664"/>
            <a:ext cx="11089972" cy="415498"/>
          </a:xfrm>
        </p:spPr>
        <p:txBody>
          <a:bodyPr vert="horz"/>
          <a:lstStyle/>
          <a:p>
            <a:r>
              <a:rPr lang="en-US" sz="3000" dirty="0">
                <a:latin typeface="Franklin Gothic" panose="020B0604020202020204" charset="0"/>
              </a:rPr>
              <a:t>Assessing Candidates’ Experience through Sentiment Analysis</a:t>
            </a:r>
          </a:p>
        </p:txBody>
      </p:sp>
      <p:grpSp>
        <p:nvGrpSpPr>
          <p:cNvPr id="7" name="Group 6">
            <a:extLst>
              <a:ext uri="{FF2B5EF4-FFF2-40B4-BE49-F238E27FC236}">
                <a16:creationId xmlns:a16="http://schemas.microsoft.com/office/drawing/2014/main" id="{82B7EA6C-C789-A28C-6375-1058BC2867E2}"/>
              </a:ext>
            </a:extLst>
          </p:cNvPr>
          <p:cNvGrpSpPr/>
          <p:nvPr/>
        </p:nvGrpSpPr>
        <p:grpSpPr>
          <a:xfrm>
            <a:off x="6226679" y="2078649"/>
            <a:ext cx="5474735" cy="4312023"/>
            <a:chOff x="4662343" y="2693866"/>
            <a:chExt cx="4610513" cy="3534681"/>
          </a:xfrm>
        </p:grpSpPr>
        <p:sp>
          <p:nvSpPr>
            <p:cNvPr id="9" name="Freeform: Shape 8">
              <a:extLst>
                <a:ext uri="{FF2B5EF4-FFF2-40B4-BE49-F238E27FC236}">
                  <a16:creationId xmlns:a16="http://schemas.microsoft.com/office/drawing/2014/main" id="{1B2045F1-6CB2-7837-E7E3-FFCCDBF967F1}"/>
                </a:ext>
              </a:extLst>
            </p:cNvPr>
            <p:cNvSpPr/>
            <p:nvPr/>
          </p:nvSpPr>
          <p:spPr>
            <a:xfrm>
              <a:off x="4662343" y="2693866"/>
              <a:ext cx="4610513" cy="2788869"/>
            </a:xfrm>
            <a:custGeom>
              <a:avLst/>
              <a:gdLst>
                <a:gd name="connsiteX0" fmla="*/ 129502 w 4610513"/>
                <a:gd name="connsiteY0" fmla="*/ 0 h 2788869"/>
                <a:gd name="connsiteX1" fmla="*/ 4481011 w 4610513"/>
                <a:gd name="connsiteY1" fmla="*/ 0 h 2788869"/>
                <a:gd name="connsiteX2" fmla="*/ 4610514 w 4610513"/>
                <a:gd name="connsiteY2" fmla="*/ 129502 h 2788869"/>
                <a:gd name="connsiteX3" fmla="*/ 4610514 w 4610513"/>
                <a:gd name="connsiteY3" fmla="*/ 2659367 h 2788869"/>
                <a:gd name="connsiteX4" fmla="*/ 4481011 w 4610513"/>
                <a:gd name="connsiteY4" fmla="*/ 2788870 h 2788869"/>
                <a:gd name="connsiteX5" fmla="*/ 129502 w 4610513"/>
                <a:gd name="connsiteY5" fmla="*/ 2788870 h 2788869"/>
                <a:gd name="connsiteX6" fmla="*/ 0 w 4610513"/>
                <a:gd name="connsiteY6" fmla="*/ 2659367 h 2788869"/>
                <a:gd name="connsiteX7" fmla="*/ 0 w 4610513"/>
                <a:gd name="connsiteY7" fmla="*/ 129502 h 2788869"/>
                <a:gd name="connsiteX8" fmla="*/ 129502 w 4610513"/>
                <a:gd name="connsiteY8" fmla="*/ 0 h 278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0513" h="2788869">
                  <a:moveTo>
                    <a:pt x="129502" y="0"/>
                  </a:moveTo>
                  <a:lnTo>
                    <a:pt x="4481011" y="0"/>
                  </a:lnTo>
                  <a:cubicBezTo>
                    <a:pt x="4552494" y="0"/>
                    <a:pt x="4610514" y="58020"/>
                    <a:pt x="4610514" y="129502"/>
                  </a:cubicBezTo>
                  <a:lnTo>
                    <a:pt x="4610514" y="2659367"/>
                  </a:lnTo>
                  <a:cubicBezTo>
                    <a:pt x="4610514" y="2730850"/>
                    <a:pt x="4552467" y="2788870"/>
                    <a:pt x="4481011" y="2788870"/>
                  </a:cubicBezTo>
                  <a:lnTo>
                    <a:pt x="129502" y="2788870"/>
                  </a:lnTo>
                  <a:cubicBezTo>
                    <a:pt x="58020" y="2788870"/>
                    <a:pt x="0" y="2730850"/>
                    <a:pt x="0" y="2659367"/>
                  </a:cubicBezTo>
                  <a:lnTo>
                    <a:pt x="0" y="129502"/>
                  </a:lnTo>
                  <a:cubicBezTo>
                    <a:pt x="0" y="58020"/>
                    <a:pt x="58020" y="0"/>
                    <a:pt x="129502" y="0"/>
                  </a:cubicBezTo>
                  <a:close/>
                </a:path>
              </a:pathLst>
            </a:custGeom>
            <a:solidFill>
              <a:srgbClr val="000000"/>
            </a:solidFill>
            <a:ln w="2742" cap="flat">
              <a:noFill/>
              <a:prstDash val="solid"/>
              <a:miter/>
            </a:ln>
          </p:spPr>
          <p:txBody>
            <a:bodyPr rtlCol="0" anchor="ctr"/>
            <a:lstStyle/>
            <a:p>
              <a:pPr defTabSz="829544"/>
              <a:endParaRPr lang="en-US" sz="1270"/>
            </a:p>
          </p:txBody>
        </p:sp>
        <p:grpSp>
          <p:nvGrpSpPr>
            <p:cNvPr id="10" name="Graphic 2">
              <a:extLst>
                <a:ext uri="{FF2B5EF4-FFF2-40B4-BE49-F238E27FC236}">
                  <a16:creationId xmlns:a16="http://schemas.microsoft.com/office/drawing/2014/main" id="{B08441C0-D77C-30BD-694D-7571BE0F5EC6}"/>
                </a:ext>
              </a:extLst>
            </p:cNvPr>
            <p:cNvGrpSpPr/>
            <p:nvPr/>
          </p:nvGrpSpPr>
          <p:grpSpPr>
            <a:xfrm>
              <a:off x="6249770" y="5482791"/>
              <a:ext cx="1435672" cy="745756"/>
              <a:chOff x="6249770" y="5482791"/>
              <a:chExt cx="1435672" cy="745756"/>
            </a:xfrm>
          </p:grpSpPr>
          <p:sp>
            <p:nvSpPr>
              <p:cNvPr id="12" name="Freeform: Shape 11">
                <a:extLst>
                  <a:ext uri="{FF2B5EF4-FFF2-40B4-BE49-F238E27FC236}">
                    <a16:creationId xmlns:a16="http://schemas.microsoft.com/office/drawing/2014/main" id="{1D10DD8E-F458-135A-1329-7E18960F5F42}"/>
                  </a:ext>
                </a:extLst>
              </p:cNvPr>
              <p:cNvSpPr/>
              <p:nvPr/>
            </p:nvSpPr>
            <p:spPr>
              <a:xfrm>
                <a:off x="6249770" y="5482791"/>
                <a:ext cx="1435604" cy="744495"/>
              </a:xfrm>
              <a:custGeom>
                <a:avLst/>
                <a:gdLst>
                  <a:gd name="connsiteX0" fmla="*/ 1435605 w 1435604"/>
                  <a:gd name="connsiteY0" fmla="*/ 703449 h 744495"/>
                  <a:gd name="connsiteX1" fmla="*/ 1345422 w 1435604"/>
                  <a:gd name="connsiteY1" fmla="*/ 643619 h 744495"/>
                  <a:gd name="connsiteX2" fmla="*/ 1221897 w 1435604"/>
                  <a:gd name="connsiteY2" fmla="*/ 529828 h 744495"/>
                  <a:gd name="connsiteX3" fmla="*/ 1144464 w 1435604"/>
                  <a:gd name="connsiteY3" fmla="*/ 0 h 744495"/>
                  <a:gd name="connsiteX4" fmla="*/ 291141 w 1435604"/>
                  <a:gd name="connsiteY4" fmla="*/ 0 h 744495"/>
                  <a:gd name="connsiteX5" fmla="*/ 213681 w 1435604"/>
                  <a:gd name="connsiteY5" fmla="*/ 529828 h 744495"/>
                  <a:gd name="connsiteX6" fmla="*/ 90183 w 1435604"/>
                  <a:gd name="connsiteY6" fmla="*/ 643619 h 744495"/>
                  <a:gd name="connsiteX7" fmla="*/ 0 w 1435604"/>
                  <a:gd name="connsiteY7" fmla="*/ 703449 h 744495"/>
                  <a:gd name="connsiteX8" fmla="*/ 0 w 1435604"/>
                  <a:gd name="connsiteY8" fmla="*/ 724781 h 744495"/>
                  <a:gd name="connsiteX9" fmla="*/ 224703 w 1435604"/>
                  <a:gd name="connsiteY9" fmla="*/ 744496 h 744495"/>
                  <a:gd name="connsiteX10" fmla="*/ 1210874 w 1435604"/>
                  <a:gd name="connsiteY10" fmla="*/ 744496 h 744495"/>
                  <a:gd name="connsiteX11" fmla="*/ 1435605 w 1435604"/>
                  <a:gd name="connsiteY11" fmla="*/ 724781 h 744495"/>
                  <a:gd name="connsiteX12" fmla="*/ 1435605 w 1435604"/>
                  <a:gd name="connsiteY12" fmla="*/ 703449 h 74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5604" h="744495">
                    <a:moveTo>
                      <a:pt x="1435605" y="703449"/>
                    </a:moveTo>
                    <a:cubicBezTo>
                      <a:pt x="1435605" y="703449"/>
                      <a:pt x="1425432" y="663526"/>
                      <a:pt x="1345422" y="643619"/>
                    </a:cubicBezTo>
                    <a:cubicBezTo>
                      <a:pt x="1265440" y="623712"/>
                      <a:pt x="1238376" y="600927"/>
                      <a:pt x="1221897" y="529828"/>
                    </a:cubicBezTo>
                    <a:cubicBezTo>
                      <a:pt x="1205445" y="458702"/>
                      <a:pt x="1144464" y="0"/>
                      <a:pt x="1144464" y="0"/>
                    </a:cubicBezTo>
                    <a:lnTo>
                      <a:pt x="291141" y="0"/>
                    </a:lnTo>
                    <a:cubicBezTo>
                      <a:pt x="291141" y="0"/>
                      <a:pt x="230160" y="458702"/>
                      <a:pt x="213681" y="529828"/>
                    </a:cubicBezTo>
                    <a:cubicBezTo>
                      <a:pt x="197229" y="600954"/>
                      <a:pt x="170166" y="623712"/>
                      <a:pt x="90183" y="643619"/>
                    </a:cubicBezTo>
                    <a:cubicBezTo>
                      <a:pt x="10200" y="663526"/>
                      <a:pt x="0" y="703449"/>
                      <a:pt x="0" y="703449"/>
                    </a:cubicBezTo>
                    <a:lnTo>
                      <a:pt x="0" y="724781"/>
                    </a:lnTo>
                    <a:cubicBezTo>
                      <a:pt x="0" y="724781"/>
                      <a:pt x="26542" y="744496"/>
                      <a:pt x="224703" y="744496"/>
                    </a:cubicBezTo>
                    <a:lnTo>
                      <a:pt x="1210874" y="744496"/>
                    </a:lnTo>
                    <a:cubicBezTo>
                      <a:pt x="1409036" y="744496"/>
                      <a:pt x="1435605" y="724781"/>
                      <a:pt x="1435605" y="724781"/>
                    </a:cubicBezTo>
                    <a:lnTo>
                      <a:pt x="1435605" y="703449"/>
                    </a:lnTo>
                    <a:close/>
                  </a:path>
                </a:pathLst>
              </a:custGeom>
              <a:gradFill>
                <a:gsLst>
                  <a:gs pos="0">
                    <a:srgbClr val="F3F4F4"/>
                  </a:gs>
                  <a:gs pos="11000">
                    <a:srgbClr val="CCCDCF"/>
                  </a:gs>
                  <a:gs pos="19000">
                    <a:srgbClr val="B3B5B8"/>
                  </a:gs>
                  <a:gs pos="24000">
                    <a:srgbClr val="ABADB0"/>
                  </a:gs>
                  <a:gs pos="35000">
                    <a:srgbClr val="E6E7E8"/>
                  </a:gs>
                  <a:gs pos="61000">
                    <a:srgbClr val="C7C8CA"/>
                  </a:gs>
                  <a:gs pos="99000">
                    <a:srgbClr val="8A8C8E"/>
                  </a:gs>
                </a:gsLst>
                <a:lin ang="16200000" scaled="1"/>
              </a:gradFill>
              <a:ln w="2742" cap="flat">
                <a:noFill/>
                <a:prstDash val="solid"/>
                <a:miter/>
              </a:ln>
            </p:spPr>
            <p:txBody>
              <a:bodyPr rtlCol="0" anchor="ctr"/>
              <a:lstStyle/>
              <a:p>
                <a:pPr defTabSz="829544"/>
                <a:endParaRPr lang="en-US" sz="1270"/>
              </a:p>
            </p:txBody>
          </p:sp>
          <p:sp>
            <p:nvSpPr>
              <p:cNvPr id="13" name="Freeform: Shape 12">
                <a:extLst>
                  <a:ext uri="{FF2B5EF4-FFF2-40B4-BE49-F238E27FC236}">
                    <a16:creationId xmlns:a16="http://schemas.microsoft.com/office/drawing/2014/main" id="{235C4EDF-EF65-437E-EF77-B235500DD1E6}"/>
                  </a:ext>
                </a:extLst>
              </p:cNvPr>
              <p:cNvSpPr/>
              <p:nvPr/>
            </p:nvSpPr>
            <p:spPr>
              <a:xfrm>
                <a:off x="6249804" y="6185444"/>
                <a:ext cx="1435637" cy="43103"/>
              </a:xfrm>
              <a:custGeom>
                <a:avLst/>
                <a:gdLst>
                  <a:gd name="connsiteX0" fmla="*/ 1435269 w 1435637"/>
                  <a:gd name="connsiteY0" fmla="*/ 0 h 43103"/>
                  <a:gd name="connsiteX1" fmla="*/ 1210867 w 1435637"/>
                  <a:gd name="connsiteY1" fmla="*/ 19358 h 43103"/>
                  <a:gd name="connsiteX2" fmla="*/ 224696 w 1435637"/>
                  <a:gd name="connsiteY2" fmla="*/ 19358 h 43103"/>
                  <a:gd name="connsiteX3" fmla="*/ 322 w 1435637"/>
                  <a:gd name="connsiteY3" fmla="*/ 0 h 43103"/>
                  <a:gd name="connsiteX4" fmla="*/ 20 w 1435637"/>
                  <a:gd name="connsiteY4" fmla="*/ 2029 h 43103"/>
                  <a:gd name="connsiteX5" fmla="*/ 20 w 1435637"/>
                  <a:gd name="connsiteY5" fmla="*/ 23389 h 43103"/>
                  <a:gd name="connsiteX6" fmla="*/ 224723 w 1435637"/>
                  <a:gd name="connsiteY6" fmla="*/ 43103 h 43103"/>
                  <a:gd name="connsiteX7" fmla="*/ 1210895 w 1435637"/>
                  <a:gd name="connsiteY7" fmla="*/ 43103 h 43103"/>
                  <a:gd name="connsiteX8" fmla="*/ 1435625 w 1435637"/>
                  <a:gd name="connsiteY8" fmla="*/ 23389 h 43103"/>
                  <a:gd name="connsiteX9" fmla="*/ 1435625 w 1435637"/>
                  <a:gd name="connsiteY9" fmla="*/ 2029 h 43103"/>
                  <a:gd name="connsiteX10" fmla="*/ 1435297 w 1435637"/>
                  <a:gd name="connsiteY10" fmla="*/ 0 h 4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5637" h="43103">
                    <a:moveTo>
                      <a:pt x="1435269" y="0"/>
                    </a:moveTo>
                    <a:cubicBezTo>
                      <a:pt x="1432363" y="2660"/>
                      <a:pt x="1393235" y="19358"/>
                      <a:pt x="1210867" y="19358"/>
                    </a:cubicBezTo>
                    <a:lnTo>
                      <a:pt x="224696" y="19358"/>
                    </a:lnTo>
                    <a:cubicBezTo>
                      <a:pt x="42329" y="19358"/>
                      <a:pt x="3201" y="2660"/>
                      <a:pt x="322" y="0"/>
                    </a:cubicBezTo>
                    <a:cubicBezTo>
                      <a:pt x="-117" y="1316"/>
                      <a:pt x="20" y="2029"/>
                      <a:pt x="20" y="2029"/>
                    </a:cubicBezTo>
                    <a:lnTo>
                      <a:pt x="20" y="23389"/>
                    </a:lnTo>
                    <a:cubicBezTo>
                      <a:pt x="20" y="23389"/>
                      <a:pt x="26563" y="43103"/>
                      <a:pt x="224723" y="43103"/>
                    </a:cubicBezTo>
                    <a:lnTo>
                      <a:pt x="1210895" y="43103"/>
                    </a:lnTo>
                    <a:cubicBezTo>
                      <a:pt x="1409056" y="43103"/>
                      <a:pt x="1435625" y="23389"/>
                      <a:pt x="1435625" y="23389"/>
                    </a:cubicBezTo>
                    <a:lnTo>
                      <a:pt x="1435625" y="2029"/>
                    </a:lnTo>
                    <a:cubicBezTo>
                      <a:pt x="1435625" y="2029"/>
                      <a:pt x="1435735" y="1316"/>
                      <a:pt x="1435297" y="0"/>
                    </a:cubicBezTo>
                    <a:close/>
                  </a:path>
                </a:pathLst>
              </a:custGeom>
              <a:gradFill>
                <a:gsLst>
                  <a:gs pos="19000">
                    <a:srgbClr val="ABADB0"/>
                  </a:gs>
                  <a:gs pos="99000">
                    <a:srgbClr val="8A8C8E"/>
                  </a:gs>
                </a:gsLst>
                <a:lin ang="16799923" scaled="1"/>
              </a:gradFill>
              <a:ln w="2742" cap="flat">
                <a:noFill/>
                <a:prstDash val="solid"/>
                <a:miter/>
              </a:ln>
            </p:spPr>
            <p:txBody>
              <a:bodyPr rtlCol="0" anchor="ctr"/>
              <a:lstStyle/>
              <a:p>
                <a:pPr defTabSz="829544"/>
                <a:endParaRPr lang="en-US" sz="1270"/>
              </a:p>
            </p:txBody>
          </p:sp>
        </p:grpSp>
        <p:sp>
          <p:nvSpPr>
            <p:cNvPr id="11" name="Freeform: Shape 10">
              <a:extLst>
                <a:ext uri="{FF2B5EF4-FFF2-40B4-BE49-F238E27FC236}">
                  <a16:creationId xmlns:a16="http://schemas.microsoft.com/office/drawing/2014/main" id="{70B032E8-2BB2-670B-9075-3398F651FC68}"/>
                </a:ext>
              </a:extLst>
            </p:cNvPr>
            <p:cNvSpPr/>
            <p:nvPr/>
          </p:nvSpPr>
          <p:spPr>
            <a:xfrm>
              <a:off x="6946363" y="2746594"/>
              <a:ext cx="42445" cy="42445"/>
            </a:xfrm>
            <a:custGeom>
              <a:avLst/>
              <a:gdLst>
                <a:gd name="connsiteX0" fmla="*/ 42445 w 42445"/>
                <a:gd name="connsiteY0" fmla="*/ 21223 h 42445"/>
                <a:gd name="connsiteX1" fmla="*/ 21250 w 42445"/>
                <a:gd name="connsiteY1" fmla="*/ 42445 h 42445"/>
                <a:gd name="connsiteX2" fmla="*/ 0 w 42445"/>
                <a:gd name="connsiteY2" fmla="*/ 21223 h 42445"/>
                <a:gd name="connsiteX3" fmla="*/ 21250 w 42445"/>
                <a:gd name="connsiteY3" fmla="*/ 0 h 42445"/>
                <a:gd name="connsiteX4" fmla="*/ 42445 w 42445"/>
                <a:gd name="connsiteY4" fmla="*/ 21223 h 4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45" h="42445">
                  <a:moveTo>
                    <a:pt x="42445" y="21223"/>
                  </a:moveTo>
                  <a:cubicBezTo>
                    <a:pt x="42445" y="32958"/>
                    <a:pt x="32958" y="42445"/>
                    <a:pt x="21250" y="42445"/>
                  </a:cubicBezTo>
                  <a:cubicBezTo>
                    <a:pt x="9542" y="42445"/>
                    <a:pt x="0" y="32958"/>
                    <a:pt x="0" y="21223"/>
                  </a:cubicBezTo>
                  <a:cubicBezTo>
                    <a:pt x="0" y="9487"/>
                    <a:pt x="9488" y="0"/>
                    <a:pt x="21250" y="0"/>
                  </a:cubicBezTo>
                  <a:cubicBezTo>
                    <a:pt x="33013" y="0"/>
                    <a:pt x="42445" y="9515"/>
                    <a:pt x="42445" y="21223"/>
                  </a:cubicBezTo>
                  <a:close/>
                </a:path>
              </a:pathLst>
            </a:custGeom>
            <a:solidFill>
              <a:srgbClr val="424143"/>
            </a:solidFill>
            <a:ln w="2742" cap="flat">
              <a:noFill/>
              <a:prstDash val="solid"/>
              <a:miter/>
            </a:ln>
          </p:spPr>
          <p:txBody>
            <a:bodyPr rtlCol="0" anchor="ctr"/>
            <a:lstStyle/>
            <a:p>
              <a:pPr defTabSz="829544"/>
              <a:endParaRPr lang="en-US" sz="1270"/>
            </a:p>
          </p:txBody>
        </p:sp>
      </p:grpSp>
      <p:sp>
        <p:nvSpPr>
          <p:cNvPr id="18" name="Google Shape;831;p25">
            <a:extLst>
              <a:ext uri="{FF2B5EF4-FFF2-40B4-BE49-F238E27FC236}">
                <a16:creationId xmlns:a16="http://schemas.microsoft.com/office/drawing/2014/main" id="{317182DF-56A9-7A34-4665-41560407E8B4}"/>
              </a:ext>
            </a:extLst>
          </p:cNvPr>
          <p:cNvSpPr>
            <a:spLocks/>
          </p:cNvSpPr>
          <p:nvPr/>
        </p:nvSpPr>
        <p:spPr>
          <a:xfrm>
            <a:off x="499720" y="1989057"/>
            <a:ext cx="5225883" cy="4811131"/>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31" tIns="163288" rIns="130631" bIns="163288" anchor="t" anchorCtr="0">
            <a:noAutofit/>
          </a:bodyPr>
          <a:lstStyle/>
          <a:p>
            <a:pPr algn="ctr" defTabSz="829544">
              <a:lnSpc>
                <a:spcPct val="130769"/>
              </a:lnSpc>
              <a:buClr>
                <a:srgbClr val="00B9FF"/>
              </a:buClr>
              <a:buSzPts val="1300"/>
            </a:pPr>
            <a:endParaRPr lang="en-US" sz="1270" dirty="0"/>
          </a:p>
        </p:txBody>
      </p:sp>
      <p:sp>
        <p:nvSpPr>
          <p:cNvPr id="21" name="Google Shape;657;p33">
            <a:extLst>
              <a:ext uri="{FF2B5EF4-FFF2-40B4-BE49-F238E27FC236}">
                <a16:creationId xmlns:a16="http://schemas.microsoft.com/office/drawing/2014/main" id="{0EC2FC67-72F7-BBEB-5D8D-006EDAD6D36A}"/>
              </a:ext>
            </a:extLst>
          </p:cNvPr>
          <p:cNvSpPr txBox="1">
            <a:spLocks/>
          </p:cNvSpPr>
          <p:nvPr/>
        </p:nvSpPr>
        <p:spPr>
          <a:xfrm>
            <a:off x="781622" y="3756213"/>
            <a:ext cx="4744821" cy="1153791"/>
          </a:xfrm>
          <a:prstGeom prst="rect">
            <a:avLst/>
          </a:prstGeom>
          <a:noFill/>
          <a:ln>
            <a:noFill/>
          </a:ln>
        </p:spPr>
        <p:txBody>
          <a:bodyPr spcFirstLastPara="1" wrap="square" lIns="0" tIns="35977" rIns="215975" bIns="35977" anchor="t" anchorCtr="0">
            <a:noAutofit/>
          </a:bodyPr>
          <a:lstStyle/>
          <a:p>
            <a:pPr defTabSz="829544">
              <a:lnSpc>
                <a:spcPts val="1724"/>
              </a:lnSpc>
              <a:buClr>
                <a:srgbClr val="0F47F2"/>
              </a:buClr>
            </a:pPr>
            <a:r>
              <a:rPr lang="en-US" sz="1452" b="1" dirty="0">
                <a:solidFill>
                  <a:srgbClr val="00B9FF"/>
                </a:solidFill>
                <a:latin typeface="Calibri"/>
                <a:ea typeface="Calibri"/>
                <a:cs typeface="Calibri"/>
                <a:sym typeface="Calibri"/>
              </a:rPr>
              <a:t>Extracting Insights with Text Summarization</a:t>
            </a:r>
          </a:p>
          <a:p>
            <a:pPr marL="157613" indent="-157613" defTabSz="829544">
              <a:lnSpc>
                <a:spcPts val="1724"/>
              </a:lnSpc>
              <a:spcBef>
                <a:spcPts val="544"/>
              </a:spcBef>
              <a:buClr>
                <a:srgbClr val="00B9FF"/>
              </a:buClr>
              <a:buSzPct val="100000"/>
              <a:buFont typeface="Wingdings" panose="05000000000000000000" pitchFamily="2" charset="2"/>
              <a:buChar char="§"/>
            </a:pPr>
            <a:r>
              <a:rPr lang="en-US" sz="1270" dirty="0">
                <a:solidFill>
                  <a:srgbClr val="444444"/>
                </a:solidFill>
                <a:latin typeface="Calibri"/>
                <a:ea typeface="Calibri"/>
                <a:cs typeface="Calibri"/>
                <a:sym typeface="Calibri"/>
              </a:rPr>
              <a:t>Applying OpenAI GPT-3 API model to perform text summarization</a:t>
            </a:r>
          </a:p>
          <a:p>
            <a:pPr marL="157613" indent="-157613" defTabSz="829544">
              <a:lnSpc>
                <a:spcPts val="1724"/>
              </a:lnSpc>
              <a:buClr>
                <a:srgbClr val="00B9FF"/>
              </a:buClr>
              <a:buSzPct val="100000"/>
              <a:buFont typeface="Wingdings" panose="05000000000000000000" pitchFamily="2" charset="2"/>
              <a:buChar char="§"/>
            </a:pPr>
            <a:r>
              <a:rPr lang="en-US" sz="1270" dirty="0">
                <a:solidFill>
                  <a:srgbClr val="444444"/>
                </a:solidFill>
                <a:latin typeface="Calibri"/>
                <a:ea typeface="Calibri"/>
                <a:cs typeface="Calibri"/>
                <a:sym typeface="Calibri"/>
              </a:rPr>
              <a:t>Incorporating trained embeddings and defining specific summarization objectives to extract tailored insights from the text.</a:t>
            </a:r>
          </a:p>
          <a:p>
            <a:pPr marL="157613" indent="-157613" defTabSz="829544">
              <a:lnSpc>
                <a:spcPts val="1724"/>
              </a:lnSpc>
              <a:buClr>
                <a:srgbClr val="0F47F2"/>
              </a:buClr>
              <a:buSzPct val="100000"/>
              <a:buFont typeface="Wingdings" panose="05000000000000000000" pitchFamily="2" charset="2"/>
              <a:buChar char="§"/>
            </a:pPr>
            <a:endParaRPr lang="en-US" sz="1270" dirty="0">
              <a:solidFill>
                <a:srgbClr val="444444"/>
              </a:solidFill>
              <a:latin typeface="Calibri"/>
              <a:ea typeface="Calibri"/>
              <a:cs typeface="Calibri"/>
              <a:sym typeface="Calibri"/>
            </a:endParaRPr>
          </a:p>
          <a:p>
            <a:pPr marL="157613" indent="-157613" defTabSz="829544">
              <a:lnSpc>
                <a:spcPts val="1724"/>
              </a:lnSpc>
              <a:buClr>
                <a:srgbClr val="0F47F2"/>
              </a:buClr>
              <a:buSzPct val="100000"/>
              <a:buFont typeface="Wingdings" panose="05000000000000000000" pitchFamily="2" charset="2"/>
              <a:buChar char="§"/>
            </a:pPr>
            <a:endParaRPr lang="en-US" sz="1270" dirty="0">
              <a:solidFill>
                <a:srgbClr val="444444"/>
              </a:solidFill>
              <a:latin typeface="Calibri"/>
              <a:ea typeface="Calibri"/>
              <a:cs typeface="Calibri"/>
              <a:sym typeface="Calibri"/>
            </a:endParaRPr>
          </a:p>
        </p:txBody>
      </p:sp>
      <p:sp>
        <p:nvSpPr>
          <p:cNvPr id="22" name="Google Shape;658;p33">
            <a:extLst>
              <a:ext uri="{FF2B5EF4-FFF2-40B4-BE49-F238E27FC236}">
                <a16:creationId xmlns:a16="http://schemas.microsoft.com/office/drawing/2014/main" id="{ED93110E-7920-1183-7E23-6B269F7ACA6B}"/>
              </a:ext>
            </a:extLst>
          </p:cNvPr>
          <p:cNvSpPr txBox="1">
            <a:spLocks/>
          </p:cNvSpPr>
          <p:nvPr/>
        </p:nvSpPr>
        <p:spPr>
          <a:xfrm>
            <a:off x="781622" y="2331922"/>
            <a:ext cx="4744821" cy="1194089"/>
          </a:xfrm>
          <a:prstGeom prst="rect">
            <a:avLst/>
          </a:prstGeom>
          <a:noFill/>
          <a:ln>
            <a:noFill/>
          </a:ln>
        </p:spPr>
        <p:txBody>
          <a:bodyPr spcFirstLastPara="1" wrap="square" lIns="0" tIns="35977" rIns="215975" bIns="35977" anchor="t" anchorCtr="0">
            <a:noAutofit/>
          </a:bodyPr>
          <a:lstStyle/>
          <a:p>
            <a:pPr defTabSz="829544">
              <a:lnSpc>
                <a:spcPts val="1724"/>
              </a:lnSpc>
              <a:buClr>
                <a:srgbClr val="0F47F2"/>
              </a:buClr>
            </a:pPr>
            <a:r>
              <a:rPr lang="en-IN" sz="1452" b="1" dirty="0">
                <a:solidFill>
                  <a:srgbClr val="00B9FF"/>
                </a:solidFill>
                <a:latin typeface="Calibri"/>
                <a:ea typeface="Calibri"/>
                <a:cs typeface="Calibri"/>
                <a:sym typeface="Calibri"/>
              </a:rPr>
              <a:t>Creating Candidate Comment Embeddings</a:t>
            </a:r>
          </a:p>
          <a:p>
            <a:pPr marL="157613" indent="-157613" defTabSz="829544">
              <a:lnSpc>
                <a:spcPts val="1724"/>
              </a:lnSpc>
              <a:spcBef>
                <a:spcPts val="544"/>
              </a:spcBef>
              <a:buClr>
                <a:srgbClr val="00B9FF"/>
              </a:buClr>
              <a:buSzPct val="100000"/>
              <a:buFont typeface="Wingdings" panose="05000000000000000000" pitchFamily="2" charset="2"/>
              <a:buChar char="§"/>
            </a:pPr>
            <a:r>
              <a:rPr lang="en-IN" sz="1270" dirty="0">
                <a:solidFill>
                  <a:srgbClr val="444444"/>
                </a:solidFill>
                <a:latin typeface="Calibri"/>
                <a:ea typeface="Calibri"/>
                <a:cs typeface="Calibri"/>
                <a:sym typeface="Calibri"/>
              </a:rPr>
              <a:t>Tokenizing candidate comments using custom NLP techniques for analysis preparation.</a:t>
            </a:r>
          </a:p>
          <a:p>
            <a:pPr marL="157613" indent="-157613" defTabSz="829544">
              <a:lnSpc>
                <a:spcPts val="1724"/>
              </a:lnSpc>
              <a:buClr>
                <a:srgbClr val="00B9FF"/>
              </a:buClr>
              <a:buSzPct val="100000"/>
              <a:buFont typeface="Wingdings" panose="05000000000000000000" pitchFamily="2" charset="2"/>
              <a:buChar char="§"/>
            </a:pPr>
            <a:r>
              <a:rPr lang="en-IN" sz="1270" dirty="0">
                <a:solidFill>
                  <a:srgbClr val="444444"/>
                </a:solidFill>
                <a:latin typeface="Calibri"/>
                <a:ea typeface="Calibri"/>
                <a:cs typeface="Calibri"/>
                <a:sym typeface="Calibri"/>
              </a:rPr>
              <a:t>Utilizing OpenAI's Embeddings API to generate high-dimensional vector representations for each candidate comment.</a:t>
            </a:r>
          </a:p>
          <a:p>
            <a:pPr marL="157613" indent="-157613" defTabSz="829544">
              <a:lnSpc>
                <a:spcPts val="1724"/>
              </a:lnSpc>
              <a:buClr>
                <a:srgbClr val="00B9FF"/>
              </a:buClr>
              <a:buSzPct val="100000"/>
              <a:buFont typeface="Wingdings" panose="05000000000000000000" pitchFamily="2" charset="2"/>
              <a:buChar char="§"/>
            </a:pPr>
            <a:endParaRPr lang="en-IN" sz="1270" b="1" dirty="0">
              <a:solidFill>
                <a:srgbClr val="444444"/>
              </a:solidFill>
              <a:latin typeface="Calibri"/>
              <a:ea typeface="Calibri"/>
              <a:cs typeface="Calibri"/>
              <a:sym typeface="Calibri"/>
            </a:endParaRPr>
          </a:p>
          <a:p>
            <a:pPr marL="157613" indent="-157613" defTabSz="829544">
              <a:lnSpc>
                <a:spcPts val="1724"/>
              </a:lnSpc>
              <a:buClr>
                <a:srgbClr val="00B9FF"/>
              </a:buClr>
              <a:buSzPct val="100000"/>
              <a:buFont typeface="Wingdings" panose="05000000000000000000" pitchFamily="2" charset="2"/>
              <a:buChar char="§"/>
            </a:pPr>
            <a:endParaRPr lang="en-IN" sz="1270" b="1" dirty="0">
              <a:solidFill>
                <a:srgbClr val="444444"/>
              </a:solidFill>
              <a:latin typeface="Calibri"/>
              <a:ea typeface="Calibri"/>
              <a:cs typeface="Calibri"/>
              <a:sym typeface="Calibri"/>
            </a:endParaRPr>
          </a:p>
          <a:p>
            <a:pPr marL="157613" indent="-157613" defTabSz="829544">
              <a:lnSpc>
                <a:spcPts val="1724"/>
              </a:lnSpc>
              <a:buClr>
                <a:srgbClr val="00B9FF"/>
              </a:buClr>
              <a:buSzPct val="100000"/>
              <a:buFont typeface="Wingdings" panose="05000000000000000000" pitchFamily="2" charset="2"/>
              <a:buChar char="§"/>
            </a:pPr>
            <a:endParaRPr lang="en-IN" sz="1270" b="1" dirty="0">
              <a:solidFill>
                <a:srgbClr val="444444"/>
              </a:solidFill>
              <a:latin typeface="Calibri"/>
              <a:ea typeface="Calibri"/>
              <a:cs typeface="Calibri"/>
              <a:sym typeface="Calibri"/>
            </a:endParaRPr>
          </a:p>
        </p:txBody>
      </p:sp>
      <p:sp>
        <p:nvSpPr>
          <p:cNvPr id="23" name="Google Shape;659;p33">
            <a:extLst>
              <a:ext uri="{FF2B5EF4-FFF2-40B4-BE49-F238E27FC236}">
                <a16:creationId xmlns:a16="http://schemas.microsoft.com/office/drawing/2014/main" id="{4DDE2E15-EE04-11EF-1C1E-528149C1F8E4}"/>
              </a:ext>
            </a:extLst>
          </p:cNvPr>
          <p:cNvSpPr txBox="1">
            <a:spLocks/>
          </p:cNvSpPr>
          <p:nvPr/>
        </p:nvSpPr>
        <p:spPr>
          <a:xfrm>
            <a:off x="781621" y="5236337"/>
            <a:ext cx="4744770" cy="1154335"/>
          </a:xfrm>
          <a:prstGeom prst="rect">
            <a:avLst/>
          </a:prstGeom>
          <a:noFill/>
          <a:ln>
            <a:noFill/>
          </a:ln>
        </p:spPr>
        <p:txBody>
          <a:bodyPr spcFirstLastPara="1" wrap="square" lIns="0" tIns="35977" rIns="215975" bIns="35977" anchor="t" anchorCtr="0">
            <a:noAutofit/>
          </a:bodyPr>
          <a:lstStyle/>
          <a:p>
            <a:pPr defTabSz="829544">
              <a:lnSpc>
                <a:spcPts val="1724"/>
              </a:lnSpc>
              <a:buClr>
                <a:srgbClr val="0F47F2"/>
              </a:buClr>
            </a:pPr>
            <a:r>
              <a:rPr lang="en-US" sz="1452" b="1" dirty="0">
                <a:solidFill>
                  <a:srgbClr val="00B9FF"/>
                </a:solidFill>
                <a:latin typeface="Calibri"/>
                <a:ea typeface="Calibri"/>
                <a:cs typeface="Calibri"/>
                <a:sym typeface="Calibri"/>
              </a:rPr>
              <a:t>Customized Comment Selection</a:t>
            </a:r>
          </a:p>
          <a:p>
            <a:pPr marL="157613" indent="-157613" defTabSz="829544">
              <a:lnSpc>
                <a:spcPts val="1724"/>
              </a:lnSpc>
              <a:spcBef>
                <a:spcPts val="544"/>
              </a:spcBef>
              <a:buClr>
                <a:srgbClr val="00B9FF"/>
              </a:buClr>
              <a:buSzPct val="100000"/>
              <a:buFont typeface="Wingdings" panose="05000000000000000000" pitchFamily="2" charset="2"/>
              <a:buChar char="§"/>
            </a:pPr>
            <a:r>
              <a:rPr lang="en-US" sz="1270" dirty="0">
                <a:solidFill>
                  <a:srgbClr val="444444"/>
                </a:solidFill>
                <a:latin typeface="Calibri"/>
                <a:ea typeface="Calibri"/>
                <a:cs typeface="Calibri"/>
                <a:sym typeface="Calibri"/>
              </a:rPr>
              <a:t>Instructing GPT-3 to prioritize comments related to specific topics specified by the client (e.g., discrimination, rudeness)</a:t>
            </a:r>
          </a:p>
          <a:p>
            <a:pPr marL="157613" indent="-157613" defTabSz="829544">
              <a:lnSpc>
                <a:spcPts val="1724"/>
              </a:lnSpc>
              <a:buClr>
                <a:srgbClr val="00B9FF"/>
              </a:buClr>
              <a:buSzPct val="100000"/>
              <a:buFont typeface="Wingdings" panose="05000000000000000000" pitchFamily="2" charset="2"/>
              <a:buChar char="§"/>
            </a:pPr>
            <a:r>
              <a:rPr lang="en-US" sz="1270" dirty="0">
                <a:solidFill>
                  <a:srgbClr val="444444"/>
                </a:solidFill>
                <a:latin typeface="Calibri"/>
                <a:ea typeface="Calibri"/>
                <a:cs typeface="Calibri"/>
                <a:sym typeface="Calibri"/>
              </a:rPr>
              <a:t>Applying custom filters and thresholds to fine-tune the categorization ensuring the inclusion of the most meaningful insights.</a:t>
            </a:r>
            <a:endParaRPr lang="en-US" sz="1270" dirty="0">
              <a:solidFill>
                <a:srgbClr val="444444"/>
              </a:solidFill>
              <a:latin typeface="Calibri"/>
              <a:ea typeface="Calibri"/>
              <a:cs typeface="Calibri"/>
            </a:endParaRPr>
          </a:p>
        </p:txBody>
      </p:sp>
      <p:cxnSp>
        <p:nvCxnSpPr>
          <p:cNvPr id="29" name="Straight Connector 28">
            <a:extLst>
              <a:ext uri="{FF2B5EF4-FFF2-40B4-BE49-F238E27FC236}">
                <a16:creationId xmlns:a16="http://schemas.microsoft.com/office/drawing/2014/main" id="{DFFAF057-F6BB-6DB3-3EA3-764BEAC10275}"/>
              </a:ext>
            </a:extLst>
          </p:cNvPr>
          <p:cNvCxnSpPr/>
          <p:nvPr/>
        </p:nvCxnSpPr>
        <p:spPr>
          <a:xfrm>
            <a:off x="749303" y="3642204"/>
            <a:ext cx="4811131"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214E120-3E16-96FD-D7E2-90ABE4B019CE}"/>
              </a:ext>
            </a:extLst>
          </p:cNvPr>
          <p:cNvCxnSpPr/>
          <p:nvPr/>
        </p:nvCxnSpPr>
        <p:spPr>
          <a:xfrm>
            <a:off x="749303" y="5080058"/>
            <a:ext cx="4811131"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2835DB0-C2E8-EBF9-6A94-EBC6E9949F04}"/>
              </a:ext>
            </a:extLst>
          </p:cNvPr>
          <p:cNvPicPr>
            <a:picLocks noChangeAspect="1"/>
          </p:cNvPicPr>
          <p:nvPr/>
        </p:nvPicPr>
        <p:blipFill>
          <a:blip r:embed="rId5"/>
          <a:stretch>
            <a:fillRect/>
          </a:stretch>
        </p:blipFill>
        <p:spPr>
          <a:xfrm>
            <a:off x="6516724" y="2286103"/>
            <a:ext cx="4894647" cy="2940219"/>
          </a:xfrm>
          <a:prstGeom prst="rect">
            <a:avLst/>
          </a:prstGeom>
        </p:spPr>
      </p:pic>
      <p:grpSp>
        <p:nvGrpSpPr>
          <p:cNvPr id="17" name="Group 16">
            <a:extLst>
              <a:ext uri="{FF2B5EF4-FFF2-40B4-BE49-F238E27FC236}">
                <a16:creationId xmlns:a16="http://schemas.microsoft.com/office/drawing/2014/main" id="{2FC14237-E73F-7441-D292-7671CBD82DF0}"/>
              </a:ext>
            </a:extLst>
          </p:cNvPr>
          <p:cNvGrpSpPr>
            <a:grpSpLocks/>
          </p:cNvGrpSpPr>
          <p:nvPr/>
        </p:nvGrpSpPr>
        <p:grpSpPr>
          <a:xfrm>
            <a:off x="6011223" y="1726743"/>
            <a:ext cx="703197" cy="703197"/>
            <a:chOff x="4949498" y="4963842"/>
            <a:chExt cx="503992" cy="503992"/>
          </a:xfrm>
        </p:grpSpPr>
        <p:sp>
          <p:nvSpPr>
            <p:cNvPr id="27" name="Google Shape;557;p30">
              <a:extLst>
                <a:ext uri="{FF2B5EF4-FFF2-40B4-BE49-F238E27FC236}">
                  <a16:creationId xmlns:a16="http://schemas.microsoft.com/office/drawing/2014/main" id="{D7961754-B5B6-4945-1EE5-D6D734B29BEF}"/>
                </a:ext>
              </a:extLst>
            </p:cNvPr>
            <p:cNvSpPr/>
            <p:nvPr/>
          </p:nvSpPr>
          <p:spPr>
            <a:xfrm>
              <a:off x="4949498" y="4963842"/>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4" tIns="45698" rIns="91424" bIns="45698" anchor="ctr" anchorCtr="0">
              <a:noAutofit/>
            </a:bodyPr>
            <a:lstStyle/>
            <a:p>
              <a:pPr algn="ctr" defTabSz="829544"/>
              <a:endParaRPr sz="1452">
                <a:solidFill>
                  <a:srgbClr val="FFFFFF"/>
                </a:solidFill>
                <a:latin typeface="Calibri" panose="020F0502020204030204"/>
                <a:ea typeface="Calibri"/>
                <a:cs typeface="Calibri"/>
                <a:sym typeface="Calibri"/>
              </a:endParaRPr>
            </a:p>
          </p:txBody>
        </p:sp>
        <p:pic>
          <p:nvPicPr>
            <p:cNvPr id="28" name="Graphic 27">
              <a:extLst>
                <a:ext uri="{FF2B5EF4-FFF2-40B4-BE49-F238E27FC236}">
                  <a16:creationId xmlns:a16="http://schemas.microsoft.com/office/drawing/2014/main" id="{4764F969-85DE-1799-DA9F-E6168CDEE2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44056" y="5066272"/>
              <a:ext cx="314876" cy="299132"/>
            </a:xfrm>
            <a:prstGeom prst="rect">
              <a:avLst/>
            </a:prstGeom>
          </p:spPr>
        </p:pic>
      </p:grpSp>
      <p:sp>
        <p:nvSpPr>
          <p:cNvPr id="6" name="Google Shape;545;p30">
            <a:extLst>
              <a:ext uri="{FF2B5EF4-FFF2-40B4-BE49-F238E27FC236}">
                <a16:creationId xmlns:a16="http://schemas.microsoft.com/office/drawing/2014/main" id="{02D2B64D-0020-6A82-6CFF-59190395A25A}"/>
              </a:ext>
            </a:extLst>
          </p:cNvPr>
          <p:cNvSpPr>
            <a:spLocks/>
          </p:cNvSpPr>
          <p:nvPr/>
        </p:nvSpPr>
        <p:spPr>
          <a:xfrm>
            <a:off x="490588" y="1561545"/>
            <a:ext cx="5225884" cy="716854"/>
          </a:xfrm>
          <a:prstGeom prst="round2SameRect">
            <a:avLst/>
          </a:prstGeom>
          <a:gradFill flip="none" rotWithShape="1">
            <a:gsLst>
              <a:gs pos="16000">
                <a:srgbClr val="0F47F2">
                  <a:lumMod val="50000"/>
                </a:srgbClr>
              </a:gs>
              <a:gs pos="46000">
                <a:srgbClr val="0F47F2"/>
              </a:gs>
              <a:gs pos="79000">
                <a:srgbClr val="00B9FF"/>
              </a:gs>
            </a:gsLst>
            <a:lin ang="2700000" scaled="1"/>
            <a:tileRect/>
          </a:gradFill>
          <a:ln w="25400" cap="flat" cmpd="sng" algn="ctr">
            <a:noFill/>
            <a:prstDash val="solid"/>
          </a:ln>
          <a:effectLst/>
        </p:spPr>
        <p:txBody>
          <a:bodyPr lIns="0" tIns="0" rIns="0" bIns="0" rtlCol="0" anchor="ctr">
            <a:noAutofit/>
          </a:bodyPr>
          <a:lstStyle/>
          <a:p>
            <a:pPr algn="ctr" defTabSz="914406">
              <a:buClrTx/>
              <a:defRPr/>
            </a:pPr>
            <a:r>
              <a:rPr lang="en-US" sz="1800" b="1" kern="1200" dirty="0">
                <a:solidFill>
                  <a:srgbClr val="FFFFFF"/>
                </a:solidFill>
                <a:ea typeface="+mn-ea"/>
                <a:cs typeface="Calibri" panose="020F0502020204030204" pitchFamily="34" charset="0"/>
              </a:rPr>
              <a:t>Highlighting Critical Insights</a:t>
            </a:r>
          </a:p>
        </p:txBody>
      </p:sp>
    </p:spTree>
    <p:extLst>
      <p:ext uri="{BB962C8B-B14F-4D97-AF65-F5344CB8AC3E}">
        <p14:creationId xmlns:p14="http://schemas.microsoft.com/office/powerpoint/2010/main" val="2066700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7632E0-A9B6-6300-3681-8309FBA4D516}"/>
              </a:ext>
            </a:extLst>
          </p:cNvPr>
          <p:cNvGraphicFramePr>
            <a:graphicFrameLocks noChangeAspect="1"/>
          </p:cNvGraphicFramePr>
          <p:nvPr>
            <p:custDataLst>
              <p:tags r:id="rId1"/>
            </p:custDataLst>
            <p:extLst>
              <p:ext uri="{D42A27DB-BD31-4B8C-83A1-F6EECF244321}">
                <p14:modId xmlns:p14="http://schemas.microsoft.com/office/powerpoint/2010/main" val="3046376671"/>
              </p:ext>
            </p:extLst>
          </p:nvPr>
        </p:nvGraphicFramePr>
        <p:xfrm>
          <a:off x="1601" y="1622"/>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0D7632E0-A9B6-6300-3681-8309FBA4D516}"/>
                          </a:ext>
                        </a:extLst>
                      </p:cNvPr>
                      <p:cNvPicPr/>
                      <p:nvPr/>
                    </p:nvPicPr>
                    <p:blipFill>
                      <a:blip r:embed="rId4"/>
                      <a:stretch>
                        <a:fillRect/>
                      </a:stretch>
                    </p:blipFill>
                    <p:spPr>
                      <a:xfrm>
                        <a:off x="1601" y="1622"/>
                        <a:ext cx="1441" cy="144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FFDC0C8-D41E-9249-5051-7FD07B9158A2}"/>
              </a:ext>
            </a:extLst>
          </p:cNvPr>
          <p:cNvSpPr>
            <a:spLocks noGrp="1"/>
          </p:cNvSpPr>
          <p:nvPr>
            <p:ph type="title"/>
          </p:nvPr>
        </p:nvSpPr>
        <p:spPr>
          <a:xfrm>
            <a:off x="531960" y="560740"/>
            <a:ext cx="11089681" cy="830997"/>
          </a:xfrm>
        </p:spPr>
        <p:txBody>
          <a:bodyPr vert="horz"/>
          <a:lstStyle/>
          <a:p>
            <a:r>
              <a:rPr lang="en-US" sz="3000" kern="1200" dirty="0">
                <a:solidFill>
                  <a:schemeClr val="bg2"/>
                </a:solidFill>
                <a:latin typeface="Franklin Gothic" panose="020B0604020202020204" charset="0"/>
                <a:ea typeface="+mj-ea"/>
                <a:cs typeface="Calibri" panose="020F0502020204030204" pitchFamily="34" charset="0"/>
              </a:rPr>
              <a:t>Geospatial Analysis of Labor Catchment: </a:t>
            </a:r>
            <a:br>
              <a:rPr lang="en-US" sz="3000" kern="1200" dirty="0">
                <a:solidFill>
                  <a:schemeClr val="bg2"/>
                </a:solidFill>
                <a:latin typeface="Franklin Gothic" panose="020B0604020202020204" charset="0"/>
                <a:ea typeface="+mj-ea"/>
                <a:cs typeface="Calibri" panose="020F0502020204030204" pitchFamily="34" charset="0"/>
              </a:rPr>
            </a:br>
            <a:r>
              <a:rPr lang="en-US" sz="3000" kern="1200" dirty="0">
                <a:solidFill>
                  <a:schemeClr val="bg2"/>
                </a:solidFill>
                <a:latin typeface="Franklin Gothic" panose="020B0604020202020204" charset="0"/>
                <a:ea typeface="+mj-ea"/>
                <a:cs typeface="Calibri" panose="020F0502020204030204" pitchFamily="34" charset="0"/>
              </a:rPr>
              <a:t>Assessing Employment and Demographic Patterns</a:t>
            </a:r>
          </a:p>
        </p:txBody>
      </p:sp>
      <p:sp>
        <p:nvSpPr>
          <p:cNvPr id="6" name="Arrow: Pentagon 5">
            <a:extLst>
              <a:ext uri="{FF2B5EF4-FFF2-40B4-BE49-F238E27FC236}">
                <a16:creationId xmlns:a16="http://schemas.microsoft.com/office/drawing/2014/main" id="{8D25C050-5377-E25A-F073-4CCABE6F6C54}"/>
              </a:ext>
            </a:extLst>
          </p:cNvPr>
          <p:cNvSpPr>
            <a:spLocks/>
          </p:cNvSpPr>
          <p:nvPr/>
        </p:nvSpPr>
        <p:spPr>
          <a:xfrm flipH="1">
            <a:off x="10346878" y="560740"/>
            <a:ext cx="1844964" cy="886327"/>
          </a:xfrm>
          <a:prstGeom prst="homePlate">
            <a:avLst>
              <a:gd name="adj" fmla="val 1507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9"/>
            <a:endParaRPr lang="en-US" sz="1270">
              <a:solidFill>
                <a:srgbClr val="FFFFFF"/>
              </a:solidFill>
              <a:latin typeface="Calibri" panose="020F0502020204030204"/>
            </a:endParaRPr>
          </a:p>
        </p:txBody>
      </p:sp>
      <p:pic>
        <p:nvPicPr>
          <p:cNvPr id="7" name="Google Shape;547;p30">
            <a:extLst>
              <a:ext uri="{FF2B5EF4-FFF2-40B4-BE49-F238E27FC236}">
                <a16:creationId xmlns:a16="http://schemas.microsoft.com/office/drawing/2014/main" id="{9FAAC4DC-3825-57EC-0FC1-A066631B09DB}"/>
              </a:ext>
            </a:extLst>
          </p:cNvPr>
          <p:cNvPicPr preferRelativeResize="0"/>
          <p:nvPr/>
        </p:nvPicPr>
        <p:blipFill rotWithShape="1">
          <a:blip r:embed="rId5" cstate="print">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10819587" y="615136"/>
            <a:ext cx="861027" cy="777534"/>
          </a:xfrm>
          <a:prstGeom prst="rect">
            <a:avLst/>
          </a:prstGeom>
          <a:noFill/>
          <a:ln>
            <a:noFill/>
          </a:ln>
        </p:spPr>
      </p:pic>
      <p:sp>
        <p:nvSpPr>
          <p:cNvPr id="8" name="Google Shape;831;p25">
            <a:extLst>
              <a:ext uri="{FF2B5EF4-FFF2-40B4-BE49-F238E27FC236}">
                <a16:creationId xmlns:a16="http://schemas.microsoft.com/office/drawing/2014/main" id="{AC0603C7-F978-FD43-3417-DA06CFFD3C37}"/>
              </a:ext>
            </a:extLst>
          </p:cNvPr>
          <p:cNvSpPr>
            <a:spLocks/>
          </p:cNvSpPr>
          <p:nvPr/>
        </p:nvSpPr>
        <p:spPr>
          <a:xfrm>
            <a:off x="499868" y="2096818"/>
            <a:ext cx="3654797" cy="4377642"/>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lang="en-US" sz="1270" dirty="0">
              <a:ea typeface="+mn-ea"/>
            </a:endParaRPr>
          </a:p>
        </p:txBody>
      </p:sp>
      <p:sp>
        <p:nvSpPr>
          <p:cNvPr id="9" name="Google Shape;831;p25">
            <a:extLst>
              <a:ext uri="{FF2B5EF4-FFF2-40B4-BE49-F238E27FC236}">
                <a16:creationId xmlns:a16="http://schemas.microsoft.com/office/drawing/2014/main" id="{52CAA3C6-ADF7-FB94-F057-9F0BD640C672}"/>
              </a:ext>
            </a:extLst>
          </p:cNvPr>
          <p:cNvSpPr>
            <a:spLocks/>
          </p:cNvSpPr>
          <p:nvPr/>
        </p:nvSpPr>
        <p:spPr>
          <a:xfrm>
            <a:off x="8035632" y="2096820"/>
            <a:ext cx="3654797" cy="4377641"/>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sz="1270" dirty="0">
              <a:ea typeface="+mn-ea"/>
            </a:endParaRPr>
          </a:p>
        </p:txBody>
      </p:sp>
      <p:sp>
        <p:nvSpPr>
          <p:cNvPr id="10" name="Google Shape;831;p25">
            <a:extLst>
              <a:ext uri="{FF2B5EF4-FFF2-40B4-BE49-F238E27FC236}">
                <a16:creationId xmlns:a16="http://schemas.microsoft.com/office/drawing/2014/main" id="{A41EF20E-668B-6A10-A56A-84BE64FD2428}"/>
              </a:ext>
            </a:extLst>
          </p:cNvPr>
          <p:cNvSpPr>
            <a:spLocks/>
          </p:cNvSpPr>
          <p:nvPr/>
        </p:nvSpPr>
        <p:spPr>
          <a:xfrm>
            <a:off x="4268603" y="2096820"/>
            <a:ext cx="3654797" cy="4377641"/>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sz="1270" dirty="0">
              <a:ea typeface="+mn-ea"/>
            </a:endParaRPr>
          </a:p>
        </p:txBody>
      </p:sp>
      <p:sp>
        <p:nvSpPr>
          <p:cNvPr id="14" name="Google Shape;540;p30">
            <a:extLst>
              <a:ext uri="{FF2B5EF4-FFF2-40B4-BE49-F238E27FC236}">
                <a16:creationId xmlns:a16="http://schemas.microsoft.com/office/drawing/2014/main" id="{6BFAFB3C-793B-14F2-55F6-5615C6B8E87A}"/>
              </a:ext>
            </a:extLst>
          </p:cNvPr>
          <p:cNvSpPr>
            <a:spLocks/>
          </p:cNvSpPr>
          <p:nvPr/>
        </p:nvSpPr>
        <p:spPr>
          <a:xfrm>
            <a:off x="8025818" y="1686574"/>
            <a:ext cx="3654797" cy="71384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endParaRPr b="1" kern="1200">
              <a:solidFill>
                <a:srgbClr val="FFFFFF"/>
              </a:solidFill>
              <a:latin typeface="Calibri" panose="020F0502020204030204" pitchFamily="34" charset="0"/>
              <a:cs typeface="Calibri" panose="020F0502020204030204" pitchFamily="34" charset="0"/>
            </a:endParaRPr>
          </a:p>
        </p:txBody>
      </p:sp>
      <p:sp>
        <p:nvSpPr>
          <p:cNvPr id="16" name="Google Shape;545;p30">
            <a:extLst>
              <a:ext uri="{FF2B5EF4-FFF2-40B4-BE49-F238E27FC236}">
                <a16:creationId xmlns:a16="http://schemas.microsoft.com/office/drawing/2014/main" id="{AE014B29-22FD-E08A-F4AF-7733683C7771}"/>
              </a:ext>
            </a:extLst>
          </p:cNvPr>
          <p:cNvSpPr>
            <a:spLocks/>
          </p:cNvSpPr>
          <p:nvPr/>
        </p:nvSpPr>
        <p:spPr>
          <a:xfrm>
            <a:off x="499868" y="1685069"/>
            <a:ext cx="3654797" cy="71685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endParaRPr sz="1800" b="1" kern="1200">
              <a:solidFill>
                <a:srgbClr val="FFFFFF"/>
              </a:solidFill>
              <a:latin typeface="Calibri" panose="020F0502020204030204" pitchFamily="34" charset="0"/>
              <a:cs typeface="Calibri" panose="020F0502020204030204" pitchFamily="34" charset="0"/>
            </a:endParaRPr>
          </a:p>
        </p:txBody>
      </p:sp>
      <p:grpSp>
        <p:nvGrpSpPr>
          <p:cNvPr id="18" name="Group 17">
            <a:extLst>
              <a:ext uri="{FF2B5EF4-FFF2-40B4-BE49-F238E27FC236}">
                <a16:creationId xmlns:a16="http://schemas.microsoft.com/office/drawing/2014/main" id="{2FEE4393-D412-D55C-3EAC-C3FC0C8F7AE4}"/>
              </a:ext>
            </a:extLst>
          </p:cNvPr>
          <p:cNvGrpSpPr/>
          <p:nvPr/>
        </p:nvGrpSpPr>
        <p:grpSpPr>
          <a:xfrm>
            <a:off x="3466060" y="1746839"/>
            <a:ext cx="592175" cy="593316"/>
            <a:chOff x="3416568" y="1395569"/>
            <a:chExt cx="955760" cy="957600"/>
          </a:xfrm>
        </p:grpSpPr>
        <p:sp>
          <p:nvSpPr>
            <p:cNvPr id="19" name="Google Shape;551;p30">
              <a:extLst>
                <a:ext uri="{FF2B5EF4-FFF2-40B4-BE49-F238E27FC236}">
                  <a16:creationId xmlns:a16="http://schemas.microsoft.com/office/drawing/2014/main" id="{73D1234C-2C67-2EB7-D5F5-24121A4F62B5}"/>
                </a:ext>
              </a:extLst>
            </p:cNvPr>
            <p:cNvSpPr/>
            <p:nvPr/>
          </p:nvSpPr>
          <p:spPr>
            <a:xfrm>
              <a:off x="3416568"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401">
                <a:solidFill>
                  <a:srgbClr val="FFFFFF"/>
                </a:solidFill>
                <a:ea typeface="+mn-ea"/>
              </a:endParaRPr>
            </a:p>
          </p:txBody>
        </p:sp>
        <p:pic>
          <p:nvPicPr>
            <p:cNvPr id="20" name="Google Shape;552;p30">
              <a:extLst>
                <a:ext uri="{FF2B5EF4-FFF2-40B4-BE49-F238E27FC236}">
                  <a16:creationId xmlns:a16="http://schemas.microsoft.com/office/drawing/2014/main" id="{FBDA501D-A570-09C1-42DF-BA93CAB7C45D}"/>
                </a:ext>
              </a:extLst>
            </p:cNvPr>
            <p:cNvPicPr preferRelativeResize="0"/>
            <p:nvPr/>
          </p:nvPicPr>
          <p:blipFill rotWithShape="1">
            <a:blip r:embed="rId7" cstate="print">
              <a:alphaModFix/>
              <a:extLst>
                <a:ext uri="{28A0092B-C50C-407E-A947-70E740481C1C}">
                  <a14:useLocalDpi xmlns:a14="http://schemas.microsoft.com/office/drawing/2010/main" val="0"/>
                </a:ext>
              </a:extLst>
            </a:blip>
            <a:srcRect/>
            <a:stretch/>
          </p:blipFill>
          <p:spPr>
            <a:xfrm>
              <a:off x="3568608" y="1548529"/>
              <a:ext cx="651681" cy="651681"/>
            </a:xfrm>
            <a:prstGeom prst="rect">
              <a:avLst/>
            </a:prstGeom>
            <a:noFill/>
            <a:ln>
              <a:noFill/>
            </a:ln>
          </p:spPr>
        </p:pic>
      </p:grpSp>
      <p:sp>
        <p:nvSpPr>
          <p:cNvPr id="21" name="Google Shape;566;p30">
            <a:extLst>
              <a:ext uri="{FF2B5EF4-FFF2-40B4-BE49-F238E27FC236}">
                <a16:creationId xmlns:a16="http://schemas.microsoft.com/office/drawing/2014/main" id="{802C6218-0E8B-29B8-9AB9-A60612607102}"/>
              </a:ext>
            </a:extLst>
          </p:cNvPr>
          <p:cNvSpPr>
            <a:spLocks/>
          </p:cNvSpPr>
          <p:nvPr/>
        </p:nvSpPr>
        <p:spPr>
          <a:xfrm>
            <a:off x="4262843" y="1685069"/>
            <a:ext cx="3654797" cy="71685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endParaRPr sz="1800" b="1" kern="1200">
              <a:solidFill>
                <a:srgbClr val="FFFFFF"/>
              </a:solidFill>
              <a:latin typeface="Calibri" panose="020F0502020204030204" pitchFamily="34" charset="0"/>
              <a:cs typeface="Calibri" panose="020F0502020204030204" pitchFamily="34" charset="0"/>
            </a:endParaRPr>
          </a:p>
        </p:txBody>
      </p:sp>
      <p:grpSp>
        <p:nvGrpSpPr>
          <p:cNvPr id="23" name="Group 22">
            <a:extLst>
              <a:ext uri="{FF2B5EF4-FFF2-40B4-BE49-F238E27FC236}">
                <a16:creationId xmlns:a16="http://schemas.microsoft.com/office/drawing/2014/main" id="{731B6241-4A24-5448-8E21-D74ED4AE2693}"/>
              </a:ext>
            </a:extLst>
          </p:cNvPr>
          <p:cNvGrpSpPr/>
          <p:nvPr/>
        </p:nvGrpSpPr>
        <p:grpSpPr>
          <a:xfrm>
            <a:off x="7222928" y="1746839"/>
            <a:ext cx="592175" cy="593316"/>
            <a:chOff x="7762572" y="1395569"/>
            <a:chExt cx="955760" cy="957600"/>
          </a:xfrm>
        </p:grpSpPr>
        <p:sp>
          <p:nvSpPr>
            <p:cNvPr id="24" name="Google Shape;568;p30">
              <a:extLst>
                <a:ext uri="{FF2B5EF4-FFF2-40B4-BE49-F238E27FC236}">
                  <a16:creationId xmlns:a16="http://schemas.microsoft.com/office/drawing/2014/main" id="{C8BA6C61-57F7-5455-045C-6A0D5EDACDBB}"/>
                </a:ext>
              </a:extLst>
            </p:cNvPr>
            <p:cNvSpPr/>
            <p:nvPr/>
          </p:nvSpPr>
          <p:spPr>
            <a:xfrm>
              <a:off x="7762572"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597">
                <a:solidFill>
                  <a:srgbClr val="FFFFFF"/>
                </a:solidFill>
                <a:ea typeface="+mn-ea"/>
              </a:endParaRPr>
            </a:p>
          </p:txBody>
        </p:sp>
        <p:pic>
          <p:nvPicPr>
            <p:cNvPr id="25" name="Google Shape;569;p30">
              <a:extLst>
                <a:ext uri="{FF2B5EF4-FFF2-40B4-BE49-F238E27FC236}">
                  <a16:creationId xmlns:a16="http://schemas.microsoft.com/office/drawing/2014/main" id="{CA0C2E3B-7276-F3E1-73F8-BA140D862055}"/>
                </a:ext>
              </a:extLst>
            </p:cNvPr>
            <p:cNvPicPr preferRelativeResize="0"/>
            <p:nvPr/>
          </p:nvPicPr>
          <p:blipFill rotWithShape="1">
            <a:blip r:embed="rId8" cstate="print">
              <a:alphaModFix/>
              <a:extLst>
                <a:ext uri="{28A0092B-C50C-407E-A947-70E740481C1C}">
                  <a14:useLocalDpi xmlns:a14="http://schemas.microsoft.com/office/drawing/2010/main" val="0"/>
                </a:ext>
              </a:extLst>
            </a:blip>
            <a:srcRect/>
            <a:stretch/>
          </p:blipFill>
          <p:spPr>
            <a:xfrm>
              <a:off x="7909107" y="1543024"/>
              <a:ext cx="662691" cy="662691"/>
            </a:xfrm>
            <a:prstGeom prst="rect">
              <a:avLst/>
            </a:prstGeom>
            <a:noFill/>
            <a:ln>
              <a:noFill/>
            </a:ln>
          </p:spPr>
        </p:pic>
      </p:grpSp>
      <p:grpSp>
        <p:nvGrpSpPr>
          <p:cNvPr id="26" name="Group 25">
            <a:extLst>
              <a:ext uri="{FF2B5EF4-FFF2-40B4-BE49-F238E27FC236}">
                <a16:creationId xmlns:a16="http://schemas.microsoft.com/office/drawing/2014/main" id="{3AE51361-A263-536C-DAD8-B16B27843287}"/>
              </a:ext>
            </a:extLst>
          </p:cNvPr>
          <p:cNvGrpSpPr/>
          <p:nvPr/>
        </p:nvGrpSpPr>
        <p:grpSpPr>
          <a:xfrm>
            <a:off x="10997607" y="1746839"/>
            <a:ext cx="592175" cy="593316"/>
            <a:chOff x="12019931" y="1366765"/>
            <a:chExt cx="955760" cy="957600"/>
          </a:xfrm>
        </p:grpSpPr>
        <p:sp>
          <p:nvSpPr>
            <p:cNvPr id="27" name="Google Shape;583;p30">
              <a:extLst>
                <a:ext uri="{FF2B5EF4-FFF2-40B4-BE49-F238E27FC236}">
                  <a16:creationId xmlns:a16="http://schemas.microsoft.com/office/drawing/2014/main" id="{03AF0B2E-D144-D1AC-B940-50B2FD3F9BCE}"/>
                </a:ext>
              </a:extLst>
            </p:cNvPr>
            <p:cNvSpPr/>
            <p:nvPr/>
          </p:nvSpPr>
          <p:spPr>
            <a:xfrm>
              <a:off x="12019931" y="1366765"/>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401">
                <a:solidFill>
                  <a:srgbClr val="FFFFFF"/>
                </a:solidFill>
                <a:highlight>
                  <a:srgbClr val="FFFF00"/>
                </a:highlight>
                <a:ea typeface="+mn-ea"/>
              </a:endParaRPr>
            </a:p>
          </p:txBody>
        </p:sp>
        <p:grpSp>
          <p:nvGrpSpPr>
            <p:cNvPr id="28" name="Google Shape;584;p30">
              <a:extLst>
                <a:ext uri="{FF2B5EF4-FFF2-40B4-BE49-F238E27FC236}">
                  <a16:creationId xmlns:a16="http://schemas.microsoft.com/office/drawing/2014/main" id="{6827B9F5-1B5C-9594-DF97-9B4EA627F0D5}"/>
                </a:ext>
              </a:extLst>
            </p:cNvPr>
            <p:cNvGrpSpPr/>
            <p:nvPr/>
          </p:nvGrpSpPr>
          <p:grpSpPr>
            <a:xfrm>
              <a:off x="12226115" y="1593618"/>
              <a:ext cx="543392" cy="503895"/>
              <a:chOff x="10915170" y="2075424"/>
              <a:chExt cx="432288" cy="400866"/>
            </a:xfrm>
          </p:grpSpPr>
          <p:sp>
            <p:nvSpPr>
              <p:cNvPr id="29" name="Google Shape;585;p30">
                <a:extLst>
                  <a:ext uri="{FF2B5EF4-FFF2-40B4-BE49-F238E27FC236}">
                    <a16:creationId xmlns:a16="http://schemas.microsoft.com/office/drawing/2014/main" id="{835E3102-15A4-CFC1-F0F5-5259256C032F}"/>
                  </a:ext>
                </a:extLst>
              </p:cNvPr>
              <p:cNvSpPr/>
              <p:nvPr/>
            </p:nvSpPr>
            <p:spPr>
              <a:xfrm>
                <a:off x="10915170" y="2075424"/>
                <a:ext cx="432288" cy="400866"/>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noFill/>
              <a:ln w="6350" cap="flat" cmpd="sng">
                <a:solidFill>
                  <a:schemeClr val="accent1"/>
                </a:solidFill>
                <a:prstDash val="solid"/>
                <a:round/>
                <a:headEnd type="none" w="sm" len="sm"/>
                <a:tailEnd type="none" w="sm" len="sm"/>
              </a:ln>
            </p:spPr>
            <p:txBody>
              <a:bodyPr spcFirstLastPara="1" wrap="square" lIns="91422" tIns="45697" rIns="91422" bIns="45697" anchor="t" anchorCtr="0">
                <a:noAutofit/>
              </a:bodyPr>
              <a:lstStyle/>
              <a:p>
                <a:pPr defTabSz="829549"/>
                <a:endParaRPr sz="1801">
                  <a:solidFill>
                    <a:srgbClr val="444444"/>
                  </a:solidFill>
                  <a:highlight>
                    <a:srgbClr val="FFFF00"/>
                  </a:highlight>
                  <a:latin typeface="Calibri"/>
                  <a:ea typeface="Calibri"/>
                  <a:cs typeface="Calibri"/>
                  <a:sym typeface="Calibri"/>
                </a:endParaRPr>
              </a:p>
            </p:txBody>
          </p:sp>
          <p:sp>
            <p:nvSpPr>
              <p:cNvPr id="30" name="Google Shape;586;p30">
                <a:extLst>
                  <a:ext uri="{FF2B5EF4-FFF2-40B4-BE49-F238E27FC236}">
                    <a16:creationId xmlns:a16="http://schemas.microsoft.com/office/drawing/2014/main" id="{A1560FED-75CB-A814-B621-705C4284CCEC}"/>
                  </a:ext>
                </a:extLst>
              </p:cNvPr>
              <p:cNvSpPr/>
              <p:nvPr/>
            </p:nvSpPr>
            <p:spPr>
              <a:xfrm>
                <a:off x="11005647" y="2167089"/>
                <a:ext cx="282550" cy="266407"/>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3175" cap="flat" cmpd="sng">
                <a:solidFill>
                  <a:schemeClr val="accent1"/>
                </a:solidFill>
                <a:prstDash val="solid"/>
                <a:round/>
                <a:headEnd type="none" w="sm" len="sm"/>
                <a:tailEnd type="none" w="sm" len="sm"/>
              </a:ln>
            </p:spPr>
            <p:txBody>
              <a:bodyPr spcFirstLastPara="1" wrap="square" lIns="91422" tIns="45697" rIns="91422" bIns="45697" anchor="t" anchorCtr="0">
                <a:noAutofit/>
              </a:bodyPr>
              <a:lstStyle/>
              <a:p>
                <a:pPr defTabSz="829549"/>
                <a:endParaRPr sz="1801">
                  <a:solidFill>
                    <a:srgbClr val="444444"/>
                  </a:solidFill>
                  <a:highlight>
                    <a:srgbClr val="FFFF00"/>
                  </a:highlight>
                  <a:latin typeface="Calibri"/>
                  <a:ea typeface="Calibri"/>
                  <a:cs typeface="Calibri"/>
                  <a:sym typeface="Calibri"/>
                </a:endParaRPr>
              </a:p>
            </p:txBody>
          </p:sp>
        </p:grpSp>
      </p:grpSp>
      <p:sp>
        <p:nvSpPr>
          <p:cNvPr id="2" name="Google Shape;541;p30">
            <a:extLst>
              <a:ext uri="{FF2B5EF4-FFF2-40B4-BE49-F238E27FC236}">
                <a16:creationId xmlns:a16="http://schemas.microsoft.com/office/drawing/2014/main" id="{B89D3427-A305-253E-9248-40D265AC22E6}"/>
              </a:ext>
            </a:extLst>
          </p:cNvPr>
          <p:cNvSpPr txBox="1"/>
          <p:nvPr/>
        </p:nvSpPr>
        <p:spPr>
          <a:xfrm>
            <a:off x="8998176" y="1901105"/>
            <a:ext cx="1710080" cy="284758"/>
          </a:xfrm>
          <a:prstGeom prst="rect">
            <a:avLst/>
          </a:prstGeom>
          <a:noFill/>
          <a:ln>
            <a:noFill/>
          </a:ln>
        </p:spPr>
        <p:txBody>
          <a:bodyPr spcFirstLastPara="1" wrap="square" lIns="0" tIns="0" rIns="0" bIns="0" anchor="t" anchorCtr="0">
            <a:spAutoFit/>
          </a:bodyPr>
          <a:lstStyle/>
          <a:p>
            <a:pPr algn="ctr" defTabSz="829549">
              <a:lnSpc>
                <a:spcPct val="85000"/>
              </a:lnSpc>
            </a:pPr>
            <a:r>
              <a:rPr lang="en-IN" sz="2177" b="1" dirty="0">
                <a:solidFill>
                  <a:srgbClr val="FFFFFF"/>
                </a:solidFill>
                <a:latin typeface="Calibri" panose="020F0502020204030204"/>
                <a:ea typeface="Franklin Gothic"/>
                <a:cs typeface="Franklin Gothic"/>
                <a:sym typeface="Franklin Gothic"/>
              </a:rPr>
              <a:t>Outcome</a:t>
            </a:r>
            <a:endParaRPr sz="2177" b="1" dirty="0">
              <a:latin typeface="Calibri" panose="020F0502020204030204"/>
              <a:ea typeface="+mn-ea"/>
            </a:endParaRPr>
          </a:p>
        </p:txBody>
      </p:sp>
      <p:sp>
        <p:nvSpPr>
          <p:cNvPr id="3" name="Google Shape;546;p30">
            <a:extLst>
              <a:ext uri="{FF2B5EF4-FFF2-40B4-BE49-F238E27FC236}">
                <a16:creationId xmlns:a16="http://schemas.microsoft.com/office/drawing/2014/main" id="{5DBA1FF9-00CA-DE5D-E5F7-CFB585CB7574}"/>
              </a:ext>
            </a:extLst>
          </p:cNvPr>
          <p:cNvSpPr txBox="1"/>
          <p:nvPr/>
        </p:nvSpPr>
        <p:spPr>
          <a:xfrm>
            <a:off x="1218521" y="1901105"/>
            <a:ext cx="2217491" cy="284758"/>
          </a:xfrm>
          <a:prstGeom prst="rect">
            <a:avLst/>
          </a:prstGeom>
          <a:noFill/>
          <a:ln>
            <a:noFill/>
          </a:ln>
        </p:spPr>
        <p:txBody>
          <a:bodyPr spcFirstLastPara="1" wrap="square" lIns="0" tIns="0" rIns="0" bIns="0" anchor="t" anchorCtr="0">
            <a:spAutoFit/>
          </a:bodyPr>
          <a:lstStyle/>
          <a:p>
            <a:pPr algn="ctr" defTabSz="829549">
              <a:lnSpc>
                <a:spcPct val="85000"/>
              </a:lnSpc>
            </a:pPr>
            <a:r>
              <a:rPr lang="en-IN" sz="2177" b="1" dirty="0">
                <a:solidFill>
                  <a:srgbClr val="FFFFFF"/>
                </a:solidFill>
                <a:latin typeface="Calibri" panose="020F0502020204030204"/>
                <a:ea typeface="Franklin Gothic"/>
                <a:cs typeface="Franklin Gothic"/>
                <a:sym typeface="Franklin Gothic"/>
              </a:rPr>
              <a:t>Client Challenge</a:t>
            </a:r>
            <a:endParaRPr sz="2177" b="1" dirty="0">
              <a:latin typeface="Calibri" panose="020F0502020204030204"/>
              <a:ea typeface="+mn-ea"/>
            </a:endParaRPr>
          </a:p>
        </p:txBody>
      </p:sp>
      <p:sp>
        <p:nvSpPr>
          <p:cNvPr id="33" name="Google Shape;567;p30">
            <a:extLst>
              <a:ext uri="{FF2B5EF4-FFF2-40B4-BE49-F238E27FC236}">
                <a16:creationId xmlns:a16="http://schemas.microsoft.com/office/drawing/2014/main" id="{6ECC9F43-A07F-18F7-C831-FD2F07E31CE4}"/>
              </a:ext>
            </a:extLst>
          </p:cNvPr>
          <p:cNvSpPr txBox="1"/>
          <p:nvPr/>
        </p:nvSpPr>
        <p:spPr>
          <a:xfrm>
            <a:off x="5210256" y="1901105"/>
            <a:ext cx="1759969" cy="284758"/>
          </a:xfrm>
          <a:prstGeom prst="rect">
            <a:avLst/>
          </a:prstGeom>
          <a:noFill/>
          <a:ln>
            <a:noFill/>
          </a:ln>
        </p:spPr>
        <p:txBody>
          <a:bodyPr spcFirstLastPara="1" wrap="square" lIns="0" tIns="0" rIns="0" bIns="0" anchor="t" anchorCtr="0">
            <a:spAutoFit/>
          </a:bodyPr>
          <a:lstStyle/>
          <a:p>
            <a:pPr algn="ctr" defTabSz="829549">
              <a:lnSpc>
                <a:spcPct val="85000"/>
              </a:lnSpc>
            </a:pPr>
            <a:r>
              <a:rPr lang="en-IN" sz="2177" b="1" dirty="0">
                <a:solidFill>
                  <a:srgbClr val="FFFFFF"/>
                </a:solidFill>
                <a:latin typeface="Calibri" panose="020F0502020204030204"/>
                <a:ea typeface="Franklin Gothic"/>
                <a:cs typeface="Franklin Gothic"/>
                <a:sym typeface="Franklin Gothic"/>
              </a:rPr>
              <a:t>Our Solution</a:t>
            </a:r>
            <a:endParaRPr sz="2177" b="1" dirty="0">
              <a:latin typeface="Calibri" panose="020F0502020204030204"/>
              <a:ea typeface="+mn-ea"/>
            </a:endParaRPr>
          </a:p>
        </p:txBody>
      </p:sp>
      <p:sp>
        <p:nvSpPr>
          <p:cNvPr id="35" name="Google Shape;563;p30">
            <a:extLst>
              <a:ext uri="{FF2B5EF4-FFF2-40B4-BE49-F238E27FC236}">
                <a16:creationId xmlns:a16="http://schemas.microsoft.com/office/drawing/2014/main" id="{F6B62C8F-4118-92E1-1F6E-BE01BC2F2812}"/>
              </a:ext>
            </a:extLst>
          </p:cNvPr>
          <p:cNvSpPr txBox="1">
            <a:spLocks/>
          </p:cNvSpPr>
          <p:nvPr/>
        </p:nvSpPr>
        <p:spPr>
          <a:xfrm>
            <a:off x="8215441" y="2478189"/>
            <a:ext cx="3200439" cy="3492466"/>
          </a:xfrm>
          <a:prstGeom prst="rect">
            <a:avLst/>
          </a:prstGeom>
          <a:noFill/>
          <a:ln>
            <a:noFill/>
          </a:ln>
        </p:spPr>
        <p:txBody>
          <a:bodyPr spcFirstLastPara="1" wrap="square" lIns="0" tIns="0" rIns="0" bIns="0" anchor="t" anchorCtr="0">
            <a:noAutofit/>
          </a:bodyPr>
          <a:lstStyle/>
          <a:p>
            <a:pPr defTabSz="829549">
              <a:lnSpc>
                <a:spcPts val="1633"/>
              </a:lnSpc>
              <a:buClr>
                <a:srgbClr val="00B9FF"/>
              </a:buClr>
              <a:buSzPct val="100000"/>
            </a:pPr>
            <a:r>
              <a:rPr lang="en-US" sz="1452" dirty="0">
                <a:solidFill>
                  <a:srgbClr val="444444"/>
                </a:solidFill>
                <a:latin typeface="Calibri" panose="020F0502020204030204"/>
                <a:ea typeface="Calibri"/>
                <a:cs typeface="Calibri"/>
                <a:sym typeface="Calibri"/>
              </a:rPr>
              <a:t>The client benefited from Infomineo Data Analytics service on multiple fronts: </a:t>
            </a:r>
          </a:p>
          <a:p>
            <a:pPr defTabSz="829549">
              <a:lnSpc>
                <a:spcPts val="1633"/>
              </a:lnSpc>
              <a:buClr>
                <a:srgbClr val="00B9FF"/>
              </a:buClr>
              <a:buSzPct val="100000"/>
            </a:pPr>
            <a:endParaRPr lang="en-US" sz="1452" dirty="0">
              <a:solidFill>
                <a:srgbClr val="444444"/>
              </a:solidFill>
              <a:latin typeface="Calibri" panose="020F0502020204030204"/>
              <a:ea typeface="Calibri"/>
              <a:cs typeface="Calibri"/>
              <a:sym typeface="Calibri"/>
            </a:endParaRPr>
          </a:p>
          <a:p>
            <a:pPr marL="259233" lvl="3" indent="-259233" defTabSz="829549">
              <a:lnSpc>
                <a:spcPts val="1814"/>
              </a:lnSpc>
              <a:buClr>
                <a:srgbClr val="00B9FF"/>
              </a:buClr>
              <a:buSzPct val="100000"/>
              <a:buFont typeface="Wingdings" panose="05000000000000000000" pitchFamily="2" charset="2"/>
              <a:buChar char="§"/>
            </a:pPr>
            <a:r>
              <a:rPr lang="en-US" sz="1452" b="1" dirty="0">
                <a:solidFill>
                  <a:srgbClr val="00B9FF"/>
                </a:solidFill>
                <a:latin typeface="Calibri" panose="020F0502020204030204"/>
                <a:ea typeface="Calibri"/>
                <a:cs typeface="Calibri"/>
                <a:sym typeface="Calibri"/>
              </a:rPr>
              <a:t>Comprehensive KPI Insights</a:t>
            </a:r>
          </a:p>
          <a:p>
            <a:pPr defTabSz="829549">
              <a:lnSpc>
                <a:spcPts val="1633"/>
              </a:lnSpc>
              <a:buClr>
                <a:srgbClr val="00B9FF"/>
              </a:buClr>
              <a:buSzPct val="100000"/>
            </a:pPr>
            <a:r>
              <a:rPr lang="en-US" sz="1270" dirty="0">
                <a:latin typeface="Calibri" panose="020F0502020204030204"/>
                <a:ea typeface="Calibri"/>
                <a:cs typeface="Calibri"/>
                <a:sym typeface="Calibri"/>
              </a:rPr>
              <a:t>Delivered a report with averaged KPIs for each buffer zone (e.g., unemployment, educational background, and wages).</a:t>
            </a:r>
          </a:p>
          <a:p>
            <a:pPr marL="157614" indent="-157614" defTabSz="829549">
              <a:lnSpc>
                <a:spcPts val="1633"/>
              </a:lnSpc>
              <a:buClr>
                <a:srgbClr val="0F47F2"/>
              </a:buClr>
              <a:buSzPct val="100000"/>
              <a:buFont typeface="Wingdings" panose="05000000000000000000" pitchFamily="2" charset="2"/>
              <a:buChar char="§"/>
            </a:pPr>
            <a:endParaRPr lang="en-US" sz="1270" dirty="0">
              <a:latin typeface="Calibri" panose="020F0502020204030204"/>
              <a:ea typeface="Calibri"/>
              <a:cs typeface="Calibri"/>
              <a:sym typeface="Calibri"/>
            </a:endParaRPr>
          </a:p>
          <a:p>
            <a:pPr marL="259233" lvl="3" indent="-259233" defTabSz="829549">
              <a:lnSpc>
                <a:spcPts val="1814"/>
              </a:lnSpc>
              <a:buClr>
                <a:srgbClr val="00B9FF"/>
              </a:buClr>
              <a:buSzPct val="100000"/>
              <a:buFont typeface="Wingdings" panose="05000000000000000000" pitchFamily="2" charset="2"/>
              <a:buChar char="§"/>
            </a:pPr>
            <a:r>
              <a:rPr lang="en-US" sz="1452" b="1" dirty="0">
                <a:solidFill>
                  <a:srgbClr val="00B9FF"/>
                </a:solidFill>
                <a:latin typeface="Calibri" panose="020F0502020204030204"/>
                <a:ea typeface="Calibri"/>
                <a:cs typeface="Calibri"/>
                <a:sym typeface="Calibri"/>
              </a:rPr>
              <a:t>Seamless Data Exploration</a:t>
            </a:r>
          </a:p>
          <a:p>
            <a:pPr defTabSz="829549">
              <a:lnSpc>
                <a:spcPts val="1633"/>
              </a:lnSpc>
              <a:buClr>
                <a:srgbClr val="00B9FF"/>
              </a:buClr>
              <a:buSzPct val="100000"/>
            </a:pPr>
            <a:r>
              <a:rPr lang="en-US" sz="1270" dirty="0">
                <a:latin typeface="Calibri" panose="020F0502020204030204"/>
                <a:ea typeface="Calibri"/>
                <a:cs typeface="Calibri"/>
                <a:sym typeface="Calibri"/>
              </a:rPr>
              <a:t>Developed a user-friendly graphical interface that enables customized analyses. </a:t>
            </a:r>
          </a:p>
          <a:p>
            <a:pPr marL="157614" indent="-157614" defTabSz="829549">
              <a:lnSpc>
                <a:spcPts val="1633"/>
              </a:lnSpc>
              <a:buClr>
                <a:srgbClr val="0F47F2"/>
              </a:buClr>
              <a:buSzPct val="100000"/>
              <a:buFont typeface="Wingdings" panose="05000000000000000000" pitchFamily="2" charset="2"/>
              <a:buChar char="§"/>
            </a:pPr>
            <a:endParaRPr lang="en-US" sz="1452" b="1" dirty="0">
              <a:latin typeface="Calibri" panose="020F0502020204030204"/>
              <a:ea typeface="Calibri"/>
              <a:cs typeface="Calibri"/>
              <a:sym typeface="Calibri"/>
            </a:endParaRPr>
          </a:p>
          <a:p>
            <a:pPr marL="259233" lvl="3" indent="-259233" defTabSz="829549">
              <a:lnSpc>
                <a:spcPts val="1814"/>
              </a:lnSpc>
              <a:buClr>
                <a:srgbClr val="00B9FF"/>
              </a:buClr>
              <a:buSzPct val="100000"/>
              <a:buFont typeface="Wingdings" panose="05000000000000000000" pitchFamily="2" charset="2"/>
              <a:buChar char="§"/>
            </a:pPr>
            <a:r>
              <a:rPr lang="en-US" sz="1452" b="1" dirty="0">
                <a:solidFill>
                  <a:srgbClr val="00B9FF"/>
                </a:solidFill>
                <a:latin typeface="Calibri" panose="020F0502020204030204"/>
                <a:ea typeface="Calibri"/>
                <a:cs typeface="Calibri"/>
                <a:sym typeface="Calibri"/>
              </a:rPr>
              <a:t>Scalable Expansion Potential</a:t>
            </a:r>
          </a:p>
          <a:p>
            <a:pPr defTabSz="829549">
              <a:lnSpc>
                <a:spcPts val="1633"/>
              </a:lnSpc>
              <a:buClr>
                <a:srgbClr val="00B9FF"/>
              </a:buClr>
              <a:buSzPct val="100000"/>
            </a:pPr>
            <a:r>
              <a:rPr lang="en-US" sz="1270" dirty="0">
                <a:latin typeface="Calibri" panose="020F0502020204030204"/>
                <a:ea typeface="Calibri"/>
                <a:cs typeface="Calibri"/>
                <a:sym typeface="Calibri"/>
              </a:rPr>
              <a:t>The graphical interface could be expanded to cover additional European countries for future analysis.</a:t>
            </a:r>
          </a:p>
        </p:txBody>
      </p:sp>
      <p:sp>
        <p:nvSpPr>
          <p:cNvPr id="37" name="Google Shape;574;p30">
            <a:extLst>
              <a:ext uri="{FF2B5EF4-FFF2-40B4-BE49-F238E27FC236}">
                <a16:creationId xmlns:a16="http://schemas.microsoft.com/office/drawing/2014/main" id="{3DAFA8F1-CAF0-A738-1CA9-7CE2250663F9}"/>
              </a:ext>
            </a:extLst>
          </p:cNvPr>
          <p:cNvSpPr txBox="1">
            <a:spLocks/>
          </p:cNvSpPr>
          <p:nvPr/>
        </p:nvSpPr>
        <p:spPr>
          <a:xfrm>
            <a:off x="712572" y="3564658"/>
            <a:ext cx="3251460" cy="2345295"/>
          </a:xfrm>
          <a:prstGeom prst="rect">
            <a:avLst/>
          </a:prstGeom>
          <a:noFill/>
          <a:ln>
            <a:noFill/>
          </a:ln>
        </p:spPr>
        <p:txBody>
          <a:bodyPr spcFirstLastPara="1" wrap="square" lIns="0" tIns="0" rIns="0" bIns="0" anchor="t" anchorCtr="0">
            <a:noAutofit/>
          </a:bodyPr>
          <a:lstStyle/>
          <a:p>
            <a:pPr marL="248865" indent="-248865" defTabSz="829549">
              <a:buClr>
                <a:schemeClr val="accent1"/>
              </a:buClr>
              <a:buFont typeface="+mj-lt"/>
              <a:buAutoNum type="arabicPeriod"/>
            </a:pPr>
            <a:r>
              <a:rPr lang="en-US" sz="1270" dirty="0">
                <a:solidFill>
                  <a:srgbClr val="374151"/>
                </a:solidFill>
                <a:latin typeface="Calibri" panose="020F0502020204030204"/>
                <a:ea typeface="+mn-ea"/>
              </a:rPr>
              <a:t>Identifying the most relevant indicators and reliable data sources that will provide them with comprehensive insights.</a:t>
            </a:r>
          </a:p>
          <a:p>
            <a:pPr marL="248865" indent="-248865" defTabSz="829549">
              <a:buClr>
                <a:schemeClr val="accent1"/>
              </a:buClr>
              <a:buFont typeface="+mj-lt"/>
              <a:buAutoNum type="arabicPeriod"/>
            </a:pPr>
            <a:endParaRPr lang="en-US" sz="1270" dirty="0">
              <a:solidFill>
                <a:srgbClr val="374151"/>
              </a:solidFill>
              <a:latin typeface="Calibri" panose="020F0502020204030204"/>
              <a:ea typeface="+mn-ea"/>
            </a:endParaRPr>
          </a:p>
          <a:p>
            <a:pPr marL="248865" indent="-248865" defTabSz="829549">
              <a:buClr>
                <a:schemeClr val="accent1"/>
              </a:buClr>
              <a:buFont typeface="+mj-lt"/>
              <a:buAutoNum type="arabicPeriod"/>
            </a:pPr>
            <a:r>
              <a:rPr lang="en-US" sz="1270" dirty="0">
                <a:latin typeface="Calibri" panose="020F0502020204030204"/>
                <a:ea typeface="Calibri"/>
                <a:cs typeface="Calibri"/>
                <a:sym typeface="Calibri"/>
              </a:rPr>
              <a:t>Calculating the percentage area of each municipality and the estimated population within designated buffer zones based on specific geographic coordinates. </a:t>
            </a:r>
          </a:p>
          <a:p>
            <a:pPr marL="248865" indent="-248865" defTabSz="829549">
              <a:buClr>
                <a:schemeClr val="accent1"/>
              </a:buClr>
              <a:buFont typeface="+mj-lt"/>
              <a:buAutoNum type="arabicPeriod"/>
            </a:pPr>
            <a:endParaRPr lang="en-US" sz="1270" dirty="0">
              <a:latin typeface="Calibri" panose="020F0502020204030204"/>
              <a:ea typeface="Calibri"/>
              <a:cs typeface="Calibri"/>
              <a:sym typeface="Calibri"/>
            </a:endParaRPr>
          </a:p>
          <a:p>
            <a:pPr marL="248865" indent="-248865" defTabSz="829549">
              <a:buClr>
                <a:schemeClr val="accent1"/>
              </a:buClr>
              <a:buFont typeface="+mj-lt"/>
              <a:buAutoNum type="arabicPeriod"/>
            </a:pPr>
            <a:r>
              <a:rPr lang="en-US" sz="1270" dirty="0">
                <a:latin typeface="Calibri" panose="020F0502020204030204"/>
                <a:ea typeface="Calibri"/>
                <a:cs typeface="Calibri"/>
                <a:sym typeface="Calibri"/>
              </a:rPr>
              <a:t>Visualizing the collected data into a geospatial to identify patterns, hotspot areas with higher needs, and make data-driven decisions regarding the optimal placement of our unemployment centers </a:t>
            </a:r>
          </a:p>
        </p:txBody>
      </p:sp>
      <p:sp>
        <p:nvSpPr>
          <p:cNvPr id="15" name="TextBox 14">
            <a:extLst>
              <a:ext uri="{FF2B5EF4-FFF2-40B4-BE49-F238E27FC236}">
                <a16:creationId xmlns:a16="http://schemas.microsoft.com/office/drawing/2014/main" id="{CA83556E-610A-3C17-BC93-8075A7655F0B}"/>
              </a:ext>
            </a:extLst>
          </p:cNvPr>
          <p:cNvSpPr txBox="1"/>
          <p:nvPr/>
        </p:nvSpPr>
        <p:spPr>
          <a:xfrm>
            <a:off x="4334474" y="2420799"/>
            <a:ext cx="3474320" cy="3875485"/>
          </a:xfrm>
          <a:prstGeom prst="rect">
            <a:avLst/>
          </a:prstGeom>
          <a:noFill/>
        </p:spPr>
        <p:txBody>
          <a:bodyPr wrap="square">
            <a:spAutoFit/>
          </a:bodyPr>
          <a:lstStyle/>
          <a:p>
            <a:pPr defTabSz="829549">
              <a:buClr>
                <a:srgbClr val="00B9FF"/>
              </a:buClr>
            </a:pPr>
            <a:r>
              <a:rPr lang="en-US" sz="1452" dirty="0">
                <a:solidFill>
                  <a:srgbClr val="444444"/>
                </a:solidFill>
                <a:latin typeface="Calibri" panose="020F0502020204030204"/>
                <a:ea typeface="Calibri"/>
                <a:cs typeface="Calibri"/>
                <a:sym typeface="Calibri"/>
              </a:rPr>
              <a:t>Infomineo’ s Data Analytics team addressed the client’s need by:</a:t>
            </a:r>
          </a:p>
          <a:p>
            <a:pPr defTabSz="829549">
              <a:spcBef>
                <a:spcPts val="544"/>
              </a:spcBef>
              <a:buClr>
                <a:srgbClr val="00B9FF"/>
              </a:buClr>
            </a:pPr>
            <a:r>
              <a:rPr lang="en-US" sz="1452" b="1" dirty="0">
                <a:latin typeface="Calibri" panose="020F0502020204030204"/>
                <a:ea typeface="+mn-ea"/>
              </a:rPr>
              <a:t>Indicator Identification</a:t>
            </a:r>
            <a:endParaRPr lang="en-US" sz="1452" dirty="0">
              <a:latin typeface="Calibri" panose="020F0502020204030204"/>
              <a:ea typeface="+mn-ea"/>
            </a:endParaRPr>
          </a:p>
          <a:p>
            <a:pPr defTabSz="829549">
              <a:buClr>
                <a:srgbClr val="00B9FF"/>
              </a:buClr>
            </a:pPr>
            <a:r>
              <a:rPr lang="en-US" sz="1270" dirty="0">
                <a:solidFill>
                  <a:srgbClr val="374151"/>
                </a:solidFill>
                <a:latin typeface="Calibri" panose="020F0502020204030204"/>
                <a:ea typeface="+mn-ea"/>
              </a:rPr>
              <a:t>Selecting relevant criteria such as population statistics, socio-economic factors, and geographic boundaries.</a:t>
            </a:r>
          </a:p>
          <a:p>
            <a:pPr defTabSz="829549">
              <a:spcBef>
                <a:spcPts val="544"/>
              </a:spcBef>
              <a:buClr>
                <a:srgbClr val="00B9FF"/>
              </a:buClr>
            </a:pPr>
            <a:r>
              <a:rPr lang="en-US" sz="1452" b="1" dirty="0">
                <a:latin typeface="Calibri" panose="020F0502020204030204"/>
                <a:ea typeface="+mn-ea"/>
              </a:rPr>
              <a:t>Modelling</a:t>
            </a:r>
          </a:p>
          <a:p>
            <a:pPr marL="311081" lvl="2" indent="-311081" defTabSz="829549">
              <a:spcBef>
                <a:spcPts val="544"/>
              </a:spcBef>
              <a:buClrTx/>
              <a:buFont typeface="+mj-lt"/>
              <a:buAutoNum type="arabicPeriod"/>
            </a:pPr>
            <a:r>
              <a:rPr lang="en-US" sz="1270" dirty="0">
                <a:solidFill>
                  <a:srgbClr val="374151"/>
                </a:solidFill>
                <a:latin typeface="Calibri" panose="020F0502020204030204"/>
                <a:ea typeface="+mn-ea"/>
              </a:rPr>
              <a:t>Calculation of the percentage area of each municipality within designated buffer zones based geographic coordinates. </a:t>
            </a:r>
          </a:p>
          <a:p>
            <a:pPr marL="311081" lvl="2" indent="-311081" defTabSz="829549">
              <a:spcBef>
                <a:spcPts val="544"/>
              </a:spcBef>
              <a:buClrTx/>
              <a:buFont typeface="+mj-lt"/>
              <a:buAutoNum type="arabicPeriod"/>
            </a:pPr>
            <a:r>
              <a:rPr lang="en-US" sz="1270" dirty="0">
                <a:solidFill>
                  <a:srgbClr val="374151"/>
                </a:solidFill>
                <a:latin typeface="Calibri" panose="020F0502020204030204"/>
                <a:ea typeface="+mn-ea"/>
              </a:rPr>
              <a:t>Development of an algorithm that accounted for a homogeneous distribution of the population.</a:t>
            </a:r>
          </a:p>
          <a:p>
            <a:pPr defTabSz="829549">
              <a:spcBef>
                <a:spcPts val="544"/>
              </a:spcBef>
              <a:buClr>
                <a:srgbClr val="00B9FF"/>
              </a:buClr>
            </a:pPr>
            <a:r>
              <a:rPr lang="en-US" sz="1452" b="1" dirty="0">
                <a:latin typeface="Calibri" panose="020F0502020204030204"/>
                <a:ea typeface="+mn-ea"/>
              </a:rPr>
              <a:t>Geocoding &amp; Visualization</a:t>
            </a:r>
          </a:p>
          <a:p>
            <a:pPr defTabSz="829549">
              <a:buClr>
                <a:srgbClr val="00B9FF"/>
              </a:buClr>
            </a:pPr>
            <a:r>
              <a:rPr lang="en-US" sz="1270" dirty="0">
                <a:solidFill>
                  <a:srgbClr val="374151"/>
                </a:solidFill>
                <a:latin typeface="Calibri" panose="020F0502020204030204"/>
                <a:ea typeface="+mn-ea"/>
              </a:rPr>
              <a:t>Use of geocoding techniques to transform location data into precise geographical coordinates. </a:t>
            </a:r>
          </a:p>
        </p:txBody>
      </p:sp>
      <p:sp>
        <p:nvSpPr>
          <p:cNvPr id="22" name="TextBox 21">
            <a:extLst>
              <a:ext uri="{FF2B5EF4-FFF2-40B4-BE49-F238E27FC236}">
                <a16:creationId xmlns:a16="http://schemas.microsoft.com/office/drawing/2014/main" id="{E039BA2E-7086-C3FB-6014-E1E058F2ED37}"/>
              </a:ext>
            </a:extLst>
          </p:cNvPr>
          <p:cNvSpPr txBox="1"/>
          <p:nvPr/>
        </p:nvSpPr>
        <p:spPr>
          <a:xfrm>
            <a:off x="621594" y="2452820"/>
            <a:ext cx="3542884" cy="1069524"/>
          </a:xfrm>
          <a:prstGeom prst="rect">
            <a:avLst/>
          </a:prstGeom>
          <a:noFill/>
        </p:spPr>
        <p:txBody>
          <a:bodyPr wrap="square">
            <a:spAutoFit/>
          </a:bodyPr>
          <a:lstStyle/>
          <a:p>
            <a:pPr defTabSz="829549"/>
            <a:r>
              <a:rPr lang="en-US" sz="1270" dirty="0">
                <a:latin typeface="Calibri" panose="020F0502020204030204"/>
                <a:ea typeface="+mn-ea"/>
              </a:rPr>
              <a:t>The client needed to identify optimal locations for unemployment centers and accurately assessing the population in need and its characteristics.</a:t>
            </a:r>
          </a:p>
          <a:p>
            <a:pPr defTabSz="829549"/>
            <a:endParaRPr lang="en-US" sz="1270" dirty="0">
              <a:latin typeface="Calibri" panose="020F0502020204030204"/>
              <a:ea typeface="+mn-ea"/>
            </a:endParaRPr>
          </a:p>
          <a:p>
            <a:pPr defTabSz="829549"/>
            <a:r>
              <a:rPr lang="en-US" sz="1270" dirty="0">
                <a:latin typeface="Calibri" panose="020F0502020204030204"/>
                <a:ea typeface="+mn-ea"/>
              </a:rPr>
              <a:t>The firm was looking for : </a:t>
            </a:r>
          </a:p>
        </p:txBody>
      </p:sp>
    </p:spTree>
    <p:extLst>
      <p:ext uri="{BB962C8B-B14F-4D97-AF65-F5344CB8AC3E}">
        <p14:creationId xmlns:p14="http://schemas.microsoft.com/office/powerpoint/2010/main" val="21666932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897BCE-14ED-1B6A-033C-C9FB90316777}"/>
              </a:ext>
            </a:extLst>
          </p:cNvPr>
          <p:cNvGraphicFramePr>
            <a:graphicFrameLocks noChangeAspect="1"/>
          </p:cNvGraphicFramePr>
          <p:nvPr>
            <p:custDataLst>
              <p:tags r:id="rId1"/>
            </p:custDataLst>
            <p:extLst>
              <p:ext uri="{D42A27DB-BD31-4B8C-83A1-F6EECF244321}">
                <p14:modId xmlns:p14="http://schemas.microsoft.com/office/powerpoint/2010/main" val="167160810"/>
              </p:ext>
            </p:extLst>
          </p:nvPr>
        </p:nvGraphicFramePr>
        <p:xfrm>
          <a:off x="1601" y="1622"/>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54897BCE-14ED-1B6A-033C-C9FB90316777}"/>
                          </a:ext>
                        </a:extLst>
                      </p:cNvPr>
                      <p:cNvPicPr/>
                      <p:nvPr/>
                    </p:nvPicPr>
                    <p:blipFill>
                      <a:blip r:embed="rId4"/>
                      <a:stretch>
                        <a:fillRect/>
                      </a:stretch>
                    </p:blipFill>
                    <p:spPr>
                      <a:xfrm>
                        <a:off x="1601" y="1622"/>
                        <a:ext cx="1441" cy="1441"/>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F842A9F8-55E4-BB28-EC78-56CEB8BFD4DB}"/>
              </a:ext>
            </a:extLst>
          </p:cNvPr>
          <p:cNvPicPr preferRelativeResize="0">
            <a:picLocks/>
          </p:cNvPicPr>
          <p:nvPr/>
        </p:nvPicPr>
        <p:blipFill>
          <a:blip r:embed="rId5"/>
          <a:stretch>
            <a:fillRect/>
          </a:stretch>
        </p:blipFill>
        <p:spPr>
          <a:xfrm>
            <a:off x="6705585" y="2166602"/>
            <a:ext cx="4508155" cy="373267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19" name="Group 18">
            <a:extLst>
              <a:ext uri="{FF2B5EF4-FFF2-40B4-BE49-F238E27FC236}">
                <a16:creationId xmlns:a16="http://schemas.microsoft.com/office/drawing/2014/main" id="{27EAAA40-79B3-2C9D-FA74-0AE0E793AD04}"/>
              </a:ext>
            </a:extLst>
          </p:cNvPr>
          <p:cNvGrpSpPr>
            <a:grpSpLocks/>
          </p:cNvGrpSpPr>
          <p:nvPr/>
        </p:nvGrpSpPr>
        <p:grpSpPr>
          <a:xfrm>
            <a:off x="10787862" y="1829363"/>
            <a:ext cx="703178" cy="703178"/>
            <a:chOff x="803725" y="5176815"/>
            <a:chExt cx="503992" cy="503992"/>
          </a:xfrm>
        </p:grpSpPr>
        <p:sp>
          <p:nvSpPr>
            <p:cNvPr id="17" name="Google Shape;557;p30">
              <a:extLst>
                <a:ext uri="{FF2B5EF4-FFF2-40B4-BE49-F238E27FC236}">
                  <a16:creationId xmlns:a16="http://schemas.microsoft.com/office/drawing/2014/main" id="{7F98F1BF-71FC-BAD4-C84C-63DC9F86450F}"/>
                </a:ext>
              </a:extLst>
            </p:cNvPr>
            <p:cNvSpPr/>
            <p:nvPr/>
          </p:nvSpPr>
          <p:spPr>
            <a:xfrm>
              <a:off x="803725" y="5176815"/>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endParaRPr sz="1452" dirty="0">
                <a:solidFill>
                  <a:srgbClr val="FFFFFF"/>
                </a:solidFill>
                <a:latin typeface="Calibri" panose="020F0502020204030204"/>
                <a:ea typeface="Calibri"/>
                <a:cs typeface="Calibri"/>
                <a:sym typeface="Calibri"/>
              </a:endParaRPr>
            </a:p>
          </p:txBody>
        </p:sp>
        <p:pic>
          <p:nvPicPr>
            <p:cNvPr id="18" name="Graphic 17">
              <a:extLst>
                <a:ext uri="{FF2B5EF4-FFF2-40B4-BE49-F238E27FC236}">
                  <a16:creationId xmlns:a16="http://schemas.microsoft.com/office/drawing/2014/main" id="{9C643D3A-401F-4836-719A-B2DB77A0F8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4187" y="5259959"/>
              <a:ext cx="303068" cy="337705"/>
            </a:xfrm>
            <a:prstGeom prst="rect">
              <a:avLst/>
            </a:prstGeom>
          </p:spPr>
        </p:pic>
      </p:grpSp>
      <p:sp>
        <p:nvSpPr>
          <p:cNvPr id="8" name="Google Shape;831;p25">
            <a:extLst>
              <a:ext uri="{FF2B5EF4-FFF2-40B4-BE49-F238E27FC236}">
                <a16:creationId xmlns:a16="http://schemas.microsoft.com/office/drawing/2014/main" id="{EBCA1D99-A0B8-1FB3-6D1B-DDEED9A6ADC7}"/>
              </a:ext>
            </a:extLst>
          </p:cNvPr>
          <p:cNvSpPr>
            <a:spLocks/>
          </p:cNvSpPr>
          <p:nvPr/>
        </p:nvSpPr>
        <p:spPr>
          <a:xfrm>
            <a:off x="444729" y="1945367"/>
            <a:ext cx="5391138" cy="4748620"/>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lang="en-US" sz="1270" dirty="0">
              <a:ea typeface="+mn-ea"/>
            </a:endParaRPr>
          </a:p>
        </p:txBody>
      </p:sp>
      <p:sp>
        <p:nvSpPr>
          <p:cNvPr id="7" name="Title 6">
            <a:extLst>
              <a:ext uri="{FF2B5EF4-FFF2-40B4-BE49-F238E27FC236}">
                <a16:creationId xmlns:a16="http://schemas.microsoft.com/office/drawing/2014/main" id="{335220E9-E185-4F64-7AFF-A5004A0078A9}"/>
              </a:ext>
            </a:extLst>
          </p:cNvPr>
          <p:cNvSpPr>
            <a:spLocks noGrp="1"/>
          </p:cNvSpPr>
          <p:nvPr>
            <p:ph type="title"/>
          </p:nvPr>
        </p:nvSpPr>
        <p:spPr>
          <a:xfrm>
            <a:off x="531960" y="560740"/>
            <a:ext cx="11089681" cy="830997"/>
          </a:xfrm>
        </p:spPr>
        <p:txBody>
          <a:bodyPr vert="horz"/>
          <a:lstStyle/>
          <a:p>
            <a:r>
              <a:rPr lang="en-US" sz="3000" kern="1200" dirty="0">
                <a:solidFill>
                  <a:schemeClr val="bg2"/>
                </a:solidFill>
                <a:latin typeface="Franklin Gothic" panose="020B0604020202020204" charset="0"/>
                <a:ea typeface="+mj-ea"/>
                <a:cs typeface="Calibri" panose="020F0502020204030204" pitchFamily="34" charset="0"/>
              </a:rPr>
              <a:t>Geospatial Analysis of Labor Catchment: </a:t>
            </a:r>
            <a:br>
              <a:rPr lang="en-US" sz="3000" kern="1200" dirty="0">
                <a:solidFill>
                  <a:schemeClr val="bg2"/>
                </a:solidFill>
                <a:latin typeface="Franklin Gothic" panose="020B0604020202020204" charset="0"/>
                <a:ea typeface="+mj-ea"/>
                <a:cs typeface="Calibri" panose="020F0502020204030204" pitchFamily="34" charset="0"/>
              </a:rPr>
            </a:br>
            <a:r>
              <a:rPr lang="en-US" sz="3000" kern="1200" dirty="0">
                <a:solidFill>
                  <a:schemeClr val="bg2"/>
                </a:solidFill>
                <a:latin typeface="Franklin Gothic" panose="020B0604020202020204" charset="0"/>
                <a:ea typeface="+mj-ea"/>
                <a:cs typeface="Calibri" panose="020F0502020204030204" pitchFamily="34" charset="0"/>
              </a:rPr>
              <a:t>Assessing Employment and Demographic Patterns</a:t>
            </a:r>
          </a:p>
        </p:txBody>
      </p:sp>
      <p:sp>
        <p:nvSpPr>
          <p:cNvPr id="4" name="TextBox 3">
            <a:extLst>
              <a:ext uri="{FF2B5EF4-FFF2-40B4-BE49-F238E27FC236}">
                <a16:creationId xmlns:a16="http://schemas.microsoft.com/office/drawing/2014/main" id="{A99FB528-C289-D77E-367D-2A0552058CFE}"/>
              </a:ext>
            </a:extLst>
          </p:cNvPr>
          <p:cNvSpPr txBox="1"/>
          <p:nvPr/>
        </p:nvSpPr>
        <p:spPr>
          <a:xfrm>
            <a:off x="588508" y="2597380"/>
            <a:ext cx="5047420" cy="3770263"/>
          </a:xfrm>
          <a:prstGeom prst="rect">
            <a:avLst/>
          </a:prstGeom>
          <a:noFill/>
        </p:spPr>
        <p:txBody>
          <a:bodyPr wrap="square">
            <a:spAutoFit/>
          </a:bodyPr>
          <a:lstStyle/>
          <a:p>
            <a:pPr marL="285752" indent="-285752" defTabSz="829549">
              <a:buClr>
                <a:srgbClr val="00B9FF"/>
              </a:buClr>
              <a:buFont typeface="Wingdings" panose="05000000000000000000" pitchFamily="2" charset="2"/>
              <a:buChar char="§"/>
            </a:pPr>
            <a:r>
              <a:rPr lang="en-US" sz="1600" b="1" dirty="0">
                <a:latin typeface="Calibri" panose="020F0502020204030204"/>
                <a:ea typeface="+mn-ea"/>
              </a:rPr>
              <a:t>Extensive municipal data acquisition: </a:t>
            </a:r>
            <a:r>
              <a:rPr lang="en-US" sz="1600" dirty="0">
                <a:latin typeface="Calibri" panose="020F0502020204030204"/>
                <a:ea typeface="+mn-ea"/>
              </a:rPr>
              <a:t>Gather comprehensive data on municipality boundaries and population statistics.</a:t>
            </a:r>
          </a:p>
          <a:p>
            <a:pPr marL="285752" indent="-285752" defTabSz="829549">
              <a:spcBef>
                <a:spcPts val="600"/>
              </a:spcBef>
              <a:buClr>
                <a:srgbClr val="00B9FF"/>
              </a:buClr>
              <a:buFont typeface="Wingdings" panose="05000000000000000000" pitchFamily="2" charset="2"/>
              <a:buChar char="§"/>
            </a:pPr>
            <a:r>
              <a:rPr lang="en-US" sz="1600" b="1" dirty="0">
                <a:latin typeface="Calibri" panose="020F0502020204030204"/>
                <a:ea typeface="+mn-ea"/>
              </a:rPr>
              <a:t>Relevant Data Compilation</a:t>
            </a:r>
            <a:r>
              <a:rPr lang="en-US" sz="1600" dirty="0">
                <a:latin typeface="Calibri" panose="020F0502020204030204"/>
                <a:ea typeface="+mn-ea"/>
              </a:rPr>
              <a:t>: Compile additional data on unemployment rates, poverty levels, education background, and regional wages.</a:t>
            </a:r>
          </a:p>
          <a:p>
            <a:pPr marL="285752" indent="-285752" defTabSz="829549">
              <a:spcBef>
                <a:spcPts val="600"/>
              </a:spcBef>
              <a:buClr>
                <a:srgbClr val="00B9FF"/>
              </a:buClr>
              <a:buFont typeface="Wingdings" panose="05000000000000000000" pitchFamily="2" charset="2"/>
              <a:buChar char="§"/>
            </a:pPr>
            <a:r>
              <a:rPr lang="en-US" sz="1600" b="1" dirty="0">
                <a:latin typeface="Calibri" panose="020F0502020204030204"/>
                <a:ea typeface="+mn-ea"/>
              </a:rPr>
              <a:t>User-Friendly Interface</a:t>
            </a:r>
            <a:r>
              <a:rPr lang="en-US" sz="1600" dirty="0">
                <a:latin typeface="Calibri" panose="020F0502020204030204"/>
                <a:ea typeface="+mn-ea"/>
              </a:rPr>
              <a:t>: Develop a user-friendly interface for easy excel report requests and uploads. Users can efficiently extract relevant data by inputting specific locations or batches of coordinates for buffer zones.</a:t>
            </a:r>
          </a:p>
          <a:p>
            <a:pPr marL="285752" indent="-285752" defTabSz="829549">
              <a:spcBef>
                <a:spcPts val="600"/>
              </a:spcBef>
              <a:buClr>
                <a:srgbClr val="00B9FF"/>
              </a:buClr>
              <a:buFont typeface="Wingdings" panose="05000000000000000000" pitchFamily="2" charset="2"/>
              <a:buChar char="§"/>
            </a:pPr>
            <a:r>
              <a:rPr lang="en-US" sz="1600" b="1" dirty="0">
                <a:latin typeface="Calibri" panose="020F0502020204030204"/>
                <a:ea typeface="+mn-ea"/>
              </a:rPr>
              <a:t>Interactive Mapping</a:t>
            </a:r>
            <a:r>
              <a:rPr lang="en-US" sz="1600" dirty="0">
                <a:latin typeface="Calibri" panose="020F0502020204030204"/>
                <a:ea typeface="+mn-ea"/>
              </a:rPr>
              <a:t>:  Create an interactive map that provides a visually immersive exploration of the collected data. </a:t>
            </a:r>
          </a:p>
        </p:txBody>
      </p:sp>
      <p:sp>
        <p:nvSpPr>
          <p:cNvPr id="6" name="Google Shape;545;p30">
            <a:extLst>
              <a:ext uri="{FF2B5EF4-FFF2-40B4-BE49-F238E27FC236}">
                <a16:creationId xmlns:a16="http://schemas.microsoft.com/office/drawing/2014/main" id="{AB29E1ED-7EE6-123D-AFA8-72F10C0C173A}"/>
              </a:ext>
            </a:extLst>
          </p:cNvPr>
          <p:cNvSpPr>
            <a:spLocks/>
          </p:cNvSpPr>
          <p:nvPr/>
        </p:nvSpPr>
        <p:spPr>
          <a:xfrm>
            <a:off x="416651" y="1815688"/>
            <a:ext cx="5391138" cy="71685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buClrTx/>
            </a:pPr>
            <a:r>
              <a:rPr lang="en-US" sz="1800" b="1" kern="1200" dirty="0">
                <a:solidFill>
                  <a:srgbClr val="FFFFFF"/>
                </a:solidFill>
                <a:latin typeface="Calibri" panose="020F0502020204030204" pitchFamily="34" charset="0"/>
                <a:cs typeface="Calibri" panose="020F0502020204030204" pitchFamily="34" charset="0"/>
              </a:rPr>
              <a:t>Infomineo Approach</a:t>
            </a:r>
          </a:p>
        </p:txBody>
      </p:sp>
    </p:spTree>
    <p:extLst>
      <p:ext uri="{BB962C8B-B14F-4D97-AF65-F5344CB8AC3E}">
        <p14:creationId xmlns:p14="http://schemas.microsoft.com/office/powerpoint/2010/main" val="2815035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632"/>
        <p:cNvGrpSpPr/>
        <p:nvPr/>
      </p:nvGrpSpPr>
      <p:grpSpPr>
        <a:xfrm>
          <a:off x="0" y="0"/>
          <a:ext cx="0" cy="0"/>
          <a:chOff x="0" y="0"/>
          <a:chExt cx="0" cy="0"/>
        </a:xfrm>
      </p:grpSpPr>
      <p:sp>
        <p:nvSpPr>
          <p:cNvPr id="1633" name="Google Shape;1633;p78"/>
          <p:cNvSpPr txBox="1">
            <a:spLocks noGrp="1"/>
          </p:cNvSpPr>
          <p:nvPr>
            <p:ph type="title"/>
          </p:nvPr>
        </p:nvSpPr>
        <p:spPr>
          <a:xfrm>
            <a:off x="992390" y="4396228"/>
            <a:ext cx="6785798" cy="830997"/>
          </a:xfrm>
          <a:prstGeom prst="rect">
            <a:avLst/>
          </a:prstGeom>
          <a:noFill/>
          <a:ln>
            <a:noFill/>
          </a:ln>
          <a:effectLst>
            <a:outerShdw blurRad="190500" algn="tl" rotWithShape="0">
              <a:srgbClr val="000000">
                <a:alpha val="27058"/>
              </a:srgbClr>
            </a:outerShdw>
          </a:effectLst>
        </p:spPr>
        <p:txBody>
          <a:bodyPr spcFirstLastPara="1" wrap="square" lIns="0" tIns="0" rIns="0" bIns="0" anchor="ctr" anchorCtr="0">
            <a:spAutoFit/>
          </a:bodyPr>
          <a:lstStyle/>
          <a:p>
            <a:pPr marL="0" lvl="0" indent="0" algn="l" rtl="0">
              <a:lnSpc>
                <a:spcPct val="90000"/>
              </a:lnSpc>
              <a:spcBef>
                <a:spcPts val="0"/>
              </a:spcBef>
              <a:spcAft>
                <a:spcPts val="0"/>
              </a:spcAft>
              <a:buSzPts val="6000"/>
              <a:buNone/>
            </a:pPr>
            <a:r>
              <a:rPr lang="en-US"/>
              <a:t>Working with Infomineo</a:t>
            </a:r>
            <a:endParaRPr/>
          </a:p>
        </p:txBody>
      </p:sp>
      <p:sp>
        <p:nvSpPr>
          <p:cNvPr id="1634" name="Google Shape;1634;p7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25</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322731B-D3A8-456B-B394-4A9A77F50CAD}"/>
              </a:ext>
            </a:extLst>
          </p:cNvPr>
          <p:cNvGraphicFramePr>
            <a:graphicFrameLocks noChangeAspect="1"/>
          </p:cNvGraphicFramePr>
          <p:nvPr>
            <p:custDataLst>
              <p:tags r:id="rId1"/>
            </p:custDataLst>
            <p:extLst>
              <p:ext uri="{D42A27DB-BD31-4B8C-83A1-F6EECF244321}">
                <p14:modId xmlns:p14="http://schemas.microsoft.com/office/powerpoint/2010/main" val="78045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Object 18" hidden="1">
                        <a:extLst>
                          <a:ext uri="{FF2B5EF4-FFF2-40B4-BE49-F238E27FC236}">
                            <a16:creationId xmlns:a16="http://schemas.microsoft.com/office/drawing/2014/main" id="{D322731B-D3A8-456B-B394-4A9A77F50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508A584D-D69E-4AD3-A59C-7011CF8915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32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Calibri" panose="020F0502020204030204" pitchFamily="34" charset="0"/>
              <a:sym typeface="Franklin Gothic Demi" panose="020B0703020102020204" pitchFamily="34" charset="0"/>
            </a:endParaRPr>
          </a:p>
        </p:txBody>
      </p:sp>
      <p:sp>
        <p:nvSpPr>
          <p:cNvPr id="18" name="Title 17">
            <a:extLst>
              <a:ext uri="{FF2B5EF4-FFF2-40B4-BE49-F238E27FC236}">
                <a16:creationId xmlns:a16="http://schemas.microsoft.com/office/drawing/2014/main" id="{388EDEF1-5BC5-4F73-88C0-F4095016BA9B}"/>
              </a:ext>
            </a:extLst>
          </p:cNvPr>
          <p:cNvSpPr>
            <a:spLocks noGrp="1"/>
          </p:cNvSpPr>
          <p:nvPr>
            <p:ph type="title"/>
          </p:nvPr>
        </p:nvSpPr>
        <p:spPr>
          <a:xfrm>
            <a:off x="376385" y="3041202"/>
            <a:ext cx="3023598" cy="830997"/>
          </a:xfrm>
        </p:spPr>
        <p:txBody>
          <a:bodyPr vert="horz"/>
          <a:lstStyle/>
          <a:p>
            <a:r>
              <a:rPr lang="en-IN" sz="3000" kern="1200" dirty="0">
                <a:solidFill>
                  <a:schemeClr val="bg1"/>
                </a:solidFill>
                <a:latin typeface="Franklin Gothic" panose="020B0604020202020204" charset="0"/>
                <a:ea typeface="+mj-ea"/>
                <a:cs typeface="Calibri" panose="020F0502020204030204" pitchFamily="34" charset="0"/>
                <a:sym typeface="Open Sans"/>
              </a:rPr>
              <a:t>Working with Infomineo</a:t>
            </a:r>
            <a:r>
              <a:rPr lang="en-IN" sz="3000" b="1" dirty="0">
                <a:solidFill>
                  <a:schemeClr val="bg1"/>
                </a:solidFill>
                <a:latin typeface="Franklin Gothic" panose="020B0604020202020204" charset="0"/>
              </a:rPr>
              <a:t>….</a:t>
            </a:r>
          </a:p>
        </p:txBody>
      </p:sp>
      <p:sp>
        <p:nvSpPr>
          <p:cNvPr id="77" name="Lorem Ipsum is simply dummy text of the printing and typesetting industry.">
            <a:extLst>
              <a:ext uri="{FF2B5EF4-FFF2-40B4-BE49-F238E27FC236}">
                <a16:creationId xmlns:a16="http://schemas.microsoft.com/office/drawing/2014/main" id="{1B6DA92A-18CF-4264-8405-84B32D2EFEAB}"/>
              </a:ext>
            </a:extLst>
          </p:cNvPr>
          <p:cNvSpPr>
            <a:spLocks/>
          </p:cNvSpPr>
          <p:nvPr/>
        </p:nvSpPr>
        <p:spPr>
          <a:xfrm>
            <a:off x="4555834" y="517278"/>
            <a:ext cx="7051447" cy="83099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solidFill>
            <a:schemeClr val="bg2"/>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spAutoFit/>
          </a:bodyPr>
          <a:lstStyle>
            <a:lvl1pPr algn="l">
              <a:defRPr sz="2500" b="0">
                <a:solidFill>
                  <a:srgbClr val="9FA09E"/>
                </a:solidFill>
                <a:latin typeface="Barlow Medium"/>
                <a:ea typeface="Barlow Medium"/>
                <a:cs typeface="Barlow Medium"/>
                <a:sym typeface="Barlow Medium"/>
              </a:defRPr>
            </a:lvl1pPr>
          </a:lstStyle>
          <a:p>
            <a:pPr marL="0" marR="0" lvl="0" indent="0" algn="ctr" defTabSz="914400" rtl="0" eaLnBrk="1" fontAlgn="auto" latinLnBrk="0" hangingPunct="1">
              <a:lnSpc>
                <a:spcPct val="90000"/>
              </a:lnSpc>
              <a:spcBef>
                <a:spcPts val="0"/>
              </a:spcBef>
              <a:spcAft>
                <a:spcPts val="0"/>
              </a:spcAft>
              <a:buClr>
                <a:srgbClr val="0F47F2"/>
              </a:buClr>
              <a:buSzPts val="3200"/>
              <a:buFontTx/>
              <a:buNone/>
              <a:tabLst/>
              <a:defRPr/>
            </a:pPr>
            <a:r>
              <a:rPr kumimoji="0" lang="en-US" sz="3000" b="0" i="0" u="none" strike="noStrike" kern="1200" cap="none" spc="0" normalizeH="0" baseline="0" noProof="0" dirty="0">
                <a:ln>
                  <a:noFill/>
                </a:ln>
                <a:solidFill>
                  <a:srgbClr val="0F47F2"/>
                </a:solidFill>
                <a:effectLst/>
                <a:uLnTx/>
                <a:uFillTx/>
                <a:latin typeface="Franklin Gothic" panose="020B0604020202020204" charset="0"/>
                <a:ea typeface="+mj-ea"/>
                <a:cs typeface="Calibri" panose="020F0502020204030204" pitchFamily="34" charset="0"/>
                <a:sym typeface="Franklin Gothic"/>
              </a:rPr>
              <a:t>For </a:t>
            </a:r>
            <a:r>
              <a:rPr kumimoji="0" lang="en-US" sz="3000" b="0" i="0" u="sng" strike="noStrike" kern="1200" cap="none" spc="0" normalizeH="0" baseline="0" noProof="0" dirty="0">
                <a:ln>
                  <a:noFill/>
                </a:ln>
                <a:solidFill>
                  <a:srgbClr val="0F47F2"/>
                </a:solidFill>
                <a:effectLst/>
                <a:uLnTx/>
                <a:uFillTx/>
                <a:latin typeface="Franklin Gothic" panose="020B0604020202020204" charset="0"/>
                <a:ea typeface="+mj-ea"/>
                <a:cs typeface="Calibri" panose="020F0502020204030204" pitchFamily="34" charset="0"/>
                <a:sym typeface="Franklin Gothic"/>
              </a:rPr>
              <a:t>Data Analytics support</a:t>
            </a:r>
            <a:r>
              <a:rPr kumimoji="0" lang="en-US" sz="3000" b="0" i="0" u="none" strike="noStrike" kern="1200" cap="none" spc="0" normalizeH="0" baseline="0" noProof="0" dirty="0">
                <a:ln>
                  <a:noFill/>
                </a:ln>
                <a:solidFill>
                  <a:srgbClr val="0F47F2"/>
                </a:solidFill>
                <a:effectLst/>
                <a:uLnTx/>
                <a:uFillTx/>
                <a:latin typeface="Franklin Gothic" panose="020B0604020202020204" charset="0"/>
                <a:ea typeface="+mj-ea"/>
                <a:cs typeface="Calibri" panose="020F0502020204030204" pitchFamily="34" charset="0"/>
                <a:sym typeface="Franklin Gothic"/>
              </a:rPr>
              <a:t>, feel free to reach out to…</a:t>
            </a:r>
          </a:p>
        </p:txBody>
      </p:sp>
      <p:sp>
        <p:nvSpPr>
          <p:cNvPr id="79" name="Rectangle 78">
            <a:extLst>
              <a:ext uri="{FF2B5EF4-FFF2-40B4-BE49-F238E27FC236}">
                <a16:creationId xmlns:a16="http://schemas.microsoft.com/office/drawing/2014/main" id="{6A3B7DC1-03B3-47AB-9C4E-34ECA4EE7FF4}"/>
              </a:ext>
            </a:extLst>
          </p:cNvPr>
          <p:cNvSpPr>
            <a:spLocks/>
          </p:cNvSpPr>
          <p:nvPr/>
        </p:nvSpPr>
        <p:spPr>
          <a:xfrm>
            <a:off x="3942998" y="4784987"/>
            <a:ext cx="3865684" cy="523220"/>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err="1">
                <a:ln>
                  <a:noFill/>
                </a:ln>
                <a:solidFill>
                  <a:srgbClr val="0F47F2"/>
                </a:solidFill>
                <a:effectLst/>
                <a:uLnTx/>
                <a:uFillTx/>
                <a:latin typeface="Calibri" panose="020F0502020204030204" pitchFamily="34" charset="0"/>
                <a:ea typeface="+mn-ea"/>
                <a:cs typeface="Calibri" panose="020F0502020204030204" pitchFamily="34" charset="0"/>
                <a:sym typeface="Arial"/>
              </a:rPr>
              <a:t>Hadia</a:t>
            </a:r>
            <a:r>
              <a:rPr kumimoji="0" lang="en-US" sz="1800" b="1" i="0" u="none" strike="noStrike" kern="0" cap="none" spc="0" normalizeH="0" baseline="0" noProof="0" dirty="0">
                <a:ln>
                  <a:noFill/>
                </a:ln>
                <a:solidFill>
                  <a:srgbClr val="0F47F2"/>
                </a:solidFill>
                <a:effectLst/>
                <a:uLnTx/>
                <a:uFillTx/>
                <a:latin typeface="Calibri" panose="020F0502020204030204" pitchFamily="34" charset="0"/>
                <a:ea typeface="+mn-ea"/>
                <a:cs typeface="Calibri" panose="020F0502020204030204" pitchFamily="34" charset="0"/>
                <a:sym typeface="Arial"/>
              </a:rPr>
              <a:t> </a:t>
            </a:r>
            <a:r>
              <a:rPr kumimoji="0" lang="en-US" sz="1800" b="1" i="0" u="none" strike="noStrike" kern="0" cap="none" spc="0" normalizeH="0" baseline="0" noProof="0" dirty="0" err="1">
                <a:ln>
                  <a:noFill/>
                </a:ln>
                <a:solidFill>
                  <a:srgbClr val="0F47F2"/>
                </a:solidFill>
                <a:effectLst/>
                <a:uLnTx/>
                <a:uFillTx/>
                <a:latin typeface="Calibri" panose="020F0502020204030204" pitchFamily="34" charset="0"/>
                <a:ea typeface="+mn-ea"/>
                <a:cs typeface="Calibri" panose="020F0502020204030204" pitchFamily="34" charset="0"/>
                <a:sym typeface="Arial"/>
              </a:rPr>
              <a:t>Ibnabdeljalil</a:t>
            </a:r>
            <a:endParaRPr kumimoji="0" lang="en-US" sz="1800" b="1" i="0" u="none" strike="noStrike" kern="0" cap="none" spc="0" normalizeH="0" baseline="0" noProof="0" dirty="0">
              <a:ln>
                <a:noFill/>
              </a:ln>
              <a:solidFill>
                <a:srgbClr val="0F47F2"/>
              </a:solidFill>
              <a:effectLst/>
              <a:uLnTx/>
              <a:uFillTx/>
              <a:latin typeface="Calibri" panose="020F0502020204030204" pitchFamily="34" charset="0"/>
              <a:ea typeface="+mn-ea"/>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Arial"/>
              </a:rPr>
              <a:t>Head of Data Analytics Services</a:t>
            </a:r>
          </a:p>
        </p:txBody>
      </p:sp>
      <p:sp>
        <p:nvSpPr>
          <p:cNvPr id="80" name="Rectangle 79">
            <a:extLst>
              <a:ext uri="{FF2B5EF4-FFF2-40B4-BE49-F238E27FC236}">
                <a16:creationId xmlns:a16="http://schemas.microsoft.com/office/drawing/2014/main" id="{FBEC6501-BCE7-4F0D-A2A5-46F705899323}"/>
              </a:ext>
            </a:extLst>
          </p:cNvPr>
          <p:cNvSpPr>
            <a:spLocks/>
          </p:cNvSpPr>
          <p:nvPr/>
        </p:nvSpPr>
        <p:spPr>
          <a:xfrm>
            <a:off x="8013492" y="4785891"/>
            <a:ext cx="3865684" cy="76944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F47F2"/>
                </a:solidFill>
                <a:effectLst/>
                <a:uLnTx/>
                <a:uFillTx/>
                <a:latin typeface="Calibri" panose="020F0502020204030204" pitchFamily="34" charset="0"/>
                <a:ea typeface="+mn-ea"/>
                <a:cs typeface="Calibri" panose="020F0502020204030204" pitchFamily="34" charset="0"/>
                <a:sym typeface="Arial"/>
              </a:rPr>
              <a:t>Hamza </a:t>
            </a:r>
            <a:r>
              <a:rPr kumimoji="0" lang="en-US" sz="1800" b="1" i="0" u="none" strike="noStrike" kern="0" cap="none" spc="0" normalizeH="0" baseline="0" noProof="0" dirty="0" err="1">
                <a:ln>
                  <a:noFill/>
                </a:ln>
                <a:solidFill>
                  <a:srgbClr val="0F47F2"/>
                </a:solidFill>
                <a:effectLst/>
                <a:uLnTx/>
                <a:uFillTx/>
                <a:latin typeface="Calibri" panose="020F0502020204030204" pitchFamily="34" charset="0"/>
                <a:ea typeface="+mn-ea"/>
                <a:cs typeface="Calibri" panose="020F0502020204030204" pitchFamily="34" charset="0"/>
                <a:sym typeface="Arial"/>
              </a:rPr>
              <a:t>Laraichi</a:t>
            </a:r>
            <a:endParaRPr kumimoji="0" lang="en-US" sz="1800" b="1" i="0" u="none" strike="noStrike" kern="0" cap="none" spc="0" normalizeH="0" baseline="0" noProof="0" dirty="0">
              <a:ln>
                <a:noFill/>
              </a:ln>
              <a:solidFill>
                <a:srgbClr val="0F47F2"/>
              </a:solidFill>
              <a:effectLst/>
              <a:uLnTx/>
              <a:uFillTx/>
              <a:latin typeface="Calibri" panose="020F0502020204030204" pitchFamily="34" charset="0"/>
              <a:ea typeface="+mn-ea"/>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444444"/>
                </a:solidFill>
                <a:effectLst/>
                <a:uLnTx/>
                <a:uFillTx/>
                <a:latin typeface="Calibri" panose="020F0502020204030204" pitchFamily="34" charset="0"/>
                <a:ea typeface="+mn-ea"/>
                <a:cs typeface="Calibri" panose="020F0502020204030204" pitchFamily="34" charset="0"/>
                <a:sym typeface="Arial"/>
              </a:rPr>
              <a:t>Primary-contact for contract discussions with The Firm </a:t>
            </a:r>
          </a:p>
        </p:txBody>
      </p:sp>
      <p:sp>
        <p:nvSpPr>
          <p:cNvPr id="3" name="TextBox 2">
            <a:extLst>
              <a:ext uri="{FF2B5EF4-FFF2-40B4-BE49-F238E27FC236}">
                <a16:creationId xmlns:a16="http://schemas.microsoft.com/office/drawing/2014/main" id="{635D37B5-7476-48AE-B384-AA6E5951978B}"/>
              </a:ext>
            </a:extLst>
          </p:cNvPr>
          <p:cNvSpPr txBox="1">
            <a:spLocks/>
          </p:cNvSpPr>
          <p:nvPr/>
        </p:nvSpPr>
        <p:spPr>
          <a:xfrm>
            <a:off x="3942998" y="5914175"/>
            <a:ext cx="386568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F47F2"/>
                </a:solidFill>
                <a:effectLst/>
                <a:uLnTx/>
                <a:uFillTx/>
                <a:latin typeface="Franklin Gothic"/>
                <a:ea typeface="+mn-ea"/>
                <a:cs typeface="+mn-cs"/>
              </a:rPr>
              <a:t>hadia.ibnabdeljalil@infomineo.com </a:t>
            </a:r>
          </a:p>
        </p:txBody>
      </p:sp>
      <p:sp>
        <p:nvSpPr>
          <p:cNvPr id="20" name="TextBox 19">
            <a:extLst>
              <a:ext uri="{FF2B5EF4-FFF2-40B4-BE49-F238E27FC236}">
                <a16:creationId xmlns:a16="http://schemas.microsoft.com/office/drawing/2014/main" id="{DB974F0D-B178-4747-846D-B294A9058635}"/>
              </a:ext>
            </a:extLst>
          </p:cNvPr>
          <p:cNvSpPr txBox="1">
            <a:spLocks/>
          </p:cNvSpPr>
          <p:nvPr/>
        </p:nvSpPr>
        <p:spPr>
          <a:xfrm>
            <a:off x="8218766" y="5914174"/>
            <a:ext cx="386568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F47F2"/>
                </a:solidFill>
                <a:effectLst/>
                <a:uLnTx/>
                <a:uFillTx/>
                <a:latin typeface="Franklin Gothic"/>
                <a:ea typeface="+mn-ea"/>
                <a:cs typeface="+mn-cs"/>
              </a:rPr>
              <a:t>hamza.laraichi@infomineo.com</a:t>
            </a:r>
          </a:p>
        </p:txBody>
      </p:sp>
      <p:grpSp>
        <p:nvGrpSpPr>
          <p:cNvPr id="33" name="Group 32">
            <a:extLst>
              <a:ext uri="{FF2B5EF4-FFF2-40B4-BE49-F238E27FC236}">
                <a16:creationId xmlns:a16="http://schemas.microsoft.com/office/drawing/2014/main" id="{139B7CA2-DB61-B2FF-94A0-07A29C7F886D}"/>
              </a:ext>
            </a:extLst>
          </p:cNvPr>
          <p:cNvGrpSpPr/>
          <p:nvPr/>
        </p:nvGrpSpPr>
        <p:grpSpPr>
          <a:xfrm>
            <a:off x="5875840" y="2200274"/>
            <a:ext cx="4070493" cy="823553"/>
            <a:chOff x="5829398" y="2844015"/>
            <a:chExt cx="4070493" cy="2317149"/>
          </a:xfrm>
        </p:grpSpPr>
        <p:cxnSp>
          <p:nvCxnSpPr>
            <p:cNvPr id="22" name="Straight Connector 23">
              <a:extLst>
                <a:ext uri="{FF2B5EF4-FFF2-40B4-BE49-F238E27FC236}">
                  <a16:creationId xmlns:a16="http://schemas.microsoft.com/office/drawing/2014/main" id="{83072AF9-5B27-9DFC-27CE-6DE6F64F033C}"/>
                </a:ext>
              </a:extLst>
            </p:cNvPr>
            <p:cNvCxnSpPr>
              <a:cxnSpLocks/>
            </p:cNvCxnSpPr>
            <p:nvPr/>
          </p:nvCxnSpPr>
          <p:spPr>
            <a:xfrm rot="16200000" flipH="1">
              <a:off x="7723573" y="2984842"/>
              <a:ext cx="2317145" cy="2035491"/>
            </a:xfrm>
            <a:prstGeom prst="bentConnector3">
              <a:avLst>
                <a:gd name="adj1" fmla="val 50000"/>
              </a:avLst>
            </a:prstGeom>
            <a:ln w="15875">
              <a:solidFill>
                <a:schemeClr val="bg2"/>
              </a:solidFill>
              <a:tailEnd type="diamond"/>
            </a:ln>
          </p:spPr>
          <p:style>
            <a:lnRef idx="1">
              <a:schemeClr val="accent1"/>
            </a:lnRef>
            <a:fillRef idx="0">
              <a:schemeClr val="accent1"/>
            </a:fillRef>
            <a:effectRef idx="0">
              <a:schemeClr val="accent1"/>
            </a:effectRef>
            <a:fontRef idx="minor">
              <a:schemeClr val="tx1"/>
            </a:fontRef>
          </p:style>
        </p:cxnSp>
        <p:cxnSp>
          <p:nvCxnSpPr>
            <p:cNvPr id="27" name="Straight Connector 23">
              <a:extLst>
                <a:ext uri="{FF2B5EF4-FFF2-40B4-BE49-F238E27FC236}">
                  <a16:creationId xmlns:a16="http://schemas.microsoft.com/office/drawing/2014/main" id="{ACBDEA84-4253-0D15-9442-825CEFF38D5D}"/>
                </a:ext>
              </a:extLst>
            </p:cNvPr>
            <p:cNvCxnSpPr>
              <a:cxnSpLocks/>
            </p:cNvCxnSpPr>
            <p:nvPr/>
          </p:nvCxnSpPr>
          <p:spPr>
            <a:xfrm rot="5400000">
              <a:off x="5688327" y="2985089"/>
              <a:ext cx="2317146" cy="2035003"/>
            </a:xfrm>
            <a:prstGeom prst="bentConnector3">
              <a:avLst>
                <a:gd name="adj1" fmla="val 50000"/>
              </a:avLst>
            </a:prstGeom>
            <a:ln w="15875">
              <a:solidFill>
                <a:schemeClr val="bg2"/>
              </a:solidFill>
              <a:tailEnd type="diamond"/>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AC9C32B7-A4BC-3710-4692-821D4A1CCE60}"/>
              </a:ext>
            </a:extLst>
          </p:cNvPr>
          <p:cNvPicPr preferRelativeResize="0">
            <a:picLocks/>
          </p:cNvPicPr>
          <p:nvPr/>
        </p:nvPicPr>
        <p:blipFill>
          <a:blip r:embed="rId6"/>
          <a:stretch>
            <a:fillRect/>
          </a:stretch>
        </p:blipFill>
        <p:spPr>
          <a:xfrm>
            <a:off x="5065294" y="3086019"/>
            <a:ext cx="1636776" cy="1636776"/>
          </a:xfrm>
          <a:prstGeom prst="ellipse">
            <a:avLst/>
          </a:prstGeom>
          <a:solidFill>
            <a:srgbClr val="FFFFFF">
              <a:shade val="85000"/>
            </a:srgbClr>
          </a:solidFill>
          <a:ln>
            <a:noFill/>
          </a:ln>
          <a:effectLst>
            <a:outerShdw blurRad="63500" sx="102000" sy="102000" algn="ctr" rotWithShape="0">
              <a:prstClr val="black">
                <a:alpha val="40000"/>
              </a:prstClr>
            </a:outerShdw>
          </a:effectLst>
        </p:spPr>
      </p:pic>
      <p:pic>
        <p:nvPicPr>
          <p:cNvPr id="4" name="Picture 3">
            <a:extLst>
              <a:ext uri="{FF2B5EF4-FFF2-40B4-BE49-F238E27FC236}">
                <a16:creationId xmlns:a16="http://schemas.microsoft.com/office/drawing/2014/main" id="{E57D2C98-24D8-C486-5A0D-CA2C997427FB}"/>
              </a:ext>
            </a:extLst>
          </p:cNvPr>
          <p:cNvPicPr>
            <a:picLocks/>
          </p:cNvPicPr>
          <p:nvPr/>
        </p:nvPicPr>
        <p:blipFill rotWithShape="1">
          <a:blip r:embed="rId7" cstate="hqprint">
            <a:extLst>
              <a:ext uri="{BEBA8EAE-BF5A-486C-A8C5-ECC9F3942E4B}">
                <a14:imgProps xmlns:a14="http://schemas.microsoft.com/office/drawing/2010/main">
                  <a14:imgLayer r:embed="rId8">
                    <a14:imgEffect>
                      <a14:saturation sat="33000"/>
                    </a14:imgEffect>
                    <a14:imgEffect>
                      <a14:brightnessContrast bright="20000" contrast="20000"/>
                    </a14:imgEffect>
                  </a14:imgLayer>
                </a14:imgProps>
              </a:ext>
              <a:ext uri="{28A0092B-C50C-407E-A947-70E740481C1C}">
                <a14:useLocalDpi xmlns:a14="http://schemas.microsoft.com/office/drawing/2010/main"/>
              </a:ext>
            </a:extLst>
          </a:blip>
          <a:srcRect/>
          <a:stretch/>
        </p:blipFill>
        <p:spPr>
          <a:xfrm>
            <a:off x="9127946" y="3086019"/>
            <a:ext cx="1636776" cy="1636776"/>
          </a:xfrm>
          <a:prstGeom prst="ellipse">
            <a:avLst/>
          </a:prstGeom>
          <a:solidFill>
            <a:srgbClr val="FFFFFF">
              <a:shade val="85000"/>
            </a:srgbClr>
          </a:solidFill>
          <a:ln>
            <a:no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102651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123"/>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1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3802C7-2974-950B-21E0-FDAA6921FF2D}"/>
              </a:ext>
            </a:extLst>
          </p:cNvPr>
          <p:cNvGraphicFramePr>
            <a:graphicFrameLocks noChangeAspect="1"/>
          </p:cNvGraphicFramePr>
          <p:nvPr>
            <p:custDataLst>
              <p:tags r:id="rId1"/>
            </p:custDataLst>
            <p:extLst>
              <p:ext uri="{D42A27DB-BD31-4B8C-83A1-F6EECF244321}">
                <p14:modId xmlns:p14="http://schemas.microsoft.com/office/powerpoint/2010/main" val="1152640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9" name="Google Shape;519;p30"/>
          <p:cNvSpPr/>
          <p:nvPr/>
        </p:nvSpPr>
        <p:spPr>
          <a:xfrm>
            <a:off x="548640" y="2637673"/>
            <a:ext cx="11091363" cy="3672573"/>
          </a:xfrm>
          <a:custGeom>
            <a:avLst/>
            <a:gdLst/>
            <a:ahLst/>
            <a:cxnLst/>
            <a:rect l="l" t="t" r="r" b="b"/>
            <a:pathLst>
              <a:path w="11102828" h="4420512" extrusionOk="0">
                <a:moveTo>
                  <a:pt x="12712" y="4420512"/>
                </a:moveTo>
                <a:cubicBezTo>
                  <a:pt x="11759" y="4041175"/>
                  <a:pt x="3177" y="1859806"/>
                  <a:pt x="2224" y="1480469"/>
                </a:cubicBezTo>
                <a:cubicBezTo>
                  <a:pt x="2224" y="1157899"/>
                  <a:pt x="263719" y="896404"/>
                  <a:pt x="586289" y="896404"/>
                </a:cubicBezTo>
                <a:lnTo>
                  <a:pt x="8447336" y="885947"/>
                </a:lnTo>
                <a:lnTo>
                  <a:pt x="11102828" y="0"/>
                </a:lnTo>
                <a:cubicBezTo>
                  <a:pt x="11089749" y="1083583"/>
                  <a:pt x="11095740" y="2755269"/>
                  <a:pt x="11092196" y="3816660"/>
                </a:cubicBezTo>
                <a:cubicBezTo>
                  <a:pt x="11092196" y="4139230"/>
                  <a:pt x="10830701" y="4400725"/>
                  <a:pt x="10508131" y="4400725"/>
                </a:cubicBezTo>
                <a:lnTo>
                  <a:pt x="0" y="4419481"/>
                </a:lnTo>
              </a:path>
            </a:pathLst>
          </a:custGeom>
          <a:noFill/>
          <a:ln w="2222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600" b="0" i="0" u="none" strike="noStrike" cap="none">
              <a:solidFill>
                <a:srgbClr val="FFFFFF"/>
              </a:solidFill>
              <a:latin typeface="Calibri"/>
              <a:ea typeface="Calibri"/>
              <a:cs typeface="Calibri"/>
              <a:sym typeface="Calibri"/>
            </a:endParaRPr>
          </a:p>
        </p:txBody>
      </p:sp>
      <p:sp>
        <p:nvSpPr>
          <p:cNvPr id="520" name="Google Shape;520;p30"/>
          <p:cNvSpPr/>
          <p:nvPr/>
        </p:nvSpPr>
        <p:spPr>
          <a:xfrm>
            <a:off x="9017004" y="1869502"/>
            <a:ext cx="2635596" cy="1362651"/>
          </a:xfrm>
          <a:prstGeom prst="roundRect">
            <a:avLst>
              <a:gd name="adj" fmla="val 16667"/>
            </a:avLst>
          </a:prstGeom>
          <a:gradFill>
            <a:gsLst>
              <a:gs pos="0">
                <a:srgbClr val="062379"/>
              </a:gs>
              <a:gs pos="55000">
                <a:srgbClr val="385ED2"/>
              </a:gs>
              <a:gs pos="76000">
                <a:srgbClr val="4873F5">
                  <a:alpha val="89019"/>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1" name="Google Shape;521;p30"/>
          <p:cNvSpPr txBox="1">
            <a:spLocks noGrp="1"/>
          </p:cNvSpPr>
          <p:nvPr>
            <p:ph type="title"/>
          </p:nvPr>
        </p:nvSpPr>
        <p:spPr>
          <a:xfrm>
            <a:off x="539400" y="560588"/>
            <a:ext cx="11089972" cy="92333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None/>
            </a:pPr>
            <a:r>
              <a:rPr lang="en-US" sz="3000" dirty="0">
                <a:latin typeface="Franklin Gothic" panose="020B0604020202020204" charset="0"/>
              </a:rPr>
              <a:t>Infomineo invented Brainshoring, a new generation of service outsourcing, to solve your problems</a:t>
            </a:r>
            <a:endParaRPr sz="3000" dirty="0">
              <a:latin typeface="Franklin Gothic" panose="020B0604020202020204" charset="0"/>
            </a:endParaRPr>
          </a:p>
        </p:txBody>
      </p:sp>
      <p:sp>
        <p:nvSpPr>
          <p:cNvPr id="522" name="Google Shape;522;p3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3</a:t>
            </a:fld>
            <a:endParaRPr/>
          </a:p>
        </p:txBody>
      </p:sp>
      <p:sp>
        <p:nvSpPr>
          <p:cNvPr id="523" name="Google Shape;523;p30"/>
          <p:cNvSpPr txBox="1"/>
          <p:nvPr/>
        </p:nvSpPr>
        <p:spPr>
          <a:xfrm>
            <a:off x="973862" y="3667840"/>
            <a:ext cx="3439710" cy="204671"/>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0F47F2"/>
              </a:buClr>
              <a:buSzPts val="1600"/>
              <a:buFont typeface="Arial"/>
              <a:buNone/>
            </a:pPr>
            <a:r>
              <a:rPr lang="en-US" sz="1400" b="1" i="0" u="none" strike="noStrike" cap="none" dirty="0">
                <a:solidFill>
                  <a:srgbClr val="0F47F2"/>
                </a:solidFill>
                <a:latin typeface="Calibri"/>
                <a:ea typeface="Calibri"/>
                <a:cs typeface="Calibri"/>
                <a:sym typeface="Calibri"/>
              </a:rPr>
              <a:t>Key success factors in Brainshoring</a:t>
            </a:r>
            <a:endParaRPr sz="1400" b="1" i="0" u="none" strike="noStrike" cap="none" dirty="0">
              <a:solidFill>
                <a:srgbClr val="0F47F2"/>
              </a:solidFill>
              <a:latin typeface="Calibri"/>
              <a:ea typeface="Calibri"/>
              <a:cs typeface="Calibri"/>
              <a:sym typeface="Calibri"/>
            </a:endParaRPr>
          </a:p>
        </p:txBody>
      </p:sp>
      <p:sp>
        <p:nvSpPr>
          <p:cNvPr id="524" name="Google Shape;524;p30"/>
          <p:cNvSpPr txBox="1"/>
          <p:nvPr/>
        </p:nvSpPr>
        <p:spPr>
          <a:xfrm>
            <a:off x="1376542" y="4069910"/>
            <a:ext cx="4863921" cy="350865"/>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rgbClr val="0F47F2"/>
              </a:buClr>
              <a:buSzPts val="1260"/>
              <a:buFont typeface="Noto Sans Symbols"/>
              <a:buNone/>
            </a:pPr>
            <a:r>
              <a:rPr lang="en-US" sz="1200" b="1" i="0" u="none" strike="noStrike" cap="none">
                <a:solidFill>
                  <a:schemeClr val="dk1"/>
                </a:solidFill>
                <a:latin typeface="Calibri"/>
                <a:ea typeface="Calibri"/>
                <a:cs typeface="Calibri"/>
                <a:sym typeface="Calibri"/>
              </a:rPr>
              <a:t>Selecting activities </a:t>
            </a:r>
            <a:r>
              <a:rPr lang="en-US" sz="1200" b="0" i="0" u="none" strike="noStrike" cap="none">
                <a:solidFill>
                  <a:schemeClr val="dk1"/>
                </a:solidFill>
                <a:latin typeface="Calibri"/>
                <a:ea typeface="Calibri"/>
                <a:cs typeface="Calibri"/>
                <a:sym typeface="Calibri"/>
              </a:rPr>
              <a:t>which require </a:t>
            </a:r>
            <a:r>
              <a:rPr lang="en-US" sz="1200" b="1" i="0" u="none" strike="noStrike" cap="none">
                <a:solidFill>
                  <a:schemeClr val="dk1"/>
                </a:solidFill>
                <a:latin typeface="Calibri"/>
                <a:ea typeface="Calibri"/>
                <a:cs typeface="Calibri"/>
                <a:sym typeface="Calibri"/>
              </a:rPr>
              <a:t>problem solving </a:t>
            </a:r>
            <a:r>
              <a:rPr lang="en-US" sz="1200" b="0" i="0" u="none" strike="noStrike" cap="none">
                <a:solidFill>
                  <a:schemeClr val="dk1"/>
                </a:solidFill>
                <a:latin typeface="Calibri"/>
                <a:ea typeface="Calibri"/>
                <a:cs typeface="Calibri"/>
                <a:sym typeface="Calibri"/>
              </a:rPr>
              <a:t>and </a:t>
            </a:r>
            <a:r>
              <a:rPr lang="en-US" sz="1200" b="1" i="0" u="none" strike="noStrike" cap="none">
                <a:solidFill>
                  <a:schemeClr val="dk1"/>
                </a:solidFill>
                <a:latin typeface="Calibri"/>
                <a:ea typeface="Calibri"/>
                <a:cs typeface="Calibri"/>
                <a:sym typeface="Calibri"/>
              </a:rPr>
              <a:t>close collaboration </a:t>
            </a:r>
            <a:r>
              <a:rPr lang="en-US" sz="1200" b="0" i="0" u="none" strike="noStrike" cap="none">
                <a:solidFill>
                  <a:schemeClr val="dk1"/>
                </a:solidFill>
                <a:latin typeface="Calibri"/>
                <a:ea typeface="Calibri"/>
                <a:cs typeface="Calibri"/>
                <a:sym typeface="Calibri"/>
              </a:rPr>
              <a:t>and which can be executed remotely</a:t>
            </a:r>
            <a:endParaRPr sz="1200" b="0" i="0" u="none" strike="noStrike" cap="none">
              <a:solidFill>
                <a:schemeClr val="dk1"/>
              </a:solidFill>
              <a:latin typeface="Calibri"/>
              <a:ea typeface="Calibri"/>
              <a:cs typeface="Calibri"/>
              <a:sym typeface="Calibri"/>
            </a:endParaRPr>
          </a:p>
        </p:txBody>
      </p:sp>
      <p:sp>
        <p:nvSpPr>
          <p:cNvPr id="525" name="Google Shape;525;p30"/>
          <p:cNvSpPr txBox="1"/>
          <p:nvPr/>
        </p:nvSpPr>
        <p:spPr>
          <a:xfrm>
            <a:off x="1376543" y="4610291"/>
            <a:ext cx="3805824" cy="350865"/>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rgbClr val="0F47F2"/>
              </a:buClr>
              <a:buSzPts val="1260"/>
              <a:buFont typeface="Noto Sans Symbols"/>
              <a:buNone/>
            </a:pPr>
            <a:r>
              <a:rPr lang="en-US" sz="1200" b="0" i="0" u="none" strike="noStrike" cap="none">
                <a:solidFill>
                  <a:schemeClr val="dk1"/>
                </a:solidFill>
                <a:latin typeface="Calibri"/>
                <a:ea typeface="Calibri"/>
                <a:cs typeface="Calibri"/>
                <a:sym typeface="Calibri"/>
              </a:rPr>
              <a:t>Hiring and training </a:t>
            </a:r>
            <a:r>
              <a:rPr lang="en-US" sz="1200" b="1" i="0" u="none" strike="noStrike" cap="none">
                <a:solidFill>
                  <a:schemeClr val="dk1"/>
                </a:solidFill>
                <a:latin typeface="Calibri"/>
                <a:ea typeface="Calibri"/>
                <a:cs typeface="Calibri"/>
                <a:sym typeface="Calibri"/>
              </a:rPr>
              <a:t>staff</a:t>
            </a:r>
            <a:r>
              <a:rPr lang="en-US" sz="1200" b="0" i="0" u="none" strike="noStrike" cap="none">
                <a:solidFill>
                  <a:schemeClr val="dk1"/>
                </a:solidFill>
                <a:latin typeface="Calibri"/>
                <a:ea typeface="Calibri"/>
                <a:cs typeface="Calibri"/>
                <a:sym typeface="Calibri"/>
              </a:rPr>
              <a:t> who offer strong </a:t>
            </a:r>
            <a:r>
              <a:rPr lang="en-US" sz="1200" b="1" i="0" u="none" strike="noStrike" cap="none">
                <a:solidFill>
                  <a:schemeClr val="dk1"/>
                </a:solidFill>
                <a:latin typeface="Calibri"/>
                <a:ea typeface="Calibri"/>
                <a:cs typeface="Calibri"/>
                <a:sym typeface="Calibri"/>
              </a:rPr>
              <a:t>critical thinking </a:t>
            </a:r>
            <a:r>
              <a:rPr lang="en-US" sz="1200" b="0" i="0" u="none" strike="noStrike" cap="none">
                <a:solidFill>
                  <a:schemeClr val="dk1"/>
                </a:solidFill>
                <a:latin typeface="Calibri"/>
                <a:ea typeface="Calibri"/>
                <a:cs typeface="Calibri"/>
                <a:sym typeface="Calibri"/>
              </a:rPr>
              <a:t>and </a:t>
            </a:r>
            <a:r>
              <a:rPr lang="en-US" sz="1200" b="1" i="0" u="none" strike="noStrike" cap="none">
                <a:solidFill>
                  <a:schemeClr val="dk1"/>
                </a:solidFill>
                <a:latin typeface="Calibri"/>
                <a:ea typeface="Calibri"/>
                <a:cs typeface="Calibri"/>
                <a:sym typeface="Calibri"/>
              </a:rPr>
              <a:t>communication</a:t>
            </a:r>
            <a:r>
              <a:rPr lang="en-US" sz="1200" b="0" i="0" u="none" strike="noStrike" cap="none">
                <a:solidFill>
                  <a:schemeClr val="dk1"/>
                </a:solidFill>
                <a:latin typeface="Calibri"/>
                <a:ea typeface="Calibri"/>
                <a:cs typeface="Calibri"/>
                <a:sym typeface="Calibri"/>
              </a:rPr>
              <a:t> skills</a:t>
            </a:r>
            <a:endParaRPr sz="1200" b="0" i="0" u="none" strike="noStrike" cap="none">
              <a:solidFill>
                <a:schemeClr val="dk1"/>
              </a:solidFill>
              <a:latin typeface="Calibri"/>
              <a:ea typeface="Calibri"/>
              <a:cs typeface="Calibri"/>
              <a:sym typeface="Calibri"/>
            </a:endParaRPr>
          </a:p>
        </p:txBody>
      </p:sp>
      <p:sp>
        <p:nvSpPr>
          <p:cNvPr id="526" name="Google Shape;526;p30"/>
          <p:cNvSpPr txBox="1"/>
          <p:nvPr/>
        </p:nvSpPr>
        <p:spPr>
          <a:xfrm>
            <a:off x="1376543" y="5224814"/>
            <a:ext cx="4336085" cy="175433"/>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rgbClr val="0F47F2"/>
              </a:buClr>
              <a:buSzPts val="1260"/>
              <a:buFont typeface="Noto Sans Symbols"/>
              <a:buNone/>
            </a:pPr>
            <a:r>
              <a:rPr lang="en-US" sz="1200" b="0" i="0" u="none" strike="noStrike" cap="none">
                <a:solidFill>
                  <a:schemeClr val="dk1"/>
                </a:solidFill>
                <a:latin typeface="Calibri"/>
                <a:ea typeface="Calibri"/>
                <a:cs typeface="Calibri"/>
                <a:sym typeface="Calibri"/>
              </a:rPr>
              <a:t>Using </a:t>
            </a:r>
            <a:r>
              <a:rPr lang="en-US" sz="1200" b="1" i="0" u="none" strike="noStrike" cap="none">
                <a:solidFill>
                  <a:schemeClr val="dk1"/>
                </a:solidFill>
                <a:latin typeface="Calibri"/>
                <a:ea typeface="Calibri"/>
                <a:cs typeface="Calibri"/>
                <a:sym typeface="Calibri"/>
              </a:rPr>
              <a:t>delivery locations </a:t>
            </a:r>
            <a:r>
              <a:rPr lang="en-US" sz="1200" b="0" i="0" u="none" strike="noStrike" cap="none">
                <a:solidFill>
                  <a:schemeClr val="dk1"/>
                </a:solidFill>
                <a:latin typeface="Calibri"/>
                <a:ea typeface="Calibri"/>
                <a:cs typeface="Calibri"/>
                <a:sym typeface="Calibri"/>
              </a:rPr>
              <a:t>which allow live discussions with clients</a:t>
            </a:r>
            <a:endParaRPr sz="1200" b="0" i="0" u="none" strike="noStrike" cap="none">
              <a:solidFill>
                <a:schemeClr val="dk1"/>
              </a:solidFill>
              <a:latin typeface="Calibri"/>
              <a:ea typeface="Calibri"/>
              <a:cs typeface="Calibri"/>
              <a:sym typeface="Calibri"/>
            </a:endParaRPr>
          </a:p>
        </p:txBody>
      </p:sp>
      <p:sp>
        <p:nvSpPr>
          <p:cNvPr id="527" name="Google Shape;527;p30"/>
          <p:cNvSpPr txBox="1"/>
          <p:nvPr/>
        </p:nvSpPr>
        <p:spPr>
          <a:xfrm>
            <a:off x="1376542" y="5719245"/>
            <a:ext cx="4671083" cy="175433"/>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rgbClr val="0F47F2"/>
              </a:buClr>
              <a:buSzPts val="1260"/>
              <a:buFont typeface="Noto Sans Symbols"/>
              <a:buNone/>
            </a:pPr>
            <a:r>
              <a:rPr lang="en-US" sz="1200" b="0" i="0" u="none" strike="noStrike" cap="none">
                <a:solidFill>
                  <a:schemeClr val="dk1"/>
                </a:solidFill>
                <a:latin typeface="Calibri"/>
                <a:ea typeface="Calibri"/>
                <a:cs typeface="Calibri"/>
                <a:sym typeface="Calibri"/>
              </a:rPr>
              <a:t>Building </a:t>
            </a:r>
            <a:r>
              <a:rPr lang="en-US" sz="1200" b="1" i="0" u="none" strike="noStrike" cap="none">
                <a:solidFill>
                  <a:schemeClr val="dk1"/>
                </a:solidFill>
                <a:latin typeface="Calibri"/>
                <a:ea typeface="Calibri"/>
                <a:cs typeface="Calibri"/>
                <a:sym typeface="Calibri"/>
              </a:rPr>
              <a:t>integrated relationships </a:t>
            </a:r>
            <a:r>
              <a:rPr lang="en-US" sz="1200" b="0" i="0" u="none" strike="noStrike" cap="none">
                <a:solidFill>
                  <a:schemeClr val="dk1"/>
                </a:solidFill>
                <a:latin typeface="Calibri"/>
                <a:ea typeface="Calibri"/>
                <a:cs typeface="Calibri"/>
                <a:sym typeface="Calibri"/>
              </a:rPr>
              <a:t>with clients as “ecosystem partners”</a:t>
            </a:r>
            <a:endParaRPr sz="1200" b="0" i="0" u="none" strike="noStrike" cap="none">
              <a:solidFill>
                <a:schemeClr val="dk1"/>
              </a:solidFill>
              <a:latin typeface="Calibri"/>
              <a:ea typeface="Calibri"/>
              <a:cs typeface="Calibri"/>
              <a:sym typeface="Calibri"/>
            </a:endParaRPr>
          </a:p>
        </p:txBody>
      </p:sp>
      <p:sp>
        <p:nvSpPr>
          <p:cNvPr id="528" name="Google Shape;528;p30"/>
          <p:cNvSpPr txBox="1"/>
          <p:nvPr/>
        </p:nvSpPr>
        <p:spPr>
          <a:xfrm>
            <a:off x="6249508" y="3656778"/>
            <a:ext cx="3754763" cy="204671"/>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rgbClr val="0F47F2"/>
              </a:buClr>
              <a:buSzPts val="1440"/>
              <a:buFont typeface="Noto Sans Symbols"/>
              <a:buNone/>
            </a:pPr>
            <a:r>
              <a:rPr lang="en-US" sz="1400" b="1" i="0" u="none" strike="noStrike" cap="none">
                <a:solidFill>
                  <a:srgbClr val="0F47F2"/>
                </a:solidFill>
                <a:latin typeface="Calibri"/>
                <a:ea typeface="Calibri"/>
                <a:cs typeface="Calibri"/>
                <a:sym typeface="Calibri"/>
              </a:rPr>
              <a:t>What Infomineo does</a:t>
            </a:r>
            <a:endParaRPr sz="1400" b="1" i="0" u="none" strike="noStrike" cap="none">
              <a:solidFill>
                <a:srgbClr val="000000"/>
              </a:solidFill>
              <a:latin typeface="Calibri"/>
              <a:ea typeface="Calibri"/>
              <a:cs typeface="Calibri"/>
              <a:sym typeface="Calibri"/>
            </a:endParaRPr>
          </a:p>
        </p:txBody>
      </p:sp>
      <p:sp>
        <p:nvSpPr>
          <p:cNvPr id="529" name="Google Shape;529;p30"/>
          <p:cNvSpPr txBox="1"/>
          <p:nvPr/>
        </p:nvSpPr>
        <p:spPr>
          <a:xfrm>
            <a:off x="6733315" y="3972862"/>
            <a:ext cx="4671083" cy="350865"/>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rgbClr val="0F47F2"/>
              </a:buClr>
              <a:buSzPts val="1260"/>
              <a:buFont typeface="Noto Sans Symbols"/>
              <a:buNone/>
            </a:pPr>
            <a:r>
              <a:rPr lang="en-US" sz="1200" b="0" i="0" u="none" strike="noStrike" cap="none" dirty="0">
                <a:solidFill>
                  <a:schemeClr val="dk1"/>
                </a:solidFill>
                <a:latin typeface="Calibri"/>
                <a:ea typeface="Calibri"/>
                <a:cs typeface="Calibri"/>
                <a:sym typeface="Calibri"/>
              </a:rPr>
              <a:t>We offer a </a:t>
            </a:r>
            <a:r>
              <a:rPr lang="en-US" sz="1200" b="1" i="0" u="none" strike="noStrike" cap="none" dirty="0">
                <a:solidFill>
                  <a:schemeClr val="dk1"/>
                </a:solidFill>
                <a:latin typeface="Calibri"/>
                <a:ea typeface="Calibri"/>
                <a:cs typeface="Calibri"/>
                <a:sym typeface="Calibri"/>
              </a:rPr>
              <a:t>range of Brainshoring services </a:t>
            </a:r>
            <a:r>
              <a:rPr lang="en-US" sz="1200" b="0" i="0" u="none" strike="noStrike" cap="none" dirty="0">
                <a:solidFill>
                  <a:schemeClr val="dk1"/>
                </a:solidFill>
                <a:latin typeface="Calibri"/>
                <a:ea typeface="Calibri"/>
                <a:cs typeface="Calibri"/>
                <a:sym typeface="Calibri"/>
              </a:rPr>
              <a:t>– </a:t>
            </a:r>
            <a:r>
              <a:rPr lang="en-US" sz="1200" b="1" i="0" u="none" strike="noStrike" cap="none" dirty="0">
                <a:solidFill>
                  <a:schemeClr val="dk1"/>
                </a:solidFill>
                <a:latin typeface="Calibri"/>
                <a:ea typeface="Calibri"/>
                <a:cs typeface="Calibri"/>
                <a:sym typeface="Calibri"/>
              </a:rPr>
              <a:t>Data</a:t>
            </a:r>
            <a:r>
              <a:rPr lang="en-US" sz="1200" b="0" i="0" u="none" strike="noStrike" cap="none" dirty="0">
                <a:solidFill>
                  <a:schemeClr val="dk1"/>
                </a:solidFill>
                <a:latin typeface="Calibri"/>
                <a:ea typeface="Calibri"/>
                <a:cs typeface="Calibri"/>
                <a:sym typeface="Calibri"/>
              </a:rPr>
              <a:t> </a:t>
            </a:r>
            <a:r>
              <a:rPr lang="en-US" sz="1200" b="1" i="0" u="none" strike="noStrike" cap="none" dirty="0">
                <a:solidFill>
                  <a:schemeClr val="dk1"/>
                </a:solidFill>
                <a:latin typeface="Calibri"/>
                <a:ea typeface="Calibri"/>
                <a:cs typeface="Calibri"/>
                <a:sym typeface="Calibri"/>
              </a:rPr>
              <a:t>Research, Graphic design</a:t>
            </a:r>
            <a:r>
              <a:rPr lang="en-US" sz="1200" b="0" i="0" u="none" strike="noStrike" cap="none" dirty="0">
                <a:solidFill>
                  <a:schemeClr val="dk1"/>
                </a:solidFill>
                <a:latin typeface="Calibri"/>
                <a:ea typeface="Calibri"/>
                <a:cs typeface="Calibri"/>
                <a:sym typeface="Calibri"/>
              </a:rPr>
              <a:t>, </a:t>
            </a:r>
            <a:r>
              <a:rPr lang="en-US" sz="1200" b="1" i="0" u="none" strike="noStrike" cap="none" dirty="0">
                <a:solidFill>
                  <a:schemeClr val="dk1"/>
                </a:solidFill>
                <a:latin typeface="Calibri"/>
                <a:ea typeface="Calibri"/>
                <a:cs typeface="Calibri"/>
                <a:sym typeface="Calibri"/>
              </a:rPr>
              <a:t>Data analytics</a:t>
            </a:r>
            <a:r>
              <a:rPr lang="en-US" sz="1200" b="0" i="0" u="none" strike="noStrike" cap="none" dirty="0">
                <a:solidFill>
                  <a:schemeClr val="dk1"/>
                </a:solidFill>
                <a:latin typeface="Calibri"/>
                <a:ea typeface="Calibri"/>
                <a:cs typeface="Calibri"/>
                <a:sym typeface="Calibri"/>
              </a:rPr>
              <a:t> and </a:t>
            </a:r>
            <a:r>
              <a:rPr lang="en-US" sz="1200" b="1" i="0" u="none" strike="noStrike" cap="none" dirty="0">
                <a:solidFill>
                  <a:schemeClr val="dk1"/>
                </a:solidFill>
                <a:latin typeface="Calibri"/>
                <a:ea typeface="Calibri"/>
                <a:cs typeface="Calibri"/>
                <a:sym typeface="Calibri"/>
              </a:rPr>
              <a:t>Content services</a:t>
            </a:r>
            <a:endParaRPr sz="1200" b="0" i="0" u="none" strike="noStrike" cap="none" dirty="0">
              <a:solidFill>
                <a:schemeClr val="dk1"/>
              </a:solidFill>
              <a:latin typeface="Calibri"/>
              <a:ea typeface="Calibri"/>
              <a:cs typeface="Calibri"/>
              <a:sym typeface="Calibri"/>
            </a:endParaRPr>
          </a:p>
        </p:txBody>
      </p:sp>
      <p:sp>
        <p:nvSpPr>
          <p:cNvPr id="530" name="Google Shape;530;p30"/>
          <p:cNvSpPr txBox="1"/>
          <p:nvPr/>
        </p:nvSpPr>
        <p:spPr>
          <a:xfrm>
            <a:off x="6733316" y="4447363"/>
            <a:ext cx="4597495" cy="1005403"/>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rgbClr val="0F47F2"/>
              </a:buClr>
              <a:buSzPts val="1260"/>
              <a:buFont typeface="Noto Sans Symbols"/>
              <a:buNone/>
            </a:pPr>
            <a:r>
              <a:rPr lang="en-US" sz="1200" b="0" i="0" u="none" strike="noStrike" cap="none" dirty="0">
                <a:solidFill>
                  <a:schemeClr val="dk1"/>
                </a:solidFill>
                <a:latin typeface="Calibri"/>
                <a:ea typeface="Calibri"/>
                <a:cs typeface="Calibri"/>
                <a:sym typeface="Calibri"/>
              </a:rPr>
              <a:t>We operate from </a:t>
            </a:r>
            <a:r>
              <a:rPr lang="en-US" sz="1200" b="1" i="0" u="none" strike="noStrike" cap="none" dirty="0">
                <a:solidFill>
                  <a:schemeClr val="dk1"/>
                </a:solidFill>
                <a:latin typeface="Calibri"/>
                <a:ea typeface="Calibri"/>
                <a:cs typeface="Calibri"/>
                <a:sym typeface="Calibri"/>
              </a:rPr>
              <a:t>major cities in the emerging world (Cairo, Casablanca </a:t>
            </a:r>
            <a:r>
              <a:rPr lang="en-US" sz="1200" b="0" i="0" u="none" strike="noStrike" cap="none" dirty="0">
                <a:solidFill>
                  <a:schemeClr val="dk1"/>
                </a:solidFill>
                <a:latin typeface="Calibri"/>
                <a:ea typeface="Calibri"/>
                <a:cs typeface="Calibri"/>
                <a:sym typeface="Calibri"/>
              </a:rPr>
              <a:t>and </a:t>
            </a:r>
            <a:r>
              <a:rPr lang="en-US" sz="1200" b="1" i="0" u="none" strike="noStrike" cap="none" dirty="0">
                <a:solidFill>
                  <a:schemeClr val="dk1"/>
                </a:solidFill>
                <a:latin typeface="Calibri"/>
                <a:ea typeface="Calibri"/>
                <a:cs typeface="Calibri"/>
                <a:sym typeface="Calibri"/>
              </a:rPr>
              <a:t>Mexico City) </a:t>
            </a:r>
            <a:r>
              <a:rPr lang="en-US" sz="1200" b="0" i="0" u="none" strike="noStrike" cap="none" dirty="0">
                <a:solidFill>
                  <a:schemeClr val="dk1"/>
                </a:solidFill>
                <a:latin typeface="Calibri"/>
                <a:ea typeface="Calibri"/>
                <a:cs typeface="Calibri"/>
                <a:sym typeface="Calibri"/>
              </a:rPr>
              <a:t>to </a:t>
            </a:r>
            <a:endParaRPr sz="1200" b="0" i="0" u="none" strike="noStrike" cap="none" dirty="0">
              <a:solidFill>
                <a:schemeClr val="dk1"/>
              </a:solidFill>
              <a:latin typeface="Calibri"/>
              <a:ea typeface="Calibri"/>
              <a:cs typeface="Calibri"/>
              <a:sym typeface="Calibri"/>
            </a:endParaRPr>
          </a:p>
          <a:p>
            <a:pPr marL="173038" marR="0" lvl="1" indent="-173038" algn="l" rtl="0">
              <a:lnSpc>
                <a:spcPct val="95000"/>
              </a:lnSpc>
              <a:spcBef>
                <a:spcPts val="500"/>
              </a:spcBef>
              <a:spcAft>
                <a:spcPts val="0"/>
              </a:spcAft>
              <a:buClr>
                <a:srgbClr val="0F47F2"/>
              </a:buClr>
              <a:buSzPts val="1260"/>
              <a:buFont typeface="Noto Sans Symbols"/>
              <a:buChar char="▪"/>
            </a:pPr>
            <a:r>
              <a:rPr lang="en-US" sz="1200" b="0" i="0" u="none" strike="noStrike" cap="none" dirty="0">
                <a:solidFill>
                  <a:schemeClr val="dk1"/>
                </a:solidFill>
                <a:latin typeface="Calibri"/>
                <a:ea typeface="Calibri"/>
                <a:cs typeface="Calibri"/>
                <a:sym typeface="Calibri"/>
              </a:rPr>
              <a:t>Tap in underleveraged talent pools and deliver high-quality work at decent prices</a:t>
            </a:r>
            <a:endParaRPr sz="1200" b="0" i="0" u="none" strike="noStrike" cap="none" dirty="0">
              <a:solidFill>
                <a:schemeClr val="dk1"/>
              </a:solidFill>
              <a:latin typeface="Calibri"/>
              <a:ea typeface="Calibri"/>
              <a:cs typeface="Calibri"/>
              <a:sym typeface="Calibri"/>
            </a:endParaRPr>
          </a:p>
          <a:p>
            <a:pPr marL="173038" marR="0" lvl="1" indent="-173038" algn="l" rtl="0">
              <a:lnSpc>
                <a:spcPct val="95000"/>
              </a:lnSpc>
              <a:spcBef>
                <a:spcPts val="500"/>
              </a:spcBef>
              <a:spcAft>
                <a:spcPts val="0"/>
              </a:spcAft>
              <a:buClr>
                <a:srgbClr val="0F47F2"/>
              </a:buClr>
              <a:buSzPts val="1260"/>
              <a:buFont typeface="Noto Sans Symbols"/>
              <a:buChar char="▪"/>
            </a:pPr>
            <a:r>
              <a:rPr lang="en-US" sz="1200" b="0" i="0" u="none" strike="noStrike" cap="none" dirty="0">
                <a:solidFill>
                  <a:schemeClr val="dk1"/>
                </a:solidFill>
                <a:latin typeface="Calibri"/>
                <a:ea typeface="Calibri"/>
                <a:cs typeface="Calibri"/>
                <a:sym typeface="Calibri"/>
              </a:rPr>
              <a:t>Offer nearshore/same time zone options to our clients</a:t>
            </a:r>
            <a:endParaRPr sz="1200" b="0" i="0" u="none" strike="noStrike" cap="none" dirty="0">
              <a:solidFill>
                <a:schemeClr val="dk1"/>
              </a:solidFill>
              <a:latin typeface="Calibri"/>
              <a:ea typeface="Calibri"/>
              <a:cs typeface="Calibri"/>
              <a:sym typeface="Calibri"/>
            </a:endParaRPr>
          </a:p>
        </p:txBody>
      </p:sp>
      <p:sp>
        <p:nvSpPr>
          <p:cNvPr id="531" name="Google Shape;531;p30"/>
          <p:cNvSpPr txBox="1"/>
          <p:nvPr/>
        </p:nvSpPr>
        <p:spPr>
          <a:xfrm>
            <a:off x="6733315" y="5576402"/>
            <a:ext cx="4671083" cy="350865"/>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rgbClr val="0F47F2"/>
              </a:buClr>
              <a:buSzPts val="1260"/>
              <a:buFont typeface="Noto Sans Symbols"/>
              <a:buNone/>
            </a:pPr>
            <a:r>
              <a:rPr lang="en-US" sz="1200" b="0" i="0" u="none" strike="noStrike" cap="none" dirty="0">
                <a:solidFill>
                  <a:schemeClr val="dk1"/>
                </a:solidFill>
                <a:latin typeface="Calibri"/>
                <a:ea typeface="Calibri"/>
                <a:cs typeface="Calibri"/>
                <a:sym typeface="Calibri"/>
              </a:rPr>
              <a:t>We make it easy to work with us by dealing with our clients on a </a:t>
            </a:r>
            <a:r>
              <a:rPr lang="en-US" sz="1200" b="1" i="0" u="none" strike="noStrike" cap="none" dirty="0">
                <a:solidFill>
                  <a:schemeClr val="dk1"/>
                </a:solidFill>
                <a:latin typeface="Calibri"/>
                <a:ea typeface="Calibri"/>
                <a:cs typeface="Calibri"/>
                <a:sym typeface="Calibri"/>
              </a:rPr>
              <a:t>retainer basis</a:t>
            </a:r>
            <a:r>
              <a:rPr lang="en-US" sz="1200" b="0" i="0" u="none" strike="noStrike" cap="none" dirty="0">
                <a:solidFill>
                  <a:schemeClr val="dk1"/>
                </a:solidFill>
                <a:latin typeface="Calibri"/>
                <a:ea typeface="Calibri"/>
                <a:cs typeface="Calibri"/>
                <a:sym typeface="Calibri"/>
              </a:rPr>
              <a:t>,</a:t>
            </a:r>
            <a:r>
              <a:rPr lang="en-US" sz="1200" b="1" i="0" u="none" strike="noStrike" cap="none" dirty="0">
                <a:solidFill>
                  <a:schemeClr val="dk1"/>
                </a:solidFill>
                <a:latin typeface="Calibri"/>
                <a:ea typeface="Calibri"/>
                <a:cs typeface="Calibri"/>
                <a:sym typeface="Calibri"/>
              </a:rPr>
              <a:t> </a:t>
            </a:r>
            <a:r>
              <a:rPr lang="en-US" sz="1200" b="0" i="0" u="none" strike="noStrike" cap="none" dirty="0">
                <a:solidFill>
                  <a:schemeClr val="dk1"/>
                </a:solidFill>
                <a:latin typeface="Calibri"/>
                <a:ea typeface="Calibri"/>
                <a:cs typeface="Calibri"/>
                <a:sym typeface="Calibri"/>
              </a:rPr>
              <a:t>i.e., with dedicated teams</a:t>
            </a:r>
            <a:endParaRPr sz="1200" b="0" i="0" u="none" strike="noStrike" cap="none" dirty="0">
              <a:solidFill>
                <a:schemeClr val="dk1"/>
              </a:solidFill>
              <a:latin typeface="Calibri"/>
              <a:ea typeface="Calibri"/>
              <a:cs typeface="Calibri"/>
              <a:sym typeface="Calibri"/>
            </a:endParaRPr>
          </a:p>
        </p:txBody>
      </p:sp>
      <p:cxnSp>
        <p:nvCxnSpPr>
          <p:cNvPr id="532" name="Google Shape;532;p30"/>
          <p:cNvCxnSpPr/>
          <p:nvPr/>
        </p:nvCxnSpPr>
        <p:spPr>
          <a:xfrm>
            <a:off x="1900420" y="2066925"/>
            <a:ext cx="0" cy="1049731"/>
          </a:xfrm>
          <a:prstGeom prst="straightConnector1">
            <a:avLst/>
          </a:prstGeom>
          <a:noFill/>
          <a:ln w="12700" cap="flat" cmpd="sng">
            <a:solidFill>
              <a:schemeClr val="dk1"/>
            </a:solidFill>
            <a:prstDash val="solid"/>
            <a:miter lim="800000"/>
            <a:headEnd type="none" w="sm" len="sm"/>
            <a:tailEnd type="none" w="sm" len="sm"/>
          </a:ln>
        </p:spPr>
      </p:cxnSp>
      <p:grpSp>
        <p:nvGrpSpPr>
          <p:cNvPr id="533" name="Google Shape;533;p30"/>
          <p:cNvGrpSpPr/>
          <p:nvPr/>
        </p:nvGrpSpPr>
        <p:grpSpPr>
          <a:xfrm>
            <a:off x="1805920" y="2502377"/>
            <a:ext cx="189000" cy="189000"/>
            <a:chOff x="1082050" y="2496471"/>
            <a:chExt cx="360000" cy="360000"/>
          </a:xfrm>
        </p:grpSpPr>
        <p:sp>
          <p:nvSpPr>
            <p:cNvPr id="534" name="Google Shape;534;p30"/>
            <p:cNvSpPr/>
            <p:nvPr/>
          </p:nvSpPr>
          <p:spPr>
            <a:xfrm>
              <a:off x="1082050" y="2496471"/>
              <a:ext cx="360000" cy="360000"/>
            </a:xfrm>
            <a:prstGeom prst="ellipse">
              <a:avLst/>
            </a:prstGeom>
            <a:solidFill>
              <a:schemeClr val="lt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5" name="Google Shape;535;p30"/>
            <p:cNvSpPr/>
            <p:nvPr/>
          </p:nvSpPr>
          <p:spPr>
            <a:xfrm rot="5400000">
              <a:off x="1176093" y="2635525"/>
              <a:ext cx="171915" cy="81892"/>
            </a:xfrm>
            <a:custGeom>
              <a:avLst/>
              <a:gdLst/>
              <a:ahLst/>
              <a:cxnLst/>
              <a:rect l="l" t="t" r="r" b="b"/>
              <a:pathLst>
                <a:path w="171915" h="99060" extrusionOk="0">
                  <a:moveTo>
                    <a:pt x="0" y="99060"/>
                  </a:moveTo>
                  <a:lnTo>
                    <a:pt x="85958" y="0"/>
                  </a:lnTo>
                  <a:lnTo>
                    <a:pt x="171915" y="99060"/>
                  </a:lnTo>
                </a:path>
              </a:pathLst>
            </a:custGeom>
            <a:solidFill>
              <a:schemeClr val="lt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highlight>
                  <a:srgbClr val="FFFF00"/>
                </a:highlight>
                <a:latin typeface="Calibri"/>
                <a:ea typeface="Calibri"/>
                <a:cs typeface="Calibri"/>
                <a:sym typeface="Calibri"/>
              </a:endParaRPr>
            </a:p>
          </p:txBody>
        </p:sp>
      </p:grpSp>
      <p:sp>
        <p:nvSpPr>
          <p:cNvPr id="536" name="Google Shape;536;p30"/>
          <p:cNvSpPr txBox="1"/>
          <p:nvPr/>
        </p:nvSpPr>
        <p:spPr>
          <a:xfrm>
            <a:off x="2505116" y="2066925"/>
            <a:ext cx="1670439" cy="906402"/>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rgbClr val="0F47F2"/>
              </a:buClr>
              <a:buSzPts val="1440"/>
              <a:buFont typeface="Noto Sans Symbols"/>
              <a:buNone/>
            </a:pPr>
            <a:r>
              <a:rPr lang="en-US" sz="1400" b="1" i="0" u="none" strike="noStrike" cap="none" dirty="0">
                <a:solidFill>
                  <a:schemeClr val="accent1"/>
                </a:solidFill>
                <a:latin typeface="Calibri"/>
                <a:ea typeface="Calibri"/>
                <a:cs typeface="Calibri"/>
                <a:sym typeface="Calibri"/>
              </a:rPr>
              <a:t>Call centers</a:t>
            </a:r>
            <a:br>
              <a:rPr lang="en-US" sz="1200" b="1" i="0" u="none" strike="noStrike" cap="none" dirty="0">
                <a:solidFill>
                  <a:srgbClr val="FFFFFF"/>
                </a:solidFill>
                <a:latin typeface="Calibri"/>
                <a:ea typeface="Calibri"/>
                <a:cs typeface="Calibri"/>
                <a:sym typeface="Calibri"/>
              </a:rPr>
            </a:br>
            <a:r>
              <a:rPr lang="en-US" sz="1200" b="0" i="0" u="none" strike="noStrike" cap="none" dirty="0">
                <a:solidFill>
                  <a:schemeClr val="dk1"/>
                </a:solidFill>
                <a:latin typeface="Calibri"/>
                <a:ea typeface="Calibri"/>
                <a:cs typeface="Calibri"/>
                <a:sym typeface="Calibri"/>
              </a:rPr>
              <a:t>handle basic,</a:t>
            </a:r>
            <a:br>
              <a:rPr lang="en-US" sz="1200" b="0" i="0" u="none" strike="noStrike" cap="none" dirty="0">
                <a:solidFill>
                  <a:schemeClr val="dk1"/>
                </a:solidFill>
                <a:latin typeface="Calibri"/>
                <a:ea typeface="Calibri"/>
                <a:cs typeface="Calibri"/>
                <a:sym typeface="Calibri"/>
              </a:rPr>
            </a:br>
            <a:r>
              <a:rPr lang="en-US" sz="1200" b="0" i="0" u="none" strike="noStrike" cap="none" dirty="0">
                <a:solidFill>
                  <a:schemeClr val="dk1"/>
                </a:solidFill>
                <a:latin typeface="Calibri"/>
                <a:ea typeface="Calibri"/>
                <a:cs typeface="Calibri"/>
                <a:sym typeface="Calibri"/>
              </a:rPr>
              <a:t>heavily processed conversations (sales, customer support)</a:t>
            </a:r>
            <a:endParaRPr sz="1200" b="0" i="0" u="none" strike="noStrike" cap="none" dirty="0">
              <a:solidFill>
                <a:schemeClr val="dk1"/>
              </a:solidFill>
              <a:latin typeface="Calibri"/>
              <a:ea typeface="Calibri"/>
              <a:cs typeface="Calibri"/>
              <a:sym typeface="Calibri"/>
            </a:endParaRPr>
          </a:p>
        </p:txBody>
      </p:sp>
      <p:sp>
        <p:nvSpPr>
          <p:cNvPr id="537" name="Google Shape;537;p30"/>
          <p:cNvSpPr txBox="1"/>
          <p:nvPr/>
        </p:nvSpPr>
        <p:spPr>
          <a:xfrm>
            <a:off x="4543451" y="2066925"/>
            <a:ext cx="1956942" cy="1111073"/>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rgbClr val="0F47F2"/>
              </a:buClr>
              <a:buSzPts val="1440"/>
              <a:buFont typeface="Noto Sans Symbols"/>
              <a:buNone/>
            </a:pPr>
            <a:r>
              <a:rPr lang="en-US" sz="1400" b="1" i="0" u="none" strike="noStrike" cap="none" dirty="0">
                <a:solidFill>
                  <a:schemeClr val="accent1"/>
                </a:solidFill>
                <a:latin typeface="Calibri"/>
                <a:ea typeface="Calibri"/>
                <a:cs typeface="Calibri"/>
                <a:sym typeface="Calibri"/>
              </a:rPr>
              <a:t>Business Process Outsourcing (BPO)</a:t>
            </a:r>
            <a:br>
              <a:rPr lang="en-US" sz="1200" b="1" i="0" u="none" strike="noStrike" cap="none" dirty="0">
                <a:solidFill>
                  <a:srgbClr val="FFFFFF"/>
                </a:solidFill>
                <a:latin typeface="Calibri"/>
                <a:ea typeface="Calibri"/>
                <a:cs typeface="Calibri"/>
                <a:sym typeface="Calibri"/>
              </a:rPr>
            </a:br>
            <a:r>
              <a:rPr lang="en-US" sz="1200" b="0" i="0" u="none" strike="noStrike" cap="none" dirty="0">
                <a:solidFill>
                  <a:schemeClr val="dk1"/>
                </a:solidFill>
                <a:latin typeface="Calibri"/>
                <a:ea typeface="Calibri"/>
                <a:cs typeface="Calibri"/>
                <a:sym typeface="Calibri"/>
              </a:rPr>
              <a:t>consists in transferring simple and repetitive processes, mostly handled by clerks (high school to bachelor degree)</a:t>
            </a:r>
            <a:endParaRPr sz="1200" b="0" i="0" u="none" strike="noStrike" cap="none" dirty="0">
              <a:solidFill>
                <a:schemeClr val="dk1"/>
              </a:solidFill>
              <a:latin typeface="Calibri"/>
              <a:ea typeface="Calibri"/>
              <a:cs typeface="Calibri"/>
              <a:sym typeface="Calibri"/>
            </a:endParaRPr>
          </a:p>
        </p:txBody>
      </p:sp>
      <p:sp>
        <p:nvSpPr>
          <p:cNvPr id="538" name="Google Shape;538;p30"/>
          <p:cNvSpPr txBox="1"/>
          <p:nvPr/>
        </p:nvSpPr>
        <p:spPr>
          <a:xfrm>
            <a:off x="6890467" y="2066925"/>
            <a:ext cx="2011939" cy="1111073"/>
          </a:xfrm>
          <a:prstGeom prst="rect">
            <a:avLst/>
          </a:prstGeom>
          <a:noFill/>
          <a:ln>
            <a:noFill/>
          </a:ln>
        </p:spPr>
        <p:txBody>
          <a:bodyPr spcFirstLastPara="1" wrap="square" lIns="0" tIns="0" rIns="0" bIns="0" anchor="t" anchorCtr="0">
            <a:spAutoFit/>
          </a:bodyPr>
          <a:lstStyle/>
          <a:p>
            <a:pPr marL="0" marR="0" lvl="1" indent="0" algn="l" rtl="0">
              <a:lnSpc>
                <a:spcPct val="95000"/>
              </a:lnSpc>
              <a:spcBef>
                <a:spcPts val="0"/>
              </a:spcBef>
              <a:spcAft>
                <a:spcPts val="0"/>
              </a:spcAft>
              <a:buClr>
                <a:srgbClr val="0F47F2"/>
              </a:buClr>
              <a:buSzPts val="1440"/>
              <a:buFont typeface="Noto Sans Symbols"/>
              <a:buNone/>
            </a:pPr>
            <a:r>
              <a:rPr lang="en-US" sz="1400" b="1" i="0" u="none" strike="noStrike" cap="none" dirty="0">
                <a:solidFill>
                  <a:schemeClr val="accent1"/>
                </a:solidFill>
                <a:latin typeface="Calibri"/>
                <a:ea typeface="Calibri"/>
                <a:cs typeface="Calibri"/>
                <a:sym typeface="Calibri"/>
              </a:rPr>
              <a:t>Knowledge Process Outsourcing (KPO)</a:t>
            </a:r>
            <a:br>
              <a:rPr lang="en-US" sz="1200" b="0" i="0" u="none" strike="noStrike" cap="none" dirty="0">
                <a:solidFill>
                  <a:srgbClr val="FFFFFF"/>
                </a:solidFill>
                <a:latin typeface="Calibri"/>
                <a:ea typeface="Calibri"/>
                <a:cs typeface="Calibri"/>
                <a:sym typeface="Calibri"/>
              </a:rPr>
            </a:br>
            <a:r>
              <a:rPr lang="en-US" sz="1200" b="0" i="0" u="none" strike="noStrike" cap="none" dirty="0">
                <a:solidFill>
                  <a:schemeClr val="dk1"/>
                </a:solidFill>
                <a:latin typeface="Calibri"/>
                <a:ea typeface="Calibri"/>
                <a:cs typeface="Calibri"/>
                <a:sym typeface="Calibri"/>
              </a:rPr>
              <a:t>transfers more complex processes, which don’t require extensive analytical thinking or client communication</a:t>
            </a:r>
            <a:endParaRPr sz="1200" b="0" i="0" u="none" strike="noStrike" cap="none" dirty="0">
              <a:solidFill>
                <a:schemeClr val="dk1"/>
              </a:solidFill>
              <a:latin typeface="Calibri"/>
              <a:ea typeface="Calibri"/>
              <a:cs typeface="Calibri"/>
              <a:sym typeface="Calibri"/>
            </a:endParaRPr>
          </a:p>
        </p:txBody>
      </p:sp>
      <p:grpSp>
        <p:nvGrpSpPr>
          <p:cNvPr id="539" name="Google Shape;539;p30"/>
          <p:cNvGrpSpPr/>
          <p:nvPr/>
        </p:nvGrpSpPr>
        <p:grpSpPr>
          <a:xfrm>
            <a:off x="2171765" y="2066925"/>
            <a:ext cx="286563" cy="264817"/>
            <a:chOff x="1961480" y="1780069"/>
            <a:chExt cx="399661" cy="369332"/>
          </a:xfrm>
        </p:grpSpPr>
        <p:sp>
          <p:nvSpPr>
            <p:cNvPr id="540" name="Google Shape;540;p30"/>
            <p:cNvSpPr txBox="1"/>
            <p:nvPr/>
          </p:nvSpPr>
          <p:spPr>
            <a:xfrm>
              <a:off x="2073144" y="1786233"/>
              <a:ext cx="287997" cy="34339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Calibri"/>
                  <a:ea typeface="Calibri"/>
                  <a:cs typeface="Calibri"/>
                  <a:sym typeface="Calibri"/>
                </a:rPr>
                <a:t>1</a:t>
              </a:r>
              <a:endParaRPr sz="1400" b="0" i="0" u="none" strike="noStrike" cap="none">
                <a:solidFill>
                  <a:srgbClr val="000000"/>
                </a:solidFill>
                <a:latin typeface="Calibri"/>
                <a:ea typeface="Calibri"/>
                <a:cs typeface="Calibri"/>
                <a:sym typeface="Calibri"/>
              </a:endParaRPr>
            </a:p>
          </p:txBody>
        </p:sp>
        <p:sp>
          <p:nvSpPr>
            <p:cNvPr id="541" name="Google Shape;541;p30"/>
            <p:cNvSpPr/>
            <p:nvPr/>
          </p:nvSpPr>
          <p:spPr>
            <a:xfrm>
              <a:off x="1961480" y="1780069"/>
              <a:ext cx="369332" cy="369332"/>
            </a:xfrm>
            <a:prstGeom prst="ellipse">
              <a:avLst/>
            </a:prstGeom>
            <a:noFill/>
            <a:ln w="158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Calibri"/>
                <a:ea typeface="Calibri"/>
                <a:cs typeface="Calibri"/>
                <a:sym typeface="Calibri"/>
              </a:endParaRPr>
            </a:p>
          </p:txBody>
        </p:sp>
      </p:grpSp>
      <p:grpSp>
        <p:nvGrpSpPr>
          <p:cNvPr id="542" name="Google Shape;542;p30"/>
          <p:cNvGrpSpPr/>
          <p:nvPr/>
        </p:nvGrpSpPr>
        <p:grpSpPr>
          <a:xfrm>
            <a:off x="4222343" y="2066925"/>
            <a:ext cx="274320" cy="274320"/>
            <a:chOff x="4021473" y="1780070"/>
            <a:chExt cx="369332" cy="369332"/>
          </a:xfrm>
        </p:grpSpPr>
        <p:sp>
          <p:nvSpPr>
            <p:cNvPr id="543" name="Google Shape;543;p30"/>
            <p:cNvSpPr txBox="1"/>
            <p:nvPr/>
          </p:nvSpPr>
          <p:spPr>
            <a:xfrm>
              <a:off x="4132278" y="1791983"/>
              <a:ext cx="232130" cy="3315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Calibri"/>
                  <a:ea typeface="Calibri"/>
                  <a:cs typeface="Calibri"/>
                  <a:sym typeface="Calibri"/>
                </a:rPr>
                <a:t>2</a:t>
              </a:r>
              <a:endParaRPr sz="1400" b="0" i="0" u="none" strike="noStrike" cap="none">
                <a:solidFill>
                  <a:srgbClr val="000000"/>
                </a:solidFill>
                <a:latin typeface="Calibri"/>
                <a:ea typeface="Calibri"/>
                <a:cs typeface="Calibri"/>
                <a:sym typeface="Calibri"/>
              </a:endParaRPr>
            </a:p>
          </p:txBody>
        </p:sp>
        <p:sp>
          <p:nvSpPr>
            <p:cNvPr id="544" name="Google Shape;544;p30"/>
            <p:cNvSpPr/>
            <p:nvPr/>
          </p:nvSpPr>
          <p:spPr>
            <a:xfrm>
              <a:off x="4021473" y="1780070"/>
              <a:ext cx="369332" cy="369332"/>
            </a:xfrm>
            <a:prstGeom prst="ellipse">
              <a:avLst/>
            </a:prstGeom>
            <a:noFill/>
            <a:ln w="158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Calibri"/>
                <a:ea typeface="Calibri"/>
                <a:cs typeface="Calibri"/>
                <a:sym typeface="Calibri"/>
              </a:endParaRPr>
            </a:p>
          </p:txBody>
        </p:sp>
      </p:grpSp>
      <p:grpSp>
        <p:nvGrpSpPr>
          <p:cNvPr id="545" name="Google Shape;545;p30"/>
          <p:cNvGrpSpPr/>
          <p:nvPr/>
        </p:nvGrpSpPr>
        <p:grpSpPr>
          <a:xfrm>
            <a:off x="6547181" y="2066925"/>
            <a:ext cx="296498" cy="274320"/>
            <a:chOff x="6397650" y="1780070"/>
            <a:chExt cx="399191" cy="369332"/>
          </a:xfrm>
        </p:grpSpPr>
        <p:sp>
          <p:nvSpPr>
            <p:cNvPr id="546" name="Google Shape;546;p30"/>
            <p:cNvSpPr txBox="1"/>
            <p:nvPr/>
          </p:nvSpPr>
          <p:spPr>
            <a:xfrm>
              <a:off x="6508844" y="1791983"/>
              <a:ext cx="287997" cy="3315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a:solidFill>
                    <a:schemeClr val="accent1"/>
                  </a:solidFill>
                  <a:latin typeface="Calibri"/>
                  <a:ea typeface="Calibri"/>
                  <a:cs typeface="Calibri"/>
                  <a:sym typeface="Calibri"/>
                </a:rPr>
                <a:t>3</a:t>
              </a:r>
              <a:endParaRPr sz="1400" b="0" i="0" u="none" strike="noStrike" cap="none">
                <a:solidFill>
                  <a:srgbClr val="000000"/>
                </a:solidFill>
                <a:latin typeface="Calibri"/>
                <a:ea typeface="Calibri"/>
                <a:cs typeface="Calibri"/>
                <a:sym typeface="Calibri"/>
              </a:endParaRPr>
            </a:p>
          </p:txBody>
        </p:sp>
        <p:sp>
          <p:nvSpPr>
            <p:cNvPr id="547" name="Google Shape;547;p30"/>
            <p:cNvSpPr/>
            <p:nvPr/>
          </p:nvSpPr>
          <p:spPr>
            <a:xfrm>
              <a:off x="6397650" y="1780070"/>
              <a:ext cx="369332" cy="369332"/>
            </a:xfrm>
            <a:prstGeom prst="ellipse">
              <a:avLst/>
            </a:prstGeom>
            <a:noFill/>
            <a:ln w="158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Calibri"/>
                <a:ea typeface="Calibri"/>
                <a:cs typeface="Calibri"/>
                <a:sym typeface="Calibri"/>
              </a:endParaRPr>
            </a:p>
          </p:txBody>
        </p:sp>
      </p:grpSp>
      <p:sp>
        <p:nvSpPr>
          <p:cNvPr id="548" name="Google Shape;548;p30"/>
          <p:cNvSpPr txBox="1"/>
          <p:nvPr/>
        </p:nvSpPr>
        <p:spPr>
          <a:xfrm>
            <a:off x="9615077" y="2047468"/>
            <a:ext cx="1610233" cy="906402"/>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43E1D3"/>
              </a:buClr>
              <a:buSzPts val="1600"/>
              <a:buFont typeface="Arial"/>
              <a:buNone/>
            </a:pPr>
            <a:r>
              <a:rPr lang="en-US" sz="1400" b="1" i="0" u="none" strike="noStrike" cap="none" dirty="0">
                <a:solidFill>
                  <a:schemeClr val="accent1"/>
                </a:solidFill>
                <a:latin typeface="Calibri"/>
                <a:ea typeface="Calibri"/>
                <a:cs typeface="Calibri"/>
                <a:sym typeface="Calibri"/>
              </a:rPr>
              <a:t>Brainshoring</a:t>
            </a:r>
            <a:br>
              <a:rPr lang="en-US" sz="1400" b="0" i="0" u="none" strike="noStrike" cap="none" dirty="0">
                <a:solidFill>
                  <a:srgbClr val="FFFFFF"/>
                </a:solidFill>
                <a:latin typeface="Calibri"/>
                <a:ea typeface="Calibri"/>
                <a:cs typeface="Calibri"/>
                <a:sym typeface="Calibri"/>
              </a:rPr>
            </a:br>
            <a:r>
              <a:rPr lang="en-US" sz="1200" b="0" i="0" u="none" strike="noStrike" cap="none" dirty="0">
                <a:solidFill>
                  <a:schemeClr val="lt1"/>
                </a:solidFill>
                <a:latin typeface="Calibri"/>
                <a:ea typeface="Calibri"/>
                <a:cs typeface="Calibri"/>
                <a:sym typeface="Calibri"/>
              </a:rPr>
              <a:t>transfers tasks which require substantial client collaboration </a:t>
            </a:r>
            <a:r>
              <a:rPr lang="en-US" sz="1200" b="1" i="0" u="none" strike="noStrike" cap="none" dirty="0">
                <a:solidFill>
                  <a:schemeClr val="lt1"/>
                </a:solidFill>
                <a:latin typeface="Calibri"/>
                <a:ea typeface="Calibri"/>
                <a:cs typeface="Calibri"/>
                <a:sym typeface="Calibri"/>
              </a:rPr>
              <a:t>AND</a:t>
            </a:r>
            <a:r>
              <a:rPr lang="en-US" sz="1200" b="0" i="0" u="none" strike="noStrike" cap="none" dirty="0">
                <a:solidFill>
                  <a:schemeClr val="lt1"/>
                </a:solidFill>
                <a:latin typeface="Calibri"/>
                <a:ea typeface="Calibri"/>
                <a:cs typeface="Calibri"/>
                <a:sym typeface="Calibri"/>
              </a:rPr>
              <a:t> problem solving skills</a:t>
            </a:r>
            <a:endParaRPr sz="1200" b="0" i="0" u="none" strike="noStrike" cap="none" dirty="0">
              <a:solidFill>
                <a:schemeClr val="lt1"/>
              </a:solidFill>
              <a:latin typeface="Calibri"/>
              <a:ea typeface="Calibri"/>
              <a:cs typeface="Calibri"/>
              <a:sym typeface="Calibri"/>
            </a:endParaRPr>
          </a:p>
        </p:txBody>
      </p:sp>
      <p:grpSp>
        <p:nvGrpSpPr>
          <p:cNvPr id="549" name="Google Shape;549;p30"/>
          <p:cNvGrpSpPr/>
          <p:nvPr/>
        </p:nvGrpSpPr>
        <p:grpSpPr>
          <a:xfrm>
            <a:off x="9175147" y="2085925"/>
            <a:ext cx="324066" cy="335325"/>
            <a:chOff x="9077857" y="1352487"/>
            <a:chExt cx="335325" cy="335325"/>
          </a:xfrm>
        </p:grpSpPr>
        <p:sp>
          <p:nvSpPr>
            <p:cNvPr id="550" name="Google Shape;550;p30"/>
            <p:cNvSpPr txBox="1"/>
            <p:nvPr/>
          </p:nvSpPr>
          <p:spPr>
            <a:xfrm>
              <a:off x="9187612" y="1381650"/>
              <a:ext cx="145508"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accent1"/>
                  </a:solidFill>
                  <a:latin typeface="Calibri"/>
                  <a:ea typeface="Calibri"/>
                  <a:cs typeface="Calibri"/>
                  <a:sym typeface="Calibri"/>
                </a:rPr>
                <a:t>4</a:t>
              </a:r>
              <a:endParaRPr sz="1400" b="0" i="0" u="none" strike="noStrike" cap="none">
                <a:solidFill>
                  <a:srgbClr val="000000"/>
                </a:solidFill>
                <a:latin typeface="Calibri"/>
                <a:ea typeface="Calibri"/>
                <a:cs typeface="Calibri"/>
                <a:sym typeface="Calibri"/>
              </a:endParaRPr>
            </a:p>
          </p:txBody>
        </p:sp>
        <p:sp>
          <p:nvSpPr>
            <p:cNvPr id="551" name="Google Shape;551;p30"/>
            <p:cNvSpPr/>
            <p:nvPr/>
          </p:nvSpPr>
          <p:spPr>
            <a:xfrm>
              <a:off x="9077857" y="1352487"/>
              <a:ext cx="335325" cy="335325"/>
            </a:xfrm>
            <a:prstGeom prst="ellipse">
              <a:avLst/>
            </a:prstGeom>
            <a:noFill/>
            <a:ln w="2857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B9FF"/>
                </a:solidFill>
                <a:latin typeface="Calibri"/>
                <a:ea typeface="Calibri"/>
                <a:cs typeface="Calibri"/>
                <a:sym typeface="Calibri"/>
              </a:endParaRPr>
            </a:p>
          </p:txBody>
        </p:sp>
      </p:grpSp>
      <p:sp>
        <p:nvSpPr>
          <p:cNvPr id="552" name="Google Shape;552;p30"/>
          <p:cNvSpPr txBox="1"/>
          <p:nvPr/>
        </p:nvSpPr>
        <p:spPr>
          <a:xfrm>
            <a:off x="539400" y="2066925"/>
            <a:ext cx="1157288" cy="102393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43E1D3"/>
              </a:buClr>
              <a:buSzPts val="1600"/>
              <a:buFont typeface="Arial"/>
              <a:buNone/>
            </a:pPr>
            <a:r>
              <a:rPr lang="en-US" sz="1400" b="1" i="0" u="none" strike="noStrike" cap="none" dirty="0">
                <a:solidFill>
                  <a:schemeClr val="accent1"/>
                </a:solidFill>
                <a:latin typeface="Calibri"/>
                <a:ea typeface="Calibri"/>
                <a:cs typeface="Calibri"/>
                <a:sym typeface="Calibri"/>
              </a:rPr>
              <a:t>In service outsourcing  there are four possible levels of value add</a:t>
            </a:r>
            <a:endParaRPr sz="1400" b="1" i="0" u="none" strike="noStrike" cap="none" dirty="0">
              <a:solidFill>
                <a:schemeClr val="accent1"/>
              </a:solidFill>
              <a:latin typeface="Calibri"/>
              <a:ea typeface="Calibri"/>
              <a:cs typeface="Calibri"/>
              <a:sym typeface="Calibri"/>
            </a:endParaRPr>
          </a:p>
        </p:txBody>
      </p:sp>
      <p:sp>
        <p:nvSpPr>
          <p:cNvPr id="553" name="Google Shape;553;p30"/>
          <p:cNvSpPr/>
          <p:nvPr/>
        </p:nvSpPr>
        <p:spPr>
          <a:xfrm>
            <a:off x="6250084" y="5581473"/>
            <a:ext cx="409508" cy="409509"/>
          </a:xfrm>
          <a:prstGeom prst="ellipse">
            <a:avLst/>
          </a:prstGeom>
          <a:noFill/>
          <a:ln w="9525"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222222"/>
              </a:solidFill>
              <a:latin typeface="Calibri"/>
              <a:ea typeface="Calibri"/>
              <a:cs typeface="Calibri"/>
              <a:sym typeface="Calibri"/>
            </a:endParaRPr>
          </a:p>
        </p:txBody>
      </p:sp>
      <p:sp>
        <p:nvSpPr>
          <p:cNvPr id="554" name="Google Shape;554;p30"/>
          <p:cNvSpPr/>
          <p:nvPr/>
        </p:nvSpPr>
        <p:spPr>
          <a:xfrm>
            <a:off x="6274617" y="4471440"/>
            <a:ext cx="409508" cy="409509"/>
          </a:xfrm>
          <a:prstGeom prst="ellipse">
            <a:avLst/>
          </a:prstGeom>
          <a:noFill/>
          <a:ln w="9525"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222222"/>
              </a:solidFill>
              <a:latin typeface="Calibri"/>
              <a:ea typeface="Calibri"/>
              <a:cs typeface="Calibri"/>
              <a:sym typeface="Calibri"/>
            </a:endParaRPr>
          </a:p>
        </p:txBody>
      </p:sp>
      <p:sp>
        <p:nvSpPr>
          <p:cNvPr id="555" name="Google Shape;555;p30"/>
          <p:cNvSpPr/>
          <p:nvPr/>
        </p:nvSpPr>
        <p:spPr>
          <a:xfrm>
            <a:off x="6250084" y="3995071"/>
            <a:ext cx="409508" cy="409509"/>
          </a:xfrm>
          <a:prstGeom prst="ellipse">
            <a:avLst/>
          </a:prstGeom>
          <a:noFill/>
          <a:ln w="9525"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222222"/>
              </a:solidFill>
              <a:latin typeface="Calibri"/>
              <a:ea typeface="Calibri"/>
              <a:cs typeface="Calibri"/>
              <a:sym typeface="Calibri"/>
            </a:endParaRPr>
          </a:p>
        </p:txBody>
      </p:sp>
      <p:sp>
        <p:nvSpPr>
          <p:cNvPr id="556" name="Google Shape;556;p30"/>
          <p:cNvSpPr/>
          <p:nvPr/>
        </p:nvSpPr>
        <p:spPr>
          <a:xfrm>
            <a:off x="879865" y="4059960"/>
            <a:ext cx="411479" cy="411480"/>
          </a:xfrm>
          <a:prstGeom prst="ellipse">
            <a:avLst/>
          </a:prstGeom>
          <a:noFill/>
          <a:ln w="9525"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222222"/>
              </a:solidFill>
              <a:latin typeface="Calibri"/>
              <a:ea typeface="Calibri"/>
              <a:cs typeface="Calibri"/>
              <a:sym typeface="Calibri"/>
            </a:endParaRPr>
          </a:p>
        </p:txBody>
      </p:sp>
      <p:sp>
        <p:nvSpPr>
          <p:cNvPr id="557" name="Google Shape;557;p30"/>
          <p:cNvSpPr/>
          <p:nvPr/>
        </p:nvSpPr>
        <p:spPr>
          <a:xfrm>
            <a:off x="879865" y="4599838"/>
            <a:ext cx="411479" cy="411480"/>
          </a:xfrm>
          <a:prstGeom prst="ellipse">
            <a:avLst/>
          </a:prstGeom>
          <a:noFill/>
          <a:ln w="9525"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7F7F7F"/>
              </a:solidFill>
              <a:latin typeface="Calibri"/>
              <a:ea typeface="Calibri"/>
              <a:cs typeface="Calibri"/>
              <a:sym typeface="Calibri"/>
            </a:endParaRPr>
          </a:p>
        </p:txBody>
      </p:sp>
      <p:sp>
        <p:nvSpPr>
          <p:cNvPr id="558" name="Google Shape;558;p30"/>
          <p:cNvSpPr/>
          <p:nvPr/>
        </p:nvSpPr>
        <p:spPr>
          <a:xfrm>
            <a:off x="879865" y="5100007"/>
            <a:ext cx="411479" cy="411480"/>
          </a:xfrm>
          <a:prstGeom prst="ellipse">
            <a:avLst/>
          </a:prstGeom>
          <a:noFill/>
          <a:ln w="9525"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7F7F7F"/>
              </a:solidFill>
              <a:latin typeface="Calibri"/>
              <a:ea typeface="Calibri"/>
              <a:cs typeface="Calibri"/>
              <a:sym typeface="Calibri"/>
            </a:endParaRPr>
          </a:p>
        </p:txBody>
      </p:sp>
      <p:grpSp>
        <p:nvGrpSpPr>
          <p:cNvPr id="559" name="Google Shape;559;p30"/>
          <p:cNvGrpSpPr/>
          <p:nvPr/>
        </p:nvGrpSpPr>
        <p:grpSpPr>
          <a:xfrm>
            <a:off x="879865" y="5627652"/>
            <a:ext cx="411479" cy="411480"/>
            <a:chOff x="677591" y="5735170"/>
            <a:chExt cx="411479" cy="411480"/>
          </a:xfrm>
        </p:grpSpPr>
        <p:sp>
          <p:nvSpPr>
            <p:cNvPr id="560" name="Google Shape;560;p30"/>
            <p:cNvSpPr/>
            <p:nvPr/>
          </p:nvSpPr>
          <p:spPr>
            <a:xfrm>
              <a:off x="677591" y="5735170"/>
              <a:ext cx="411479" cy="411480"/>
            </a:xfrm>
            <a:prstGeom prst="ellipse">
              <a:avLst/>
            </a:prstGeom>
            <a:noFill/>
            <a:ln w="9525" cap="flat" cmpd="sng">
              <a:solidFill>
                <a:schemeClr val="lt2"/>
              </a:solidFill>
              <a:prstDash val="solid"/>
              <a:miter lim="800000"/>
              <a:headEnd type="none" w="sm" len="sm"/>
              <a:tailEnd type="none" w="sm" len="sm"/>
            </a:ln>
          </p:spPr>
          <p:txBody>
            <a:bodyPr spcFirstLastPara="1" wrap="square" lIns="0" tIns="468000" rIns="0" bIns="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a:solidFill>
                  <a:srgbClr val="7F7F7F"/>
                </a:solidFill>
                <a:latin typeface="Calibri"/>
                <a:ea typeface="Calibri"/>
                <a:cs typeface="Calibri"/>
                <a:sym typeface="Calibri"/>
              </a:endParaRPr>
            </a:p>
          </p:txBody>
        </p:sp>
        <p:pic>
          <p:nvPicPr>
            <p:cNvPr id="561" name="Google Shape;561;p30" descr="Connections outline"/>
            <p:cNvPicPr preferRelativeResize="0"/>
            <p:nvPr/>
          </p:nvPicPr>
          <p:blipFill rotWithShape="1">
            <a:blip r:embed="rId6">
              <a:alphaModFix/>
            </a:blip>
            <a:srcRect/>
            <a:stretch/>
          </p:blipFill>
          <p:spPr>
            <a:xfrm>
              <a:off x="720918" y="5778498"/>
              <a:ext cx="324824" cy="324824"/>
            </a:xfrm>
            <a:prstGeom prst="rect">
              <a:avLst/>
            </a:prstGeom>
            <a:noFill/>
            <a:ln>
              <a:noFill/>
            </a:ln>
          </p:spPr>
        </p:pic>
      </p:grpSp>
      <p:grpSp>
        <p:nvGrpSpPr>
          <p:cNvPr id="562" name="Google Shape;562;p30"/>
          <p:cNvGrpSpPr/>
          <p:nvPr/>
        </p:nvGrpSpPr>
        <p:grpSpPr>
          <a:xfrm>
            <a:off x="993560" y="4132821"/>
            <a:ext cx="166231" cy="263072"/>
            <a:chOff x="4548166" y="981075"/>
            <a:chExt cx="3091739" cy="4892896"/>
          </a:xfrm>
        </p:grpSpPr>
        <p:sp>
          <p:nvSpPr>
            <p:cNvPr id="563" name="Google Shape;563;p30"/>
            <p:cNvSpPr/>
            <p:nvPr/>
          </p:nvSpPr>
          <p:spPr>
            <a:xfrm>
              <a:off x="6422230" y="2877407"/>
              <a:ext cx="1163002" cy="1917668"/>
            </a:xfrm>
            <a:custGeom>
              <a:avLst/>
              <a:gdLst/>
              <a:ahLst/>
              <a:cxnLst/>
              <a:rect l="l" t="t" r="r" b="b"/>
              <a:pathLst>
                <a:path w="1163002" h="1917668" extrusionOk="0">
                  <a:moveTo>
                    <a:pt x="1163003" y="338709"/>
                  </a:moveTo>
                  <a:cubicBezTo>
                    <a:pt x="1106519" y="519398"/>
                    <a:pt x="1008697" y="679323"/>
                    <a:pt x="880681" y="812959"/>
                  </a:cubicBezTo>
                  <a:cubicBezTo>
                    <a:pt x="696278" y="1006793"/>
                    <a:pt x="573977" y="1253300"/>
                    <a:pt x="573977" y="1522476"/>
                  </a:cubicBezTo>
                  <a:lnTo>
                    <a:pt x="573977" y="1917668"/>
                  </a:lnTo>
                  <a:lnTo>
                    <a:pt x="0" y="1917668"/>
                  </a:lnTo>
                  <a:lnTo>
                    <a:pt x="0" y="1055751"/>
                  </a:lnTo>
                  <a:cubicBezTo>
                    <a:pt x="35719" y="1091470"/>
                    <a:pt x="86582" y="1114044"/>
                    <a:pt x="141161" y="1114044"/>
                  </a:cubicBezTo>
                  <a:cubicBezTo>
                    <a:pt x="252222" y="1114044"/>
                    <a:pt x="340614" y="1025557"/>
                    <a:pt x="340614" y="914590"/>
                  </a:cubicBezTo>
                  <a:cubicBezTo>
                    <a:pt x="340614" y="803624"/>
                    <a:pt x="252127" y="715137"/>
                    <a:pt x="141161" y="715137"/>
                  </a:cubicBezTo>
                  <a:cubicBezTo>
                    <a:pt x="86582" y="715137"/>
                    <a:pt x="35814" y="737711"/>
                    <a:pt x="0" y="773430"/>
                  </a:cubicBezTo>
                  <a:lnTo>
                    <a:pt x="0" y="338709"/>
                  </a:lnTo>
                  <a:lnTo>
                    <a:pt x="494919" y="338709"/>
                  </a:lnTo>
                  <a:cubicBezTo>
                    <a:pt x="459200" y="302990"/>
                    <a:pt x="438436" y="254032"/>
                    <a:pt x="438436" y="199454"/>
                  </a:cubicBezTo>
                  <a:cubicBezTo>
                    <a:pt x="438436" y="88392"/>
                    <a:pt x="526923" y="0"/>
                    <a:pt x="637889" y="0"/>
                  </a:cubicBezTo>
                  <a:cubicBezTo>
                    <a:pt x="748855" y="0"/>
                    <a:pt x="837343" y="88487"/>
                    <a:pt x="837343" y="199454"/>
                  </a:cubicBezTo>
                  <a:cubicBezTo>
                    <a:pt x="837343" y="254032"/>
                    <a:pt x="816673" y="302990"/>
                    <a:pt x="780860" y="338709"/>
                  </a:cubicBezTo>
                  <a:lnTo>
                    <a:pt x="1162907" y="338709"/>
                  </a:ln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64" name="Google Shape;564;p30"/>
            <p:cNvSpPr/>
            <p:nvPr/>
          </p:nvSpPr>
          <p:spPr>
            <a:xfrm>
              <a:off x="6422325" y="1637156"/>
              <a:ext cx="1217580" cy="1578959"/>
            </a:xfrm>
            <a:custGeom>
              <a:avLst/>
              <a:gdLst/>
              <a:ahLst/>
              <a:cxnLst/>
              <a:rect l="l" t="t" r="r" b="b"/>
              <a:pathLst>
                <a:path w="1217580" h="1578959" extrusionOk="0">
                  <a:moveTo>
                    <a:pt x="1217485" y="1217676"/>
                  </a:moveTo>
                  <a:cubicBezTo>
                    <a:pt x="1217485" y="1343787"/>
                    <a:pt x="1198626" y="1466088"/>
                    <a:pt x="1162907" y="1578959"/>
                  </a:cubicBezTo>
                  <a:lnTo>
                    <a:pt x="780859" y="1578959"/>
                  </a:lnTo>
                  <a:cubicBezTo>
                    <a:pt x="816578" y="1543241"/>
                    <a:pt x="837343" y="1494282"/>
                    <a:pt x="837343" y="1439704"/>
                  </a:cubicBezTo>
                  <a:cubicBezTo>
                    <a:pt x="837343" y="1328642"/>
                    <a:pt x="748856" y="1240250"/>
                    <a:pt x="637889" y="1240250"/>
                  </a:cubicBezTo>
                  <a:cubicBezTo>
                    <a:pt x="526923" y="1240250"/>
                    <a:pt x="438436" y="1328738"/>
                    <a:pt x="438436" y="1439704"/>
                  </a:cubicBezTo>
                  <a:cubicBezTo>
                    <a:pt x="438436" y="1494282"/>
                    <a:pt x="459105" y="1543241"/>
                    <a:pt x="494919" y="1578959"/>
                  </a:cubicBezTo>
                  <a:lnTo>
                    <a:pt x="0" y="1578959"/>
                  </a:lnTo>
                  <a:lnTo>
                    <a:pt x="0" y="942880"/>
                  </a:lnTo>
                  <a:cubicBezTo>
                    <a:pt x="35719" y="978599"/>
                    <a:pt x="86582" y="1001173"/>
                    <a:pt x="141161" y="1001173"/>
                  </a:cubicBezTo>
                  <a:cubicBezTo>
                    <a:pt x="252222" y="1001173"/>
                    <a:pt x="340614" y="912686"/>
                    <a:pt x="340614" y="801719"/>
                  </a:cubicBezTo>
                  <a:cubicBezTo>
                    <a:pt x="340614" y="690753"/>
                    <a:pt x="252127" y="602266"/>
                    <a:pt x="141161" y="602266"/>
                  </a:cubicBezTo>
                  <a:cubicBezTo>
                    <a:pt x="86582" y="602266"/>
                    <a:pt x="35814" y="624840"/>
                    <a:pt x="0" y="660559"/>
                  </a:cubicBezTo>
                  <a:lnTo>
                    <a:pt x="0" y="0"/>
                  </a:lnTo>
                  <a:cubicBezTo>
                    <a:pt x="671798" y="0"/>
                    <a:pt x="1217581" y="545782"/>
                    <a:pt x="1217581" y="1217581"/>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nvGrpSpPr>
            <p:cNvPr id="565" name="Google Shape;565;p30"/>
            <p:cNvGrpSpPr/>
            <p:nvPr/>
          </p:nvGrpSpPr>
          <p:grpSpPr>
            <a:xfrm>
              <a:off x="5622702" y="4795361"/>
              <a:ext cx="1599057" cy="1078610"/>
              <a:chOff x="5622702" y="4795361"/>
              <a:chExt cx="1599057" cy="1078610"/>
            </a:xfrm>
          </p:grpSpPr>
          <p:sp>
            <p:nvSpPr>
              <p:cNvPr id="566" name="Google Shape;566;p30"/>
              <p:cNvSpPr/>
              <p:nvPr/>
            </p:nvSpPr>
            <p:spPr>
              <a:xfrm>
                <a:off x="5622702" y="4795361"/>
                <a:ext cx="1599057" cy="359473"/>
              </a:xfrm>
              <a:custGeom>
                <a:avLst/>
                <a:gdLst/>
                <a:ahLst/>
                <a:cxnLst/>
                <a:rect l="l" t="t" r="r" b="b"/>
                <a:pathLst>
                  <a:path w="1599057" h="359473" extrusionOk="0">
                    <a:moveTo>
                      <a:pt x="1419320" y="359473"/>
                    </a:moveTo>
                    <a:lnTo>
                      <a:pt x="179737" y="359473"/>
                    </a:lnTo>
                    <a:cubicBezTo>
                      <a:pt x="80486" y="359473"/>
                      <a:pt x="0" y="278987"/>
                      <a:pt x="0" y="179737"/>
                    </a:cubicBezTo>
                    <a:lnTo>
                      <a:pt x="0" y="179737"/>
                    </a:lnTo>
                    <a:cubicBezTo>
                      <a:pt x="0" y="80486"/>
                      <a:pt x="80486" y="0"/>
                      <a:pt x="179737" y="0"/>
                    </a:cubicBezTo>
                    <a:lnTo>
                      <a:pt x="1419320" y="0"/>
                    </a:lnTo>
                    <a:cubicBezTo>
                      <a:pt x="1518571" y="0"/>
                      <a:pt x="1599057" y="80486"/>
                      <a:pt x="1599057" y="179737"/>
                    </a:cubicBezTo>
                    <a:lnTo>
                      <a:pt x="1599057" y="179737"/>
                    </a:lnTo>
                    <a:cubicBezTo>
                      <a:pt x="1599057" y="278987"/>
                      <a:pt x="1518571" y="359473"/>
                      <a:pt x="1419320" y="359473"/>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67" name="Google Shape;567;p30"/>
              <p:cNvSpPr/>
              <p:nvPr/>
            </p:nvSpPr>
            <p:spPr>
              <a:xfrm>
                <a:off x="5706522" y="5154930"/>
                <a:ext cx="1431321" cy="359473"/>
              </a:xfrm>
              <a:custGeom>
                <a:avLst/>
                <a:gdLst/>
                <a:ahLst/>
                <a:cxnLst/>
                <a:rect l="l" t="t" r="r" b="b"/>
                <a:pathLst>
                  <a:path w="1431321" h="359473" extrusionOk="0">
                    <a:moveTo>
                      <a:pt x="1251585" y="359473"/>
                    </a:moveTo>
                    <a:lnTo>
                      <a:pt x="179737" y="359473"/>
                    </a:lnTo>
                    <a:cubicBezTo>
                      <a:pt x="80486" y="359473"/>
                      <a:pt x="0" y="278987"/>
                      <a:pt x="0" y="179737"/>
                    </a:cubicBezTo>
                    <a:lnTo>
                      <a:pt x="0" y="179737"/>
                    </a:lnTo>
                    <a:cubicBezTo>
                      <a:pt x="0" y="80486"/>
                      <a:pt x="80486" y="0"/>
                      <a:pt x="179737" y="0"/>
                    </a:cubicBezTo>
                    <a:lnTo>
                      <a:pt x="1251585" y="0"/>
                    </a:lnTo>
                    <a:cubicBezTo>
                      <a:pt x="1350835" y="0"/>
                      <a:pt x="1431322" y="80486"/>
                      <a:pt x="1431322" y="179737"/>
                    </a:cubicBezTo>
                    <a:lnTo>
                      <a:pt x="1431322" y="179737"/>
                    </a:lnTo>
                    <a:cubicBezTo>
                      <a:pt x="1431322" y="278987"/>
                      <a:pt x="1350835" y="359473"/>
                      <a:pt x="1251585" y="359473"/>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68" name="Google Shape;568;p30"/>
              <p:cNvSpPr/>
              <p:nvPr/>
            </p:nvSpPr>
            <p:spPr>
              <a:xfrm>
                <a:off x="6037706" y="5514403"/>
                <a:ext cx="768858" cy="359568"/>
              </a:xfrm>
              <a:custGeom>
                <a:avLst/>
                <a:gdLst/>
                <a:ahLst/>
                <a:cxnLst/>
                <a:rect l="l" t="t" r="r" b="b"/>
                <a:pathLst>
                  <a:path w="768858" h="359568" extrusionOk="0">
                    <a:moveTo>
                      <a:pt x="95" y="0"/>
                    </a:moveTo>
                    <a:lnTo>
                      <a:pt x="768858" y="0"/>
                    </a:lnTo>
                    <a:cubicBezTo>
                      <a:pt x="768858" y="198406"/>
                      <a:pt x="607790" y="359569"/>
                      <a:pt x="409289" y="359569"/>
                    </a:cubicBezTo>
                    <a:lnTo>
                      <a:pt x="359569" y="359569"/>
                    </a:lnTo>
                    <a:cubicBezTo>
                      <a:pt x="161163" y="359569"/>
                      <a:pt x="0" y="198501"/>
                      <a:pt x="0" y="0"/>
                    </a:cubicBezTo>
                    <a:lnTo>
                      <a:pt x="0" y="0"/>
                    </a:ln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69" name="Google Shape;569;p30"/>
            <p:cNvSpPr/>
            <p:nvPr/>
          </p:nvSpPr>
          <p:spPr>
            <a:xfrm>
              <a:off x="5259228" y="2877407"/>
              <a:ext cx="1503616" cy="1917668"/>
            </a:xfrm>
            <a:custGeom>
              <a:avLst/>
              <a:gdLst/>
              <a:ahLst/>
              <a:cxnLst/>
              <a:rect l="l" t="t" r="r" b="b"/>
              <a:pathLst>
                <a:path w="1503616" h="1917668" extrusionOk="0">
                  <a:moveTo>
                    <a:pt x="1503616" y="914590"/>
                  </a:moveTo>
                  <a:cubicBezTo>
                    <a:pt x="1503616" y="1025652"/>
                    <a:pt x="1415129" y="1114044"/>
                    <a:pt x="1304163" y="1114044"/>
                  </a:cubicBezTo>
                  <a:cubicBezTo>
                    <a:pt x="1249585" y="1114044"/>
                    <a:pt x="1198816" y="1091470"/>
                    <a:pt x="1163003" y="1055751"/>
                  </a:cubicBezTo>
                  <a:lnTo>
                    <a:pt x="1163003" y="1917668"/>
                  </a:lnTo>
                  <a:lnTo>
                    <a:pt x="589026" y="1917668"/>
                  </a:lnTo>
                  <a:lnTo>
                    <a:pt x="589026" y="1522476"/>
                  </a:lnTo>
                  <a:cubicBezTo>
                    <a:pt x="589026" y="1253395"/>
                    <a:pt x="468535" y="1006793"/>
                    <a:pt x="282321" y="812959"/>
                  </a:cubicBezTo>
                  <a:cubicBezTo>
                    <a:pt x="154400" y="681228"/>
                    <a:pt x="56483" y="519398"/>
                    <a:pt x="0" y="338709"/>
                  </a:cubicBezTo>
                  <a:lnTo>
                    <a:pt x="382048" y="338709"/>
                  </a:lnTo>
                  <a:cubicBezTo>
                    <a:pt x="346329" y="302990"/>
                    <a:pt x="325565" y="254032"/>
                    <a:pt x="325565" y="199454"/>
                  </a:cubicBezTo>
                  <a:cubicBezTo>
                    <a:pt x="325565" y="88392"/>
                    <a:pt x="414052" y="0"/>
                    <a:pt x="525018" y="0"/>
                  </a:cubicBezTo>
                  <a:cubicBezTo>
                    <a:pt x="635984" y="0"/>
                    <a:pt x="724472" y="88487"/>
                    <a:pt x="724472" y="199454"/>
                  </a:cubicBezTo>
                  <a:cubicBezTo>
                    <a:pt x="724472" y="254032"/>
                    <a:pt x="703802" y="302990"/>
                    <a:pt x="667988" y="338709"/>
                  </a:cubicBezTo>
                  <a:lnTo>
                    <a:pt x="1162907" y="338709"/>
                  </a:lnTo>
                  <a:lnTo>
                    <a:pt x="1162907" y="773430"/>
                  </a:lnTo>
                  <a:cubicBezTo>
                    <a:pt x="1198626" y="737711"/>
                    <a:pt x="1249490" y="715137"/>
                    <a:pt x="1304068" y="715137"/>
                  </a:cubicBezTo>
                  <a:cubicBezTo>
                    <a:pt x="1415129" y="715137"/>
                    <a:pt x="1503521" y="803624"/>
                    <a:pt x="1503521" y="914590"/>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70" name="Google Shape;570;p30"/>
            <p:cNvSpPr/>
            <p:nvPr/>
          </p:nvSpPr>
          <p:spPr>
            <a:xfrm>
              <a:off x="4548166" y="981075"/>
              <a:ext cx="1558501" cy="1578959"/>
            </a:xfrm>
            <a:custGeom>
              <a:avLst/>
              <a:gdLst/>
              <a:ahLst/>
              <a:cxnLst/>
              <a:rect l="l" t="t" r="r" b="b"/>
              <a:pathLst>
                <a:path w="1558501" h="1578959" extrusionOk="0">
                  <a:moveTo>
                    <a:pt x="1558501" y="801719"/>
                  </a:moveTo>
                  <a:cubicBezTo>
                    <a:pt x="1558501" y="912781"/>
                    <a:pt x="1470014" y="1001173"/>
                    <a:pt x="1359048" y="1001173"/>
                  </a:cubicBezTo>
                  <a:cubicBezTo>
                    <a:pt x="1304470" y="1001173"/>
                    <a:pt x="1253701" y="978599"/>
                    <a:pt x="1217887" y="942880"/>
                  </a:cubicBezTo>
                  <a:lnTo>
                    <a:pt x="1217887" y="1578959"/>
                  </a:lnTo>
                  <a:lnTo>
                    <a:pt x="722968" y="1578959"/>
                  </a:lnTo>
                  <a:cubicBezTo>
                    <a:pt x="758687" y="1543241"/>
                    <a:pt x="779452" y="1494282"/>
                    <a:pt x="779452" y="1439704"/>
                  </a:cubicBezTo>
                  <a:cubicBezTo>
                    <a:pt x="779452" y="1328642"/>
                    <a:pt x="690964" y="1240250"/>
                    <a:pt x="579998" y="1240250"/>
                  </a:cubicBezTo>
                  <a:cubicBezTo>
                    <a:pt x="469032" y="1240250"/>
                    <a:pt x="380545" y="1328738"/>
                    <a:pt x="380545" y="1439704"/>
                  </a:cubicBezTo>
                  <a:cubicBezTo>
                    <a:pt x="380545" y="1494282"/>
                    <a:pt x="401214" y="1543241"/>
                    <a:pt x="437028" y="1578959"/>
                  </a:cubicBezTo>
                  <a:lnTo>
                    <a:pt x="54885" y="1578959"/>
                  </a:lnTo>
                  <a:cubicBezTo>
                    <a:pt x="52980" y="1575149"/>
                    <a:pt x="52980" y="1569530"/>
                    <a:pt x="51075" y="1565815"/>
                  </a:cubicBezTo>
                  <a:cubicBezTo>
                    <a:pt x="-3503" y="1385126"/>
                    <a:pt x="-16648" y="1187577"/>
                    <a:pt x="22881" y="980504"/>
                  </a:cubicBezTo>
                  <a:cubicBezTo>
                    <a:pt x="111368" y="509969"/>
                    <a:pt x="485796" y="126111"/>
                    <a:pt x="954426" y="28194"/>
                  </a:cubicBezTo>
                  <a:cubicBezTo>
                    <a:pt x="1042913" y="9335"/>
                    <a:pt x="1131305" y="0"/>
                    <a:pt x="1217887" y="0"/>
                  </a:cubicBezTo>
                  <a:lnTo>
                    <a:pt x="1217887" y="660559"/>
                  </a:lnTo>
                  <a:cubicBezTo>
                    <a:pt x="1253606" y="624840"/>
                    <a:pt x="1304470" y="602266"/>
                    <a:pt x="1359048" y="602266"/>
                  </a:cubicBezTo>
                  <a:cubicBezTo>
                    <a:pt x="1470109" y="602266"/>
                    <a:pt x="1558501" y="690753"/>
                    <a:pt x="1558501" y="801719"/>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571" name="Google Shape;571;p30"/>
          <p:cNvGrpSpPr/>
          <p:nvPr/>
        </p:nvGrpSpPr>
        <p:grpSpPr>
          <a:xfrm>
            <a:off x="997361" y="4683349"/>
            <a:ext cx="176487" cy="244459"/>
            <a:chOff x="4333970" y="985818"/>
            <a:chExt cx="3528250" cy="4887105"/>
          </a:xfrm>
        </p:grpSpPr>
        <p:grpSp>
          <p:nvGrpSpPr>
            <p:cNvPr id="572" name="Google Shape;572;p30"/>
            <p:cNvGrpSpPr/>
            <p:nvPr/>
          </p:nvGrpSpPr>
          <p:grpSpPr>
            <a:xfrm>
              <a:off x="4333970" y="2902933"/>
              <a:ext cx="3528250" cy="2969990"/>
              <a:chOff x="4333970" y="2902933"/>
              <a:chExt cx="3528250" cy="2969990"/>
            </a:xfrm>
          </p:grpSpPr>
          <p:sp>
            <p:nvSpPr>
              <p:cNvPr id="573" name="Google Shape;573;p30"/>
              <p:cNvSpPr/>
              <p:nvPr/>
            </p:nvSpPr>
            <p:spPr>
              <a:xfrm>
                <a:off x="4333970" y="2902933"/>
                <a:ext cx="1764125" cy="2969990"/>
              </a:xfrm>
              <a:custGeom>
                <a:avLst/>
                <a:gdLst/>
                <a:ahLst/>
                <a:cxnLst/>
                <a:rect l="l" t="t" r="r" b="b"/>
                <a:pathLst>
                  <a:path w="1764125" h="2969990" extrusionOk="0">
                    <a:moveTo>
                      <a:pt x="1764125" y="2968181"/>
                    </a:moveTo>
                    <a:lnTo>
                      <a:pt x="1764125" y="2151317"/>
                    </a:lnTo>
                    <a:cubicBezTo>
                      <a:pt x="1764125" y="1906810"/>
                      <a:pt x="1659827" y="1673924"/>
                      <a:pt x="1477328" y="1511141"/>
                    </a:cubicBezTo>
                    <a:lnTo>
                      <a:pt x="941070" y="1032605"/>
                    </a:lnTo>
                    <a:cubicBezTo>
                      <a:pt x="844487" y="925163"/>
                      <a:pt x="672274" y="926211"/>
                      <a:pt x="577691" y="1043845"/>
                    </a:cubicBezTo>
                    <a:cubicBezTo>
                      <a:pt x="503396" y="1136142"/>
                      <a:pt x="516636" y="1271968"/>
                      <a:pt x="595789" y="1360075"/>
                    </a:cubicBezTo>
                    <a:lnTo>
                      <a:pt x="1008031" y="1818703"/>
                    </a:lnTo>
                    <a:lnTo>
                      <a:pt x="1006316" y="1819085"/>
                    </a:lnTo>
                    <a:lnTo>
                      <a:pt x="623697" y="1393222"/>
                    </a:lnTo>
                    <a:cubicBezTo>
                      <a:pt x="501301" y="1257014"/>
                      <a:pt x="434150" y="1079944"/>
                      <a:pt x="435388" y="896874"/>
                    </a:cubicBezTo>
                    <a:lnTo>
                      <a:pt x="440436" y="221647"/>
                    </a:lnTo>
                    <a:cubicBezTo>
                      <a:pt x="441198" y="99441"/>
                      <a:pt x="342424" y="0"/>
                      <a:pt x="220218" y="0"/>
                    </a:cubicBezTo>
                    <a:lnTo>
                      <a:pt x="220218" y="0"/>
                    </a:lnTo>
                    <a:cubicBezTo>
                      <a:pt x="98584" y="0"/>
                      <a:pt x="0" y="98584"/>
                      <a:pt x="0" y="220218"/>
                    </a:cubicBezTo>
                    <a:lnTo>
                      <a:pt x="0" y="1101661"/>
                    </a:lnTo>
                    <a:cubicBezTo>
                      <a:pt x="0" y="1363599"/>
                      <a:pt x="83915" y="1618678"/>
                      <a:pt x="239459" y="1829467"/>
                    </a:cubicBezTo>
                    <a:lnTo>
                      <a:pt x="705136" y="2460498"/>
                    </a:lnTo>
                    <a:cubicBezTo>
                      <a:pt x="765524" y="2543556"/>
                      <a:pt x="798386" y="2643569"/>
                      <a:pt x="798862" y="2746343"/>
                    </a:cubicBezTo>
                    <a:lnTo>
                      <a:pt x="801624" y="296999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74" name="Google Shape;574;p30"/>
              <p:cNvSpPr/>
              <p:nvPr/>
            </p:nvSpPr>
            <p:spPr>
              <a:xfrm>
                <a:off x="6098095" y="2902933"/>
                <a:ext cx="1764125" cy="2969990"/>
              </a:xfrm>
              <a:custGeom>
                <a:avLst/>
                <a:gdLst/>
                <a:ahLst/>
                <a:cxnLst/>
                <a:rect l="l" t="t" r="r" b="b"/>
                <a:pathLst>
                  <a:path w="1764125" h="2969990" extrusionOk="0">
                    <a:moveTo>
                      <a:pt x="0" y="2968181"/>
                    </a:moveTo>
                    <a:lnTo>
                      <a:pt x="0" y="2151317"/>
                    </a:lnTo>
                    <a:cubicBezTo>
                      <a:pt x="0" y="1906810"/>
                      <a:pt x="104299" y="1673924"/>
                      <a:pt x="286798" y="1511141"/>
                    </a:cubicBezTo>
                    <a:lnTo>
                      <a:pt x="823055" y="1032605"/>
                    </a:lnTo>
                    <a:cubicBezTo>
                      <a:pt x="919639" y="925163"/>
                      <a:pt x="1091851" y="926211"/>
                      <a:pt x="1186434" y="1043845"/>
                    </a:cubicBezTo>
                    <a:cubicBezTo>
                      <a:pt x="1260729" y="1136142"/>
                      <a:pt x="1247489" y="1271968"/>
                      <a:pt x="1168337" y="1360075"/>
                    </a:cubicBezTo>
                    <a:lnTo>
                      <a:pt x="756095" y="1818703"/>
                    </a:lnTo>
                    <a:lnTo>
                      <a:pt x="757809" y="1819085"/>
                    </a:lnTo>
                    <a:lnTo>
                      <a:pt x="1140428" y="1393222"/>
                    </a:lnTo>
                    <a:cubicBezTo>
                      <a:pt x="1262824" y="1257014"/>
                      <a:pt x="1329976" y="1079944"/>
                      <a:pt x="1328738" y="896874"/>
                    </a:cubicBezTo>
                    <a:lnTo>
                      <a:pt x="1323689" y="221647"/>
                    </a:lnTo>
                    <a:cubicBezTo>
                      <a:pt x="1322927" y="99441"/>
                      <a:pt x="1421702" y="0"/>
                      <a:pt x="1543907" y="0"/>
                    </a:cubicBezTo>
                    <a:lnTo>
                      <a:pt x="1543907" y="0"/>
                    </a:lnTo>
                    <a:cubicBezTo>
                      <a:pt x="1665541" y="0"/>
                      <a:pt x="1764125" y="98584"/>
                      <a:pt x="1764125" y="220218"/>
                    </a:cubicBezTo>
                    <a:lnTo>
                      <a:pt x="1764125" y="1101661"/>
                    </a:lnTo>
                    <a:cubicBezTo>
                      <a:pt x="1764125" y="1363599"/>
                      <a:pt x="1680210" y="1618678"/>
                      <a:pt x="1524667" y="1829467"/>
                    </a:cubicBezTo>
                    <a:lnTo>
                      <a:pt x="1058989" y="2460498"/>
                    </a:lnTo>
                    <a:cubicBezTo>
                      <a:pt x="998601" y="2543556"/>
                      <a:pt x="965740" y="2643569"/>
                      <a:pt x="965263" y="2746343"/>
                    </a:cubicBezTo>
                    <a:lnTo>
                      <a:pt x="962501" y="296999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575" name="Google Shape;575;p30"/>
            <p:cNvGrpSpPr/>
            <p:nvPr/>
          </p:nvGrpSpPr>
          <p:grpSpPr>
            <a:xfrm>
              <a:off x="5202458" y="985818"/>
              <a:ext cx="1791272" cy="3160413"/>
              <a:chOff x="5202458" y="985818"/>
              <a:chExt cx="1791272" cy="3160413"/>
            </a:xfrm>
          </p:grpSpPr>
          <p:sp>
            <p:nvSpPr>
              <p:cNvPr id="576" name="Google Shape;576;p30"/>
              <p:cNvSpPr/>
              <p:nvPr/>
            </p:nvSpPr>
            <p:spPr>
              <a:xfrm>
                <a:off x="5202458" y="985818"/>
                <a:ext cx="1791272" cy="2321832"/>
              </a:xfrm>
              <a:custGeom>
                <a:avLst/>
                <a:gdLst/>
                <a:ahLst/>
                <a:cxnLst/>
                <a:rect l="l" t="t" r="r" b="b"/>
                <a:pathLst>
                  <a:path w="1791272" h="2321832" extrusionOk="0">
                    <a:moveTo>
                      <a:pt x="1791273" y="895654"/>
                    </a:moveTo>
                    <a:cubicBezTo>
                      <a:pt x="1791273" y="337584"/>
                      <a:pt x="1280924" y="-101232"/>
                      <a:pt x="701423" y="20402"/>
                    </a:cubicBezTo>
                    <a:cubicBezTo>
                      <a:pt x="357189" y="92697"/>
                      <a:pt x="82393" y="375494"/>
                      <a:pt x="16670" y="720966"/>
                    </a:cubicBezTo>
                    <a:cubicBezTo>
                      <a:pt x="-41908" y="1028814"/>
                      <a:pt x="58294" y="1312182"/>
                      <a:pt x="248223" y="1509826"/>
                    </a:cubicBezTo>
                    <a:cubicBezTo>
                      <a:pt x="384907" y="1652035"/>
                      <a:pt x="473299" y="1833581"/>
                      <a:pt x="473299" y="2030939"/>
                    </a:cubicBezTo>
                    <a:lnTo>
                      <a:pt x="473299" y="2321833"/>
                    </a:lnTo>
                    <a:lnTo>
                      <a:pt x="1318071" y="2321833"/>
                    </a:lnTo>
                    <a:lnTo>
                      <a:pt x="1318071" y="2031034"/>
                    </a:lnTo>
                    <a:cubicBezTo>
                      <a:pt x="1318071" y="1833390"/>
                      <a:pt x="1406939" y="1651844"/>
                      <a:pt x="1543718" y="1509255"/>
                    </a:cubicBezTo>
                    <a:cubicBezTo>
                      <a:pt x="1696690" y="1349711"/>
                      <a:pt x="1791273" y="1134541"/>
                      <a:pt x="1791273" y="895654"/>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nvGrpSpPr>
              <p:cNvPr id="577" name="Google Shape;577;p30"/>
              <p:cNvGrpSpPr/>
              <p:nvPr/>
            </p:nvGrpSpPr>
            <p:grpSpPr>
              <a:xfrm>
                <a:off x="5767673" y="3536917"/>
                <a:ext cx="660749" cy="609314"/>
                <a:chOff x="5767673" y="3536917"/>
                <a:chExt cx="660749" cy="609314"/>
              </a:xfrm>
            </p:grpSpPr>
            <p:sp>
              <p:nvSpPr>
                <p:cNvPr id="578" name="Google Shape;578;p30"/>
                <p:cNvSpPr/>
                <p:nvPr/>
              </p:nvSpPr>
              <p:spPr>
                <a:xfrm>
                  <a:off x="5767673" y="3536917"/>
                  <a:ext cx="660749" cy="9525"/>
                </a:xfrm>
                <a:custGeom>
                  <a:avLst/>
                  <a:gdLst/>
                  <a:ahLst/>
                  <a:cxnLst/>
                  <a:rect l="l" t="t" r="r" b="b"/>
                  <a:pathLst>
                    <a:path w="660749" h="9525" extrusionOk="0">
                      <a:moveTo>
                        <a:pt x="0" y="0"/>
                      </a:moveTo>
                      <a:lnTo>
                        <a:pt x="660749"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79" name="Google Shape;579;p30"/>
                <p:cNvSpPr/>
                <p:nvPr/>
              </p:nvSpPr>
              <p:spPr>
                <a:xfrm>
                  <a:off x="5813679" y="3773804"/>
                  <a:ext cx="568737" cy="9525"/>
                </a:xfrm>
                <a:custGeom>
                  <a:avLst/>
                  <a:gdLst/>
                  <a:ahLst/>
                  <a:cxnLst/>
                  <a:rect l="l" t="t" r="r" b="b"/>
                  <a:pathLst>
                    <a:path w="568737" h="9525" extrusionOk="0">
                      <a:moveTo>
                        <a:pt x="0" y="0"/>
                      </a:moveTo>
                      <a:lnTo>
                        <a:pt x="568738"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0" name="Google Shape;580;p30"/>
                <p:cNvSpPr/>
                <p:nvPr/>
              </p:nvSpPr>
              <p:spPr>
                <a:xfrm>
                  <a:off x="5879591" y="4013929"/>
                  <a:ext cx="427100" cy="132302"/>
                </a:xfrm>
                <a:custGeom>
                  <a:avLst/>
                  <a:gdLst/>
                  <a:ahLst/>
                  <a:cxnLst/>
                  <a:rect l="l" t="t" r="r" b="b"/>
                  <a:pathLst>
                    <a:path w="427100" h="132302" extrusionOk="0">
                      <a:moveTo>
                        <a:pt x="427101" y="0"/>
                      </a:moveTo>
                      <a:cubicBezTo>
                        <a:pt x="388049" y="78391"/>
                        <a:pt x="307086" y="132302"/>
                        <a:pt x="213550" y="132302"/>
                      </a:cubicBezTo>
                      <a:cubicBezTo>
                        <a:pt x="120015" y="132302"/>
                        <a:pt x="39053" y="78391"/>
                        <a:pt x="0" y="0"/>
                      </a:cubicBez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81" name="Google Shape;581;p30"/>
              <p:cNvSpPr/>
              <p:nvPr/>
            </p:nvSpPr>
            <p:spPr>
              <a:xfrm>
                <a:off x="6098095" y="2262377"/>
                <a:ext cx="9525" cy="1045368"/>
              </a:xfrm>
              <a:custGeom>
                <a:avLst/>
                <a:gdLst/>
                <a:ahLst/>
                <a:cxnLst/>
                <a:rect l="l" t="t" r="r" b="b"/>
                <a:pathLst>
                  <a:path w="9525" h="1045368" extrusionOk="0">
                    <a:moveTo>
                      <a:pt x="0" y="0"/>
                    </a:moveTo>
                    <a:lnTo>
                      <a:pt x="0" y="1045369"/>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2" name="Google Shape;582;p30"/>
              <p:cNvSpPr/>
              <p:nvPr/>
            </p:nvSpPr>
            <p:spPr>
              <a:xfrm>
                <a:off x="5864542" y="2262377"/>
                <a:ext cx="467010" cy="9525"/>
              </a:xfrm>
              <a:custGeom>
                <a:avLst/>
                <a:gdLst/>
                <a:ahLst/>
                <a:cxnLst/>
                <a:rect l="l" t="t" r="r" b="b"/>
                <a:pathLst>
                  <a:path w="467010" h="9525" extrusionOk="0">
                    <a:moveTo>
                      <a:pt x="0" y="0"/>
                    </a:moveTo>
                    <a:lnTo>
                      <a:pt x="467011"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3" name="Google Shape;583;p30"/>
              <p:cNvSpPr/>
              <p:nvPr/>
            </p:nvSpPr>
            <p:spPr>
              <a:xfrm>
                <a:off x="5579649" y="1331880"/>
                <a:ext cx="392144" cy="333756"/>
              </a:xfrm>
              <a:custGeom>
                <a:avLst/>
                <a:gdLst/>
                <a:ahLst/>
                <a:cxnLst/>
                <a:rect l="l" t="t" r="r" b="b"/>
                <a:pathLst>
                  <a:path w="392144" h="333756" extrusionOk="0">
                    <a:moveTo>
                      <a:pt x="0" y="333756"/>
                    </a:moveTo>
                    <a:cubicBezTo>
                      <a:pt x="67151" y="166783"/>
                      <a:pt x="213265" y="40100"/>
                      <a:pt x="392144" y="0"/>
                    </a:cubicBez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grpSp>
        <p:nvGrpSpPr>
          <p:cNvPr id="584" name="Google Shape;584;p30"/>
          <p:cNvGrpSpPr/>
          <p:nvPr/>
        </p:nvGrpSpPr>
        <p:grpSpPr>
          <a:xfrm>
            <a:off x="976622" y="5187437"/>
            <a:ext cx="213454" cy="234175"/>
            <a:chOff x="3862387" y="981075"/>
            <a:chExt cx="4468557" cy="4902326"/>
          </a:xfrm>
        </p:grpSpPr>
        <p:sp>
          <p:nvSpPr>
            <p:cNvPr id="585" name="Google Shape;585;p30"/>
            <p:cNvSpPr/>
            <p:nvPr/>
          </p:nvSpPr>
          <p:spPr>
            <a:xfrm>
              <a:off x="5496781" y="2615469"/>
              <a:ext cx="1199769" cy="1199769"/>
            </a:xfrm>
            <a:custGeom>
              <a:avLst/>
              <a:gdLst/>
              <a:ahLst/>
              <a:cxnLst/>
              <a:rect l="l" t="t" r="r" b="b"/>
              <a:pathLst>
                <a:path w="1199769" h="1199769" extrusionOk="0">
                  <a:moveTo>
                    <a:pt x="1199769" y="599885"/>
                  </a:moveTo>
                  <a:cubicBezTo>
                    <a:pt x="1199769" y="931192"/>
                    <a:pt x="931191" y="1199769"/>
                    <a:pt x="599884" y="1199769"/>
                  </a:cubicBezTo>
                  <a:cubicBezTo>
                    <a:pt x="268577" y="1199769"/>
                    <a:pt x="0" y="931192"/>
                    <a:pt x="0" y="599885"/>
                  </a:cubicBezTo>
                  <a:cubicBezTo>
                    <a:pt x="0" y="268578"/>
                    <a:pt x="268577" y="0"/>
                    <a:pt x="599884" y="0"/>
                  </a:cubicBezTo>
                  <a:cubicBezTo>
                    <a:pt x="931191" y="0"/>
                    <a:pt x="1199769" y="268578"/>
                    <a:pt x="1199769" y="599885"/>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6" name="Google Shape;586;p30"/>
            <p:cNvSpPr/>
            <p:nvPr/>
          </p:nvSpPr>
          <p:spPr>
            <a:xfrm>
              <a:off x="4027645" y="5873876"/>
              <a:ext cx="4138041" cy="9525"/>
            </a:xfrm>
            <a:custGeom>
              <a:avLst/>
              <a:gdLst/>
              <a:ahLst/>
              <a:cxnLst/>
              <a:rect l="l" t="t" r="r" b="b"/>
              <a:pathLst>
                <a:path w="4138041" h="9525" extrusionOk="0">
                  <a:moveTo>
                    <a:pt x="0" y="0"/>
                  </a:moveTo>
                  <a:lnTo>
                    <a:pt x="4138041"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nvGrpSpPr>
            <p:cNvPr id="587" name="Google Shape;587;p30"/>
            <p:cNvGrpSpPr/>
            <p:nvPr/>
          </p:nvGrpSpPr>
          <p:grpSpPr>
            <a:xfrm>
              <a:off x="4460652" y="4130516"/>
              <a:ext cx="3272123" cy="1743360"/>
              <a:chOff x="4460652" y="4130516"/>
              <a:chExt cx="3272123" cy="1743360"/>
            </a:xfrm>
          </p:grpSpPr>
          <p:sp>
            <p:nvSpPr>
              <p:cNvPr id="588" name="Google Shape;588;p30"/>
              <p:cNvSpPr/>
              <p:nvPr/>
            </p:nvSpPr>
            <p:spPr>
              <a:xfrm>
                <a:off x="5919857" y="4130516"/>
                <a:ext cx="353789" cy="1222914"/>
              </a:xfrm>
              <a:custGeom>
                <a:avLst/>
                <a:gdLst/>
                <a:ahLst/>
                <a:cxnLst/>
                <a:rect l="l" t="t" r="r" b="b"/>
                <a:pathLst>
                  <a:path w="353789" h="1222914" extrusionOk="0">
                    <a:moveTo>
                      <a:pt x="336734" y="898398"/>
                    </a:moveTo>
                    <a:lnTo>
                      <a:pt x="176428" y="1222915"/>
                    </a:lnTo>
                    <a:lnTo>
                      <a:pt x="16884" y="898208"/>
                    </a:lnTo>
                    <a:cubicBezTo>
                      <a:pt x="4883" y="873728"/>
                      <a:pt x="-927" y="846677"/>
                      <a:pt x="120" y="819436"/>
                    </a:cubicBezTo>
                    <a:lnTo>
                      <a:pt x="30029" y="0"/>
                    </a:lnTo>
                    <a:lnTo>
                      <a:pt x="323780" y="0"/>
                    </a:lnTo>
                    <a:lnTo>
                      <a:pt x="353688" y="819245"/>
                    </a:lnTo>
                    <a:cubicBezTo>
                      <a:pt x="354641" y="846582"/>
                      <a:pt x="348831" y="873728"/>
                      <a:pt x="336734" y="898303"/>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89" name="Google Shape;589;p30"/>
              <p:cNvSpPr/>
              <p:nvPr/>
            </p:nvSpPr>
            <p:spPr>
              <a:xfrm>
                <a:off x="4460652" y="4130611"/>
                <a:ext cx="3272123" cy="1743265"/>
              </a:xfrm>
              <a:custGeom>
                <a:avLst/>
                <a:gdLst/>
                <a:ahLst/>
                <a:cxnLst/>
                <a:rect l="l" t="t" r="r" b="b"/>
                <a:pathLst>
                  <a:path w="3272123" h="1743265" extrusionOk="0">
                    <a:moveTo>
                      <a:pt x="2757488" y="956977"/>
                    </a:moveTo>
                    <a:lnTo>
                      <a:pt x="2576608" y="363569"/>
                    </a:lnTo>
                    <a:cubicBezTo>
                      <a:pt x="2510790" y="147638"/>
                      <a:pt x="2311527" y="0"/>
                      <a:pt x="2085785" y="0"/>
                    </a:cubicBezTo>
                    <a:lnTo>
                      <a:pt x="1186339" y="0"/>
                    </a:lnTo>
                    <a:cubicBezTo>
                      <a:pt x="960596" y="0"/>
                      <a:pt x="761333" y="147542"/>
                      <a:pt x="695516" y="363569"/>
                    </a:cubicBezTo>
                    <a:lnTo>
                      <a:pt x="514636" y="956977"/>
                    </a:lnTo>
                    <a:cubicBezTo>
                      <a:pt x="499205" y="1007745"/>
                      <a:pt x="475869" y="1055846"/>
                      <a:pt x="445675" y="1099471"/>
                    </a:cubicBezTo>
                    <a:lnTo>
                      <a:pt x="0" y="1743265"/>
                    </a:lnTo>
                    <a:lnTo>
                      <a:pt x="539401" y="1743265"/>
                    </a:lnTo>
                    <a:cubicBezTo>
                      <a:pt x="539401" y="1743265"/>
                      <a:pt x="983075" y="1033558"/>
                      <a:pt x="983075" y="1033558"/>
                    </a:cubicBezTo>
                    <a:lnTo>
                      <a:pt x="983075" y="1743265"/>
                    </a:lnTo>
                    <a:lnTo>
                      <a:pt x="2288953" y="1743265"/>
                    </a:lnTo>
                    <a:lnTo>
                      <a:pt x="2288953" y="1033558"/>
                    </a:lnTo>
                    <a:lnTo>
                      <a:pt x="2732628" y="1743265"/>
                    </a:lnTo>
                    <a:lnTo>
                      <a:pt x="3272123" y="1743265"/>
                    </a:lnTo>
                    <a:cubicBezTo>
                      <a:pt x="3272123" y="1743265"/>
                      <a:pt x="2826449" y="1099471"/>
                      <a:pt x="2826449" y="1099471"/>
                    </a:cubicBezTo>
                    <a:cubicBezTo>
                      <a:pt x="2796254" y="1055846"/>
                      <a:pt x="2773013" y="1007745"/>
                      <a:pt x="2757488" y="956977"/>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90" name="Google Shape;590;p30"/>
              <p:cNvSpPr/>
              <p:nvPr/>
            </p:nvSpPr>
            <p:spPr>
              <a:xfrm>
                <a:off x="6749605" y="4916709"/>
                <a:ext cx="9525" cy="247554"/>
              </a:xfrm>
              <a:custGeom>
                <a:avLst/>
                <a:gdLst/>
                <a:ahLst/>
                <a:cxnLst/>
                <a:rect l="l" t="t" r="r" b="b"/>
                <a:pathLst>
                  <a:path w="9525" h="247554" extrusionOk="0">
                    <a:moveTo>
                      <a:pt x="0" y="247555"/>
                    </a:moveTo>
                    <a:lnTo>
                      <a:pt x="0"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91" name="Google Shape;591;p30"/>
              <p:cNvSpPr/>
              <p:nvPr/>
            </p:nvSpPr>
            <p:spPr>
              <a:xfrm>
                <a:off x="5443727" y="4916709"/>
                <a:ext cx="9525" cy="247554"/>
              </a:xfrm>
              <a:custGeom>
                <a:avLst/>
                <a:gdLst/>
                <a:ahLst/>
                <a:cxnLst/>
                <a:rect l="l" t="t" r="r" b="b"/>
                <a:pathLst>
                  <a:path w="9525" h="247554" extrusionOk="0">
                    <a:moveTo>
                      <a:pt x="0" y="247555"/>
                    </a:moveTo>
                    <a:lnTo>
                      <a:pt x="0"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592" name="Google Shape;592;p30"/>
            <p:cNvSpPr/>
            <p:nvPr/>
          </p:nvSpPr>
          <p:spPr>
            <a:xfrm>
              <a:off x="5760052" y="981075"/>
              <a:ext cx="673227" cy="1157001"/>
            </a:xfrm>
            <a:custGeom>
              <a:avLst/>
              <a:gdLst/>
              <a:ahLst/>
              <a:cxnLst/>
              <a:rect l="l" t="t" r="r" b="b"/>
              <a:pathLst>
                <a:path w="673227" h="1157001" extrusionOk="0">
                  <a:moveTo>
                    <a:pt x="469583" y="831152"/>
                  </a:moveTo>
                  <a:lnTo>
                    <a:pt x="469583" y="0"/>
                  </a:lnTo>
                  <a:lnTo>
                    <a:pt x="203645" y="0"/>
                  </a:lnTo>
                  <a:lnTo>
                    <a:pt x="203645" y="831152"/>
                  </a:lnTo>
                  <a:lnTo>
                    <a:pt x="0" y="831152"/>
                  </a:lnTo>
                  <a:lnTo>
                    <a:pt x="336614" y="1157002"/>
                  </a:lnTo>
                  <a:lnTo>
                    <a:pt x="673227" y="831152"/>
                  </a:lnTo>
                  <a:lnTo>
                    <a:pt x="469583" y="831152"/>
                  </a:ln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93" name="Google Shape;593;p30"/>
            <p:cNvSpPr/>
            <p:nvPr/>
          </p:nvSpPr>
          <p:spPr>
            <a:xfrm>
              <a:off x="6850855" y="1541430"/>
              <a:ext cx="919733" cy="919829"/>
            </a:xfrm>
            <a:custGeom>
              <a:avLst/>
              <a:gdLst/>
              <a:ahLst/>
              <a:cxnLst/>
              <a:rect l="l" t="t" r="r" b="b"/>
              <a:pathLst>
                <a:path w="919733" h="919829" extrusionOk="0">
                  <a:moveTo>
                    <a:pt x="332041" y="775811"/>
                  </a:moveTo>
                  <a:lnTo>
                    <a:pt x="919734" y="188119"/>
                  </a:lnTo>
                  <a:lnTo>
                    <a:pt x="731711" y="0"/>
                  </a:lnTo>
                  <a:lnTo>
                    <a:pt x="143923" y="587693"/>
                  </a:lnTo>
                  <a:lnTo>
                    <a:pt x="0" y="443770"/>
                  </a:lnTo>
                  <a:lnTo>
                    <a:pt x="7620" y="912114"/>
                  </a:lnTo>
                  <a:lnTo>
                    <a:pt x="476060" y="919829"/>
                  </a:lnTo>
                  <a:lnTo>
                    <a:pt x="332041" y="775811"/>
                  </a:ln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94" name="Google Shape;594;p30"/>
            <p:cNvSpPr/>
            <p:nvPr/>
          </p:nvSpPr>
          <p:spPr>
            <a:xfrm>
              <a:off x="7174038" y="2878740"/>
              <a:ext cx="1156906" cy="673227"/>
            </a:xfrm>
            <a:custGeom>
              <a:avLst/>
              <a:gdLst/>
              <a:ahLst/>
              <a:cxnLst/>
              <a:rect l="l" t="t" r="r" b="b"/>
              <a:pathLst>
                <a:path w="1156906" h="673227" extrusionOk="0">
                  <a:moveTo>
                    <a:pt x="325755" y="469583"/>
                  </a:moveTo>
                  <a:lnTo>
                    <a:pt x="1156907" y="469583"/>
                  </a:lnTo>
                  <a:lnTo>
                    <a:pt x="1156907" y="203645"/>
                  </a:lnTo>
                  <a:lnTo>
                    <a:pt x="325755" y="203645"/>
                  </a:lnTo>
                  <a:lnTo>
                    <a:pt x="325755" y="0"/>
                  </a:lnTo>
                  <a:lnTo>
                    <a:pt x="0" y="336614"/>
                  </a:lnTo>
                  <a:lnTo>
                    <a:pt x="325755" y="673227"/>
                  </a:lnTo>
                  <a:lnTo>
                    <a:pt x="325755" y="469583"/>
                  </a:ln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95" name="Google Shape;595;p30"/>
            <p:cNvSpPr/>
            <p:nvPr/>
          </p:nvSpPr>
          <p:spPr>
            <a:xfrm>
              <a:off x="3862387" y="2878740"/>
              <a:ext cx="1157001" cy="673227"/>
            </a:xfrm>
            <a:custGeom>
              <a:avLst/>
              <a:gdLst/>
              <a:ahLst/>
              <a:cxnLst/>
              <a:rect l="l" t="t" r="r" b="b"/>
              <a:pathLst>
                <a:path w="1157001" h="673227" extrusionOk="0">
                  <a:moveTo>
                    <a:pt x="831152" y="203645"/>
                  </a:moveTo>
                  <a:lnTo>
                    <a:pt x="0" y="203645"/>
                  </a:lnTo>
                  <a:lnTo>
                    <a:pt x="0" y="469583"/>
                  </a:lnTo>
                  <a:lnTo>
                    <a:pt x="831152" y="469583"/>
                  </a:lnTo>
                  <a:lnTo>
                    <a:pt x="831152" y="673227"/>
                  </a:lnTo>
                  <a:lnTo>
                    <a:pt x="1157002" y="336614"/>
                  </a:lnTo>
                  <a:lnTo>
                    <a:pt x="831152" y="0"/>
                  </a:lnTo>
                  <a:lnTo>
                    <a:pt x="831152" y="203645"/>
                  </a:ln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596" name="Google Shape;596;p30"/>
            <p:cNvSpPr/>
            <p:nvPr/>
          </p:nvSpPr>
          <p:spPr>
            <a:xfrm>
              <a:off x="4422742" y="1541430"/>
              <a:ext cx="919829" cy="919829"/>
            </a:xfrm>
            <a:custGeom>
              <a:avLst/>
              <a:gdLst/>
              <a:ahLst/>
              <a:cxnLst/>
              <a:rect l="l" t="t" r="r" b="b"/>
              <a:pathLst>
                <a:path w="919829" h="919829" extrusionOk="0">
                  <a:moveTo>
                    <a:pt x="775811" y="587693"/>
                  </a:moveTo>
                  <a:lnTo>
                    <a:pt x="188119" y="0"/>
                  </a:lnTo>
                  <a:lnTo>
                    <a:pt x="0" y="188119"/>
                  </a:lnTo>
                  <a:lnTo>
                    <a:pt x="587693" y="775811"/>
                  </a:lnTo>
                  <a:lnTo>
                    <a:pt x="443770" y="919829"/>
                  </a:lnTo>
                  <a:lnTo>
                    <a:pt x="912114" y="912114"/>
                  </a:lnTo>
                  <a:lnTo>
                    <a:pt x="919829" y="443770"/>
                  </a:lnTo>
                  <a:lnTo>
                    <a:pt x="775811" y="587693"/>
                  </a:ln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597" name="Google Shape;597;p30"/>
          <p:cNvGrpSpPr/>
          <p:nvPr/>
        </p:nvGrpSpPr>
        <p:grpSpPr>
          <a:xfrm>
            <a:off x="6346185" y="4082836"/>
            <a:ext cx="217306" cy="233979"/>
            <a:chOff x="3800475" y="957262"/>
            <a:chExt cx="4593430" cy="4945856"/>
          </a:xfrm>
        </p:grpSpPr>
        <p:grpSp>
          <p:nvGrpSpPr>
            <p:cNvPr id="598" name="Google Shape;598;p30"/>
            <p:cNvGrpSpPr/>
            <p:nvPr/>
          </p:nvGrpSpPr>
          <p:grpSpPr>
            <a:xfrm>
              <a:off x="5023484" y="4455222"/>
              <a:ext cx="2147507" cy="1447896"/>
              <a:chOff x="5023484" y="4455222"/>
              <a:chExt cx="2147507" cy="1447896"/>
            </a:xfrm>
          </p:grpSpPr>
          <p:sp>
            <p:nvSpPr>
              <p:cNvPr id="599" name="Google Shape;599;p30"/>
              <p:cNvSpPr/>
              <p:nvPr/>
            </p:nvSpPr>
            <p:spPr>
              <a:xfrm>
                <a:off x="5023484" y="4455222"/>
                <a:ext cx="2147506" cy="418147"/>
              </a:xfrm>
              <a:custGeom>
                <a:avLst/>
                <a:gdLst/>
                <a:ahLst/>
                <a:cxnLst/>
                <a:rect l="l" t="t" r="r" b="b"/>
                <a:pathLst>
                  <a:path w="2147506" h="418147" extrusionOk="0">
                    <a:moveTo>
                      <a:pt x="1938433" y="418148"/>
                    </a:moveTo>
                    <a:lnTo>
                      <a:pt x="209074" y="418148"/>
                    </a:lnTo>
                    <a:cubicBezTo>
                      <a:pt x="93631" y="418148"/>
                      <a:pt x="0" y="324517"/>
                      <a:pt x="0" y="209074"/>
                    </a:cubicBezTo>
                    <a:lnTo>
                      <a:pt x="0" y="209074"/>
                    </a:lnTo>
                    <a:cubicBezTo>
                      <a:pt x="0" y="93631"/>
                      <a:pt x="93631" y="0"/>
                      <a:pt x="209074" y="0"/>
                    </a:cubicBezTo>
                    <a:lnTo>
                      <a:pt x="1938433" y="0"/>
                    </a:lnTo>
                    <a:cubicBezTo>
                      <a:pt x="2053876" y="0"/>
                      <a:pt x="2147507" y="93631"/>
                      <a:pt x="2147507" y="209074"/>
                    </a:cubicBezTo>
                    <a:lnTo>
                      <a:pt x="2147507" y="209074"/>
                    </a:lnTo>
                    <a:cubicBezTo>
                      <a:pt x="2147507" y="324517"/>
                      <a:pt x="2053876" y="418148"/>
                      <a:pt x="1938433" y="418148"/>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0" name="Google Shape;600;p30"/>
              <p:cNvSpPr/>
              <p:nvPr/>
            </p:nvSpPr>
            <p:spPr>
              <a:xfrm>
                <a:off x="5023485" y="4873370"/>
                <a:ext cx="2147506" cy="418147"/>
              </a:xfrm>
              <a:custGeom>
                <a:avLst/>
                <a:gdLst/>
                <a:ahLst/>
                <a:cxnLst/>
                <a:rect l="l" t="t" r="r" b="b"/>
                <a:pathLst>
                  <a:path w="2147506" h="418147" extrusionOk="0">
                    <a:moveTo>
                      <a:pt x="1938433" y="0"/>
                    </a:moveTo>
                    <a:cubicBezTo>
                      <a:pt x="2053901" y="0"/>
                      <a:pt x="2147507" y="93606"/>
                      <a:pt x="2147507" y="209074"/>
                    </a:cubicBezTo>
                    <a:lnTo>
                      <a:pt x="2147507" y="209074"/>
                    </a:lnTo>
                    <a:cubicBezTo>
                      <a:pt x="2147507" y="324542"/>
                      <a:pt x="2053901" y="418148"/>
                      <a:pt x="1938433" y="418148"/>
                    </a:cubicBezTo>
                    <a:lnTo>
                      <a:pt x="209074" y="418148"/>
                    </a:lnTo>
                    <a:cubicBezTo>
                      <a:pt x="93606" y="418148"/>
                      <a:pt x="0" y="324542"/>
                      <a:pt x="0" y="209074"/>
                    </a:cubicBezTo>
                    <a:lnTo>
                      <a:pt x="0" y="209074"/>
                    </a:lnTo>
                    <a:cubicBezTo>
                      <a:pt x="0" y="93606"/>
                      <a:pt x="93606" y="0"/>
                      <a:pt x="209074" y="0"/>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1" name="Google Shape;601;p30"/>
              <p:cNvSpPr/>
              <p:nvPr/>
            </p:nvSpPr>
            <p:spPr>
              <a:xfrm>
                <a:off x="5424296" y="5291518"/>
                <a:ext cx="1345882" cy="611600"/>
              </a:xfrm>
              <a:custGeom>
                <a:avLst/>
                <a:gdLst/>
                <a:ahLst/>
                <a:cxnLst/>
                <a:rect l="l" t="t" r="r" b="b"/>
                <a:pathLst>
                  <a:path w="1345882" h="611600" extrusionOk="0">
                    <a:moveTo>
                      <a:pt x="0" y="0"/>
                    </a:moveTo>
                    <a:lnTo>
                      <a:pt x="1345883" y="0"/>
                    </a:lnTo>
                    <a:lnTo>
                      <a:pt x="1345883" y="381"/>
                    </a:lnTo>
                    <a:cubicBezTo>
                      <a:pt x="1345883" y="337756"/>
                      <a:pt x="1072039" y="611600"/>
                      <a:pt x="734663" y="611600"/>
                    </a:cubicBezTo>
                    <a:lnTo>
                      <a:pt x="611315" y="611600"/>
                    </a:lnTo>
                    <a:cubicBezTo>
                      <a:pt x="273939" y="611600"/>
                      <a:pt x="95" y="337756"/>
                      <a:pt x="95" y="381"/>
                    </a:cubicBezTo>
                    <a:lnTo>
                      <a:pt x="95" y="0"/>
                    </a:lnTo>
                    <a:lnTo>
                      <a:pt x="95" y="0"/>
                    </a:ln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602" name="Google Shape;602;p30"/>
            <p:cNvGrpSpPr/>
            <p:nvPr/>
          </p:nvGrpSpPr>
          <p:grpSpPr>
            <a:xfrm>
              <a:off x="4607528" y="1764315"/>
              <a:ext cx="2979134" cy="2478976"/>
              <a:chOff x="4607528" y="1764315"/>
              <a:chExt cx="2979134" cy="2478976"/>
            </a:xfrm>
          </p:grpSpPr>
          <p:sp>
            <p:nvSpPr>
              <p:cNvPr id="603" name="Google Shape;603;p30"/>
              <p:cNvSpPr/>
              <p:nvPr/>
            </p:nvSpPr>
            <p:spPr>
              <a:xfrm>
                <a:off x="4607528" y="1764315"/>
                <a:ext cx="2979134" cy="2478976"/>
              </a:xfrm>
              <a:custGeom>
                <a:avLst/>
                <a:gdLst/>
                <a:ahLst/>
                <a:cxnLst/>
                <a:rect l="l" t="t" r="r" b="b"/>
                <a:pathLst>
                  <a:path w="2979134" h="2478976" extrusionOk="0">
                    <a:moveTo>
                      <a:pt x="2287238" y="2478977"/>
                    </a:moveTo>
                    <a:cubicBezTo>
                      <a:pt x="2357818" y="2422017"/>
                      <a:pt x="2422017" y="2357723"/>
                      <a:pt x="2478977" y="2287238"/>
                    </a:cubicBezTo>
                    <a:lnTo>
                      <a:pt x="2693099" y="2384393"/>
                    </a:lnTo>
                    <a:lnTo>
                      <a:pt x="2866168" y="2084546"/>
                    </a:lnTo>
                    <a:lnTo>
                      <a:pt x="2674620" y="1947386"/>
                    </a:lnTo>
                    <a:cubicBezTo>
                      <a:pt x="2706815" y="1864042"/>
                      <a:pt x="2730151" y="1776508"/>
                      <a:pt x="2744248" y="1685734"/>
                    </a:cubicBezTo>
                    <a:lnTo>
                      <a:pt x="2979134" y="1662684"/>
                    </a:lnTo>
                    <a:lnTo>
                      <a:pt x="2979134" y="1316450"/>
                    </a:lnTo>
                    <a:lnTo>
                      <a:pt x="2744248" y="1293400"/>
                    </a:lnTo>
                    <a:cubicBezTo>
                      <a:pt x="2730151" y="1202627"/>
                      <a:pt x="2706815" y="1115092"/>
                      <a:pt x="2674620" y="1031748"/>
                    </a:cubicBezTo>
                    <a:lnTo>
                      <a:pt x="2866168" y="894588"/>
                    </a:lnTo>
                    <a:lnTo>
                      <a:pt x="2693099" y="594741"/>
                    </a:lnTo>
                    <a:lnTo>
                      <a:pt x="2478977" y="691896"/>
                    </a:lnTo>
                    <a:cubicBezTo>
                      <a:pt x="2422017" y="621316"/>
                      <a:pt x="2357818" y="557117"/>
                      <a:pt x="2287238" y="500158"/>
                    </a:cubicBezTo>
                    <a:lnTo>
                      <a:pt x="2384393" y="286036"/>
                    </a:lnTo>
                    <a:lnTo>
                      <a:pt x="2084546" y="112966"/>
                    </a:lnTo>
                    <a:lnTo>
                      <a:pt x="1947386" y="304514"/>
                    </a:lnTo>
                    <a:cubicBezTo>
                      <a:pt x="1864042" y="272320"/>
                      <a:pt x="1776508" y="248984"/>
                      <a:pt x="1685734" y="234886"/>
                    </a:cubicBezTo>
                    <a:lnTo>
                      <a:pt x="1662684" y="0"/>
                    </a:lnTo>
                    <a:lnTo>
                      <a:pt x="1316450" y="0"/>
                    </a:lnTo>
                    <a:lnTo>
                      <a:pt x="1293400" y="234886"/>
                    </a:lnTo>
                    <a:cubicBezTo>
                      <a:pt x="1230630" y="246221"/>
                      <a:pt x="1115092" y="272320"/>
                      <a:pt x="1031748" y="304514"/>
                    </a:cubicBezTo>
                    <a:lnTo>
                      <a:pt x="894588" y="112966"/>
                    </a:lnTo>
                    <a:lnTo>
                      <a:pt x="594741" y="286036"/>
                    </a:lnTo>
                    <a:lnTo>
                      <a:pt x="691896" y="500158"/>
                    </a:lnTo>
                    <a:cubicBezTo>
                      <a:pt x="633508" y="544163"/>
                      <a:pt x="557117" y="621316"/>
                      <a:pt x="500158" y="691896"/>
                    </a:cubicBezTo>
                    <a:lnTo>
                      <a:pt x="286036" y="594741"/>
                    </a:lnTo>
                    <a:lnTo>
                      <a:pt x="112966" y="894588"/>
                    </a:lnTo>
                    <a:lnTo>
                      <a:pt x="304514" y="1031748"/>
                    </a:lnTo>
                    <a:cubicBezTo>
                      <a:pt x="272320" y="1115092"/>
                      <a:pt x="248984" y="1202627"/>
                      <a:pt x="234886" y="1293400"/>
                    </a:cubicBezTo>
                    <a:lnTo>
                      <a:pt x="0" y="1316450"/>
                    </a:lnTo>
                    <a:lnTo>
                      <a:pt x="0" y="1662684"/>
                    </a:lnTo>
                    <a:lnTo>
                      <a:pt x="234886" y="1685734"/>
                    </a:lnTo>
                    <a:cubicBezTo>
                      <a:pt x="248984" y="1776508"/>
                      <a:pt x="272320" y="1864042"/>
                      <a:pt x="304514" y="1947386"/>
                    </a:cubicBezTo>
                    <a:lnTo>
                      <a:pt x="112966" y="2084546"/>
                    </a:lnTo>
                    <a:lnTo>
                      <a:pt x="286036" y="2384393"/>
                    </a:lnTo>
                    <a:lnTo>
                      <a:pt x="500158" y="2287238"/>
                    </a:lnTo>
                    <a:cubicBezTo>
                      <a:pt x="550354" y="2358771"/>
                      <a:pt x="621411" y="2422017"/>
                      <a:pt x="691896" y="2478977"/>
                    </a:cubicBez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4" name="Google Shape;604;p30"/>
              <p:cNvSpPr/>
              <p:nvPr/>
            </p:nvSpPr>
            <p:spPr>
              <a:xfrm>
                <a:off x="5376481" y="2533268"/>
                <a:ext cx="1441513" cy="1441513"/>
              </a:xfrm>
              <a:custGeom>
                <a:avLst/>
                <a:gdLst/>
                <a:ahLst/>
                <a:cxnLst/>
                <a:rect l="l" t="t" r="r" b="b"/>
                <a:pathLst>
                  <a:path w="1441513" h="1441513" extrusionOk="0">
                    <a:moveTo>
                      <a:pt x="1441513" y="720757"/>
                    </a:moveTo>
                    <a:cubicBezTo>
                      <a:pt x="1441513" y="1118820"/>
                      <a:pt x="1118820" y="1441514"/>
                      <a:pt x="720757" y="1441514"/>
                    </a:cubicBezTo>
                    <a:cubicBezTo>
                      <a:pt x="322694" y="1441514"/>
                      <a:pt x="0" y="1118820"/>
                      <a:pt x="0" y="720757"/>
                    </a:cubicBezTo>
                    <a:cubicBezTo>
                      <a:pt x="0" y="322694"/>
                      <a:pt x="322694" y="0"/>
                      <a:pt x="720757" y="0"/>
                    </a:cubicBezTo>
                    <a:cubicBezTo>
                      <a:pt x="1118820" y="0"/>
                      <a:pt x="1441513" y="322694"/>
                      <a:pt x="1441513" y="720757"/>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605" name="Google Shape;605;p30"/>
            <p:cNvSpPr/>
            <p:nvPr/>
          </p:nvSpPr>
          <p:spPr>
            <a:xfrm>
              <a:off x="6097238" y="957262"/>
              <a:ext cx="9525" cy="461295"/>
            </a:xfrm>
            <a:custGeom>
              <a:avLst/>
              <a:gdLst/>
              <a:ahLst/>
              <a:cxnLst/>
              <a:rect l="l" t="t" r="r" b="b"/>
              <a:pathLst>
                <a:path w="9525" h="461295" extrusionOk="0">
                  <a:moveTo>
                    <a:pt x="0" y="0"/>
                  </a:moveTo>
                  <a:lnTo>
                    <a:pt x="0" y="461296"/>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6" name="Google Shape;606;p30"/>
            <p:cNvSpPr/>
            <p:nvPr/>
          </p:nvSpPr>
          <p:spPr>
            <a:xfrm>
              <a:off x="4948809" y="1264919"/>
              <a:ext cx="230695" cy="399478"/>
            </a:xfrm>
            <a:custGeom>
              <a:avLst/>
              <a:gdLst/>
              <a:ahLst/>
              <a:cxnLst/>
              <a:rect l="l" t="t" r="r" b="b"/>
              <a:pathLst>
                <a:path w="230695" h="399478" extrusionOk="0">
                  <a:moveTo>
                    <a:pt x="0" y="0"/>
                  </a:moveTo>
                  <a:lnTo>
                    <a:pt x="230695" y="399478"/>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7" name="Google Shape;607;p30"/>
            <p:cNvSpPr/>
            <p:nvPr/>
          </p:nvSpPr>
          <p:spPr>
            <a:xfrm>
              <a:off x="4108132" y="2105596"/>
              <a:ext cx="399478" cy="230695"/>
            </a:xfrm>
            <a:custGeom>
              <a:avLst/>
              <a:gdLst/>
              <a:ahLst/>
              <a:cxnLst/>
              <a:rect l="l" t="t" r="r" b="b"/>
              <a:pathLst>
                <a:path w="399478" h="230695" extrusionOk="0">
                  <a:moveTo>
                    <a:pt x="0" y="0"/>
                  </a:moveTo>
                  <a:lnTo>
                    <a:pt x="399478" y="230695"/>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8" name="Google Shape;608;p30"/>
            <p:cNvSpPr/>
            <p:nvPr/>
          </p:nvSpPr>
          <p:spPr>
            <a:xfrm>
              <a:off x="3800475" y="3254025"/>
              <a:ext cx="461295" cy="9525"/>
            </a:xfrm>
            <a:custGeom>
              <a:avLst/>
              <a:gdLst/>
              <a:ahLst/>
              <a:cxnLst/>
              <a:rect l="l" t="t" r="r" b="b"/>
              <a:pathLst>
                <a:path w="461295" h="9525" extrusionOk="0">
                  <a:moveTo>
                    <a:pt x="0" y="0"/>
                  </a:moveTo>
                  <a:lnTo>
                    <a:pt x="461296"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09" name="Google Shape;609;p30"/>
            <p:cNvSpPr/>
            <p:nvPr/>
          </p:nvSpPr>
          <p:spPr>
            <a:xfrm>
              <a:off x="4108132" y="4171759"/>
              <a:ext cx="399478" cy="230600"/>
            </a:xfrm>
            <a:custGeom>
              <a:avLst/>
              <a:gdLst/>
              <a:ahLst/>
              <a:cxnLst/>
              <a:rect l="l" t="t" r="r" b="b"/>
              <a:pathLst>
                <a:path w="399478" h="230600" extrusionOk="0">
                  <a:moveTo>
                    <a:pt x="0" y="230600"/>
                  </a:moveTo>
                  <a:lnTo>
                    <a:pt x="399478"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0" name="Google Shape;610;p30"/>
            <p:cNvSpPr/>
            <p:nvPr/>
          </p:nvSpPr>
          <p:spPr>
            <a:xfrm>
              <a:off x="7686770" y="4171759"/>
              <a:ext cx="399478" cy="230600"/>
            </a:xfrm>
            <a:custGeom>
              <a:avLst/>
              <a:gdLst/>
              <a:ahLst/>
              <a:cxnLst/>
              <a:rect l="l" t="t" r="r" b="b"/>
              <a:pathLst>
                <a:path w="399478" h="230600" extrusionOk="0">
                  <a:moveTo>
                    <a:pt x="399479" y="230600"/>
                  </a:moveTo>
                  <a:lnTo>
                    <a:pt x="0"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1" name="Google Shape;611;p30"/>
            <p:cNvSpPr/>
            <p:nvPr/>
          </p:nvSpPr>
          <p:spPr>
            <a:xfrm>
              <a:off x="7932705" y="3254025"/>
              <a:ext cx="461200" cy="9525"/>
            </a:xfrm>
            <a:custGeom>
              <a:avLst/>
              <a:gdLst/>
              <a:ahLst/>
              <a:cxnLst/>
              <a:rect l="l" t="t" r="r" b="b"/>
              <a:pathLst>
                <a:path w="461200" h="9525" extrusionOk="0">
                  <a:moveTo>
                    <a:pt x="461201" y="0"/>
                  </a:moveTo>
                  <a:lnTo>
                    <a:pt x="0"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2" name="Google Shape;612;p30"/>
            <p:cNvSpPr/>
            <p:nvPr/>
          </p:nvSpPr>
          <p:spPr>
            <a:xfrm>
              <a:off x="7686770" y="2105596"/>
              <a:ext cx="399478" cy="230695"/>
            </a:xfrm>
            <a:custGeom>
              <a:avLst/>
              <a:gdLst/>
              <a:ahLst/>
              <a:cxnLst/>
              <a:rect l="l" t="t" r="r" b="b"/>
              <a:pathLst>
                <a:path w="399478" h="230695" extrusionOk="0">
                  <a:moveTo>
                    <a:pt x="399479" y="0"/>
                  </a:moveTo>
                  <a:lnTo>
                    <a:pt x="0" y="230695"/>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3" name="Google Shape;613;p30"/>
            <p:cNvSpPr/>
            <p:nvPr/>
          </p:nvSpPr>
          <p:spPr>
            <a:xfrm>
              <a:off x="7014972" y="1264919"/>
              <a:ext cx="230600" cy="399478"/>
            </a:xfrm>
            <a:custGeom>
              <a:avLst/>
              <a:gdLst/>
              <a:ahLst/>
              <a:cxnLst/>
              <a:rect l="l" t="t" r="r" b="b"/>
              <a:pathLst>
                <a:path w="230600" h="399478" extrusionOk="0">
                  <a:moveTo>
                    <a:pt x="230600" y="0"/>
                  </a:moveTo>
                  <a:lnTo>
                    <a:pt x="0" y="399478"/>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614" name="Google Shape;614;p30"/>
          <p:cNvGrpSpPr/>
          <p:nvPr/>
        </p:nvGrpSpPr>
        <p:grpSpPr>
          <a:xfrm>
            <a:off x="6358114" y="5659269"/>
            <a:ext cx="175351" cy="245611"/>
            <a:chOff x="4352925" y="985741"/>
            <a:chExt cx="3485673" cy="4882325"/>
          </a:xfrm>
        </p:grpSpPr>
        <p:grpSp>
          <p:nvGrpSpPr>
            <p:cNvPr id="615" name="Google Shape;615;p30"/>
            <p:cNvGrpSpPr/>
            <p:nvPr/>
          </p:nvGrpSpPr>
          <p:grpSpPr>
            <a:xfrm>
              <a:off x="4415504" y="3995070"/>
              <a:ext cx="3390614" cy="1872996"/>
              <a:chOff x="4415504" y="3995070"/>
              <a:chExt cx="3390614" cy="1872996"/>
            </a:xfrm>
          </p:grpSpPr>
          <p:sp>
            <p:nvSpPr>
              <p:cNvPr id="616" name="Google Shape;616;p30"/>
              <p:cNvSpPr/>
              <p:nvPr/>
            </p:nvSpPr>
            <p:spPr>
              <a:xfrm>
                <a:off x="4415504" y="4008500"/>
                <a:ext cx="1484947" cy="1859565"/>
              </a:xfrm>
              <a:custGeom>
                <a:avLst/>
                <a:gdLst/>
                <a:ahLst/>
                <a:cxnLst/>
                <a:rect l="l" t="t" r="r" b="b"/>
                <a:pathLst>
                  <a:path w="1484947" h="1859565" extrusionOk="0">
                    <a:moveTo>
                      <a:pt x="1484948" y="383381"/>
                    </a:moveTo>
                    <a:lnTo>
                      <a:pt x="983552" y="1859566"/>
                    </a:lnTo>
                    <a:lnTo>
                      <a:pt x="638365" y="1259967"/>
                    </a:lnTo>
                    <a:lnTo>
                      <a:pt x="0" y="1525429"/>
                    </a:lnTo>
                    <a:lnTo>
                      <a:pt x="518255"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7" name="Google Shape;617;p30"/>
              <p:cNvSpPr/>
              <p:nvPr/>
            </p:nvSpPr>
            <p:spPr>
              <a:xfrm>
                <a:off x="5275040" y="4066888"/>
                <a:ext cx="206597" cy="608266"/>
              </a:xfrm>
              <a:custGeom>
                <a:avLst/>
                <a:gdLst/>
                <a:ahLst/>
                <a:cxnLst/>
                <a:rect l="l" t="t" r="r" b="b"/>
                <a:pathLst>
                  <a:path w="206597" h="608266" extrusionOk="0">
                    <a:moveTo>
                      <a:pt x="0" y="608266"/>
                    </a:moveTo>
                    <a:lnTo>
                      <a:pt x="206597"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8" name="Google Shape;618;p30"/>
              <p:cNvSpPr/>
              <p:nvPr/>
            </p:nvSpPr>
            <p:spPr>
              <a:xfrm>
                <a:off x="6765321" y="4056601"/>
                <a:ext cx="210121" cy="618553"/>
              </a:xfrm>
              <a:custGeom>
                <a:avLst/>
                <a:gdLst/>
                <a:ahLst/>
                <a:cxnLst/>
                <a:rect l="l" t="t" r="r" b="b"/>
                <a:pathLst>
                  <a:path w="210121" h="618553" extrusionOk="0">
                    <a:moveTo>
                      <a:pt x="210121" y="618553"/>
                    </a:moveTo>
                    <a:lnTo>
                      <a:pt x="0"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19" name="Google Shape;619;p30"/>
              <p:cNvSpPr/>
              <p:nvPr/>
            </p:nvSpPr>
            <p:spPr>
              <a:xfrm>
                <a:off x="6314122" y="3995070"/>
                <a:ext cx="1491996" cy="1872996"/>
              </a:xfrm>
              <a:custGeom>
                <a:avLst/>
                <a:gdLst/>
                <a:ahLst/>
                <a:cxnLst/>
                <a:rect l="l" t="t" r="r" b="b"/>
                <a:pathLst>
                  <a:path w="1491996" h="1872996" extrusionOk="0">
                    <a:moveTo>
                      <a:pt x="0" y="375952"/>
                    </a:moveTo>
                    <a:lnTo>
                      <a:pt x="508540" y="1872996"/>
                    </a:lnTo>
                    <a:lnTo>
                      <a:pt x="853630" y="1273397"/>
                    </a:lnTo>
                    <a:lnTo>
                      <a:pt x="1491996" y="1538859"/>
                    </a:lnTo>
                    <a:lnTo>
                      <a:pt x="969264" y="0"/>
                    </a:lnTo>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620" name="Google Shape;620;p30"/>
            <p:cNvSpPr/>
            <p:nvPr/>
          </p:nvSpPr>
          <p:spPr>
            <a:xfrm>
              <a:off x="4352925" y="985741"/>
              <a:ext cx="3485673" cy="3485673"/>
            </a:xfrm>
            <a:custGeom>
              <a:avLst/>
              <a:gdLst/>
              <a:ahLst/>
              <a:cxnLst/>
              <a:rect l="l" t="t" r="r" b="b"/>
              <a:pathLst>
                <a:path w="3485673" h="3485673" extrusionOk="0">
                  <a:moveTo>
                    <a:pt x="3097721" y="1181767"/>
                  </a:moveTo>
                  <a:cubicBezTo>
                    <a:pt x="3016377" y="985647"/>
                    <a:pt x="3122962" y="658368"/>
                    <a:pt x="2975229" y="510540"/>
                  </a:cubicBezTo>
                  <a:cubicBezTo>
                    <a:pt x="2827401" y="362712"/>
                    <a:pt x="2500122" y="469297"/>
                    <a:pt x="2304002" y="387953"/>
                  </a:cubicBezTo>
                  <a:cubicBezTo>
                    <a:pt x="2114836" y="309467"/>
                    <a:pt x="1960436" y="0"/>
                    <a:pt x="1742885" y="0"/>
                  </a:cubicBezTo>
                  <a:cubicBezTo>
                    <a:pt x="1525334" y="0"/>
                    <a:pt x="1370933" y="309467"/>
                    <a:pt x="1181767" y="387953"/>
                  </a:cubicBezTo>
                  <a:cubicBezTo>
                    <a:pt x="985647" y="469297"/>
                    <a:pt x="658368" y="362712"/>
                    <a:pt x="510540" y="510445"/>
                  </a:cubicBezTo>
                  <a:cubicBezTo>
                    <a:pt x="362712" y="658273"/>
                    <a:pt x="469297" y="985552"/>
                    <a:pt x="387953" y="1181672"/>
                  </a:cubicBezTo>
                  <a:cubicBezTo>
                    <a:pt x="309467" y="1370838"/>
                    <a:pt x="0" y="1525238"/>
                    <a:pt x="0" y="1742789"/>
                  </a:cubicBezTo>
                  <a:cubicBezTo>
                    <a:pt x="0" y="1960340"/>
                    <a:pt x="309467" y="2114741"/>
                    <a:pt x="387953" y="2303907"/>
                  </a:cubicBezTo>
                  <a:cubicBezTo>
                    <a:pt x="469297" y="2500027"/>
                    <a:pt x="362712" y="2827306"/>
                    <a:pt x="510445" y="2975134"/>
                  </a:cubicBezTo>
                  <a:cubicBezTo>
                    <a:pt x="658273" y="3122962"/>
                    <a:pt x="985552" y="3016377"/>
                    <a:pt x="1181672" y="3097721"/>
                  </a:cubicBezTo>
                  <a:cubicBezTo>
                    <a:pt x="1370838" y="3176207"/>
                    <a:pt x="1525238" y="3485674"/>
                    <a:pt x="1742789" y="3485674"/>
                  </a:cubicBezTo>
                  <a:cubicBezTo>
                    <a:pt x="1960340" y="3485674"/>
                    <a:pt x="2114741" y="3176207"/>
                    <a:pt x="2303907" y="3097721"/>
                  </a:cubicBezTo>
                  <a:cubicBezTo>
                    <a:pt x="2500027" y="3016377"/>
                    <a:pt x="2827306" y="3122962"/>
                    <a:pt x="2975134" y="2975229"/>
                  </a:cubicBezTo>
                  <a:cubicBezTo>
                    <a:pt x="3122962" y="2827401"/>
                    <a:pt x="3016377" y="2500122"/>
                    <a:pt x="3097721" y="2304002"/>
                  </a:cubicBezTo>
                  <a:cubicBezTo>
                    <a:pt x="3176207" y="2114836"/>
                    <a:pt x="3485674" y="1960436"/>
                    <a:pt x="3485674" y="1742885"/>
                  </a:cubicBezTo>
                  <a:cubicBezTo>
                    <a:pt x="3485674" y="1525334"/>
                    <a:pt x="3176207" y="1370933"/>
                    <a:pt x="3097721" y="1181767"/>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1" name="Google Shape;621;p30"/>
            <p:cNvSpPr/>
            <p:nvPr/>
          </p:nvSpPr>
          <p:spPr>
            <a:xfrm rot="-2700000">
              <a:off x="4993669" y="1626583"/>
              <a:ext cx="2204085" cy="2204085"/>
            </a:xfrm>
            <a:custGeom>
              <a:avLst/>
              <a:gdLst/>
              <a:ahLst/>
              <a:cxnLst/>
              <a:rect l="l" t="t" r="r" b="b"/>
              <a:pathLst>
                <a:path w="2204085" h="2204085" extrusionOk="0">
                  <a:moveTo>
                    <a:pt x="2204086" y="1102043"/>
                  </a:moveTo>
                  <a:cubicBezTo>
                    <a:pt x="2204086" y="1710684"/>
                    <a:pt x="1710684" y="2204086"/>
                    <a:pt x="1102043" y="2204086"/>
                  </a:cubicBezTo>
                  <a:cubicBezTo>
                    <a:pt x="493402" y="2204086"/>
                    <a:pt x="0" y="1710684"/>
                    <a:pt x="0" y="1102043"/>
                  </a:cubicBezTo>
                  <a:cubicBezTo>
                    <a:pt x="0" y="493402"/>
                    <a:pt x="493402" y="0"/>
                    <a:pt x="1102043" y="0"/>
                  </a:cubicBezTo>
                  <a:cubicBezTo>
                    <a:pt x="1710685" y="0"/>
                    <a:pt x="2204086" y="493402"/>
                    <a:pt x="2204086" y="1102043"/>
                  </a:cubicBez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2" name="Google Shape;622;p30"/>
            <p:cNvSpPr/>
            <p:nvPr/>
          </p:nvSpPr>
          <p:spPr>
            <a:xfrm>
              <a:off x="5527929" y="2188653"/>
              <a:ext cx="1135665" cy="1080039"/>
            </a:xfrm>
            <a:custGeom>
              <a:avLst/>
              <a:gdLst/>
              <a:ahLst/>
              <a:cxnLst/>
              <a:rect l="l" t="t" r="r" b="b"/>
              <a:pathLst>
                <a:path w="1135665" h="1080039" extrusionOk="0">
                  <a:moveTo>
                    <a:pt x="567785" y="0"/>
                  </a:moveTo>
                  <a:lnTo>
                    <a:pt x="701897" y="412528"/>
                  </a:lnTo>
                  <a:lnTo>
                    <a:pt x="1135666" y="412528"/>
                  </a:lnTo>
                  <a:lnTo>
                    <a:pt x="784670" y="667512"/>
                  </a:lnTo>
                  <a:lnTo>
                    <a:pt x="918782" y="1080040"/>
                  </a:lnTo>
                  <a:lnTo>
                    <a:pt x="567785" y="825055"/>
                  </a:lnTo>
                  <a:lnTo>
                    <a:pt x="216884" y="1080040"/>
                  </a:lnTo>
                  <a:lnTo>
                    <a:pt x="350901" y="667512"/>
                  </a:lnTo>
                  <a:lnTo>
                    <a:pt x="0" y="412528"/>
                  </a:lnTo>
                  <a:lnTo>
                    <a:pt x="433768" y="412528"/>
                  </a:lnTo>
                  <a:lnTo>
                    <a:pt x="567785" y="0"/>
                  </a:lnTo>
                  <a:close/>
                </a:path>
              </a:pathLst>
            </a:custGeom>
            <a:noFill/>
            <a:ln w="9525" cap="rnd"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623" name="Google Shape;623;p30"/>
          <p:cNvGrpSpPr/>
          <p:nvPr/>
        </p:nvGrpSpPr>
        <p:grpSpPr>
          <a:xfrm>
            <a:off x="6362714" y="4566657"/>
            <a:ext cx="209662" cy="219144"/>
            <a:chOff x="5886399" y="3209925"/>
            <a:chExt cx="419151" cy="438106"/>
          </a:xfrm>
        </p:grpSpPr>
        <p:sp>
          <p:nvSpPr>
            <p:cNvPr id="624" name="Google Shape;624;p30"/>
            <p:cNvSpPr/>
            <p:nvPr/>
          </p:nvSpPr>
          <p:spPr>
            <a:xfrm>
              <a:off x="5981700" y="3209925"/>
              <a:ext cx="304800" cy="241268"/>
            </a:xfrm>
            <a:custGeom>
              <a:avLst/>
              <a:gdLst/>
              <a:ahLst/>
              <a:cxnLst/>
              <a:rect l="l" t="t" r="r" b="b"/>
              <a:pathLst>
                <a:path w="304800" h="241268" extrusionOk="0">
                  <a:moveTo>
                    <a:pt x="28575" y="241268"/>
                  </a:moveTo>
                  <a:cubicBezTo>
                    <a:pt x="10573" y="216218"/>
                    <a:pt x="0" y="185547"/>
                    <a:pt x="0" y="152400"/>
                  </a:cubicBezTo>
                  <a:cubicBezTo>
                    <a:pt x="0" y="68199"/>
                    <a:pt x="68199" y="0"/>
                    <a:pt x="152400" y="0"/>
                  </a:cubicBezTo>
                  <a:cubicBezTo>
                    <a:pt x="236601" y="0"/>
                    <a:pt x="304800" y="68199"/>
                    <a:pt x="304800" y="152400"/>
                  </a:cubicBezTo>
                  <a:cubicBezTo>
                    <a:pt x="304800" y="172593"/>
                    <a:pt x="300895" y="191929"/>
                    <a:pt x="293751" y="209550"/>
                  </a:cubicBezTo>
                </a:path>
              </a:pathLst>
            </a:custGeom>
            <a:no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5" name="Google Shape;625;p30"/>
            <p:cNvSpPr/>
            <p:nvPr/>
          </p:nvSpPr>
          <p:spPr>
            <a:xfrm>
              <a:off x="6029325" y="3418169"/>
              <a:ext cx="276225" cy="163230"/>
            </a:xfrm>
            <a:custGeom>
              <a:avLst/>
              <a:gdLst/>
              <a:ahLst/>
              <a:cxnLst/>
              <a:rect l="l" t="t" r="r" b="b"/>
              <a:pathLst>
                <a:path w="276225" h="163230" extrusionOk="0">
                  <a:moveTo>
                    <a:pt x="0" y="163231"/>
                  </a:moveTo>
                  <a:cubicBezTo>
                    <a:pt x="3619" y="159611"/>
                    <a:pt x="7430" y="153706"/>
                    <a:pt x="19050" y="153706"/>
                  </a:cubicBezTo>
                  <a:lnTo>
                    <a:pt x="152400" y="153706"/>
                  </a:lnTo>
                  <a:cubicBezTo>
                    <a:pt x="162973" y="153706"/>
                    <a:pt x="221171" y="95318"/>
                    <a:pt x="228600" y="87031"/>
                  </a:cubicBezTo>
                  <a:cubicBezTo>
                    <a:pt x="235744" y="79030"/>
                    <a:pt x="267462" y="31405"/>
                    <a:pt x="276225" y="10831"/>
                  </a:cubicBezTo>
                  <a:cubicBezTo>
                    <a:pt x="270700" y="3401"/>
                    <a:pt x="255746" y="-2790"/>
                    <a:pt x="238125" y="1306"/>
                  </a:cubicBezTo>
                  <a:cubicBezTo>
                    <a:pt x="221266" y="5211"/>
                    <a:pt x="211360" y="17308"/>
                    <a:pt x="200025" y="39406"/>
                  </a:cubicBezTo>
                  <a:lnTo>
                    <a:pt x="156400" y="62075"/>
                  </a:lnTo>
                </a:path>
              </a:pathLst>
            </a:custGeom>
            <a:no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6" name="Google Shape;626;p30"/>
            <p:cNvSpPr/>
            <p:nvPr/>
          </p:nvSpPr>
          <p:spPr>
            <a:xfrm>
              <a:off x="5953125" y="3448050"/>
              <a:ext cx="238125" cy="66675"/>
            </a:xfrm>
            <a:custGeom>
              <a:avLst/>
              <a:gdLst/>
              <a:ahLst/>
              <a:cxnLst/>
              <a:rect l="l" t="t" r="r" b="b"/>
              <a:pathLst>
                <a:path w="238125" h="66675" extrusionOk="0">
                  <a:moveTo>
                    <a:pt x="133350" y="66675"/>
                  </a:moveTo>
                  <a:lnTo>
                    <a:pt x="209550" y="66675"/>
                  </a:lnTo>
                  <a:cubicBezTo>
                    <a:pt x="247650" y="66675"/>
                    <a:pt x="247650" y="19050"/>
                    <a:pt x="209550" y="19050"/>
                  </a:cubicBezTo>
                  <a:lnTo>
                    <a:pt x="159258" y="19050"/>
                  </a:lnTo>
                  <a:cubicBezTo>
                    <a:pt x="151352" y="19050"/>
                    <a:pt x="136398" y="0"/>
                    <a:pt x="123825" y="0"/>
                  </a:cubicBezTo>
                  <a:lnTo>
                    <a:pt x="76200" y="0"/>
                  </a:lnTo>
                  <a:cubicBezTo>
                    <a:pt x="63341" y="0"/>
                    <a:pt x="47339" y="10478"/>
                    <a:pt x="38100" y="19050"/>
                  </a:cubicBezTo>
                  <a:lnTo>
                    <a:pt x="0" y="57150"/>
                  </a:lnTo>
                </a:path>
              </a:pathLst>
            </a:custGeom>
            <a:no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7" name="Google Shape;627;p30"/>
            <p:cNvSpPr/>
            <p:nvPr/>
          </p:nvSpPr>
          <p:spPr>
            <a:xfrm rot="-2700000">
              <a:off x="5933685" y="3486255"/>
              <a:ext cx="67341" cy="161639"/>
            </a:xfrm>
            <a:custGeom>
              <a:avLst/>
              <a:gdLst/>
              <a:ahLst/>
              <a:cxnLst/>
              <a:rect l="l" t="t" r="r" b="b"/>
              <a:pathLst>
                <a:path w="67341" h="161639" extrusionOk="0">
                  <a:moveTo>
                    <a:pt x="0" y="0"/>
                  </a:moveTo>
                  <a:lnTo>
                    <a:pt x="67342" y="0"/>
                  </a:lnTo>
                  <a:lnTo>
                    <a:pt x="67342" y="161639"/>
                  </a:lnTo>
                  <a:lnTo>
                    <a:pt x="0" y="161639"/>
                  </a:lnTo>
                  <a:close/>
                </a:path>
              </a:pathLst>
            </a:custGeom>
            <a:no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8" name="Google Shape;628;p30"/>
            <p:cNvSpPr/>
            <p:nvPr/>
          </p:nvSpPr>
          <p:spPr>
            <a:xfrm>
              <a:off x="5934075" y="3533775"/>
              <a:ext cx="19050" cy="19050"/>
            </a:xfrm>
            <a:custGeom>
              <a:avLst/>
              <a:gdLst/>
              <a:ahLst/>
              <a:cxnLst/>
              <a:rect l="l" t="t" r="r" b="b"/>
              <a:pathLst>
                <a:path w="19050" h="19050" extrusionOk="0">
                  <a:moveTo>
                    <a:pt x="0" y="0"/>
                  </a:moveTo>
                  <a:lnTo>
                    <a:pt x="19050" y="19050"/>
                  </a:lnTo>
                </a:path>
              </a:pathLst>
            </a:custGeom>
            <a:no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29" name="Google Shape;629;p30"/>
            <p:cNvSpPr/>
            <p:nvPr/>
          </p:nvSpPr>
          <p:spPr>
            <a:xfrm>
              <a:off x="6124575" y="3257550"/>
              <a:ext cx="161925" cy="104775"/>
            </a:xfrm>
            <a:custGeom>
              <a:avLst/>
              <a:gdLst/>
              <a:ahLst/>
              <a:cxnLst/>
              <a:rect l="l" t="t" r="r" b="b"/>
              <a:pathLst>
                <a:path w="161925" h="104775" extrusionOk="0">
                  <a:moveTo>
                    <a:pt x="161925" y="104775"/>
                  </a:moveTo>
                  <a:lnTo>
                    <a:pt x="104775" y="104775"/>
                  </a:lnTo>
                  <a:lnTo>
                    <a:pt x="66675" y="66675"/>
                  </a:lnTo>
                  <a:lnTo>
                    <a:pt x="0" y="66675"/>
                  </a:lnTo>
                  <a:lnTo>
                    <a:pt x="0" y="47625"/>
                  </a:lnTo>
                  <a:cubicBezTo>
                    <a:pt x="0" y="31814"/>
                    <a:pt x="12764" y="19050"/>
                    <a:pt x="28575" y="19050"/>
                  </a:cubicBezTo>
                  <a:lnTo>
                    <a:pt x="57150" y="19050"/>
                  </a:lnTo>
                  <a:lnTo>
                    <a:pt x="76200" y="0"/>
                  </a:lnTo>
                  <a:lnTo>
                    <a:pt x="114300" y="0"/>
                  </a:lnTo>
                </a:path>
              </a:pathLst>
            </a:custGeom>
            <a:no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30" name="Google Shape;630;p30"/>
            <p:cNvSpPr/>
            <p:nvPr/>
          </p:nvSpPr>
          <p:spPr>
            <a:xfrm>
              <a:off x="6124575" y="3362325"/>
              <a:ext cx="104775" cy="85725"/>
            </a:xfrm>
            <a:custGeom>
              <a:avLst/>
              <a:gdLst/>
              <a:ahLst/>
              <a:cxnLst/>
              <a:rect l="l" t="t" r="r" b="b"/>
              <a:pathLst>
                <a:path w="104775" h="85725" extrusionOk="0">
                  <a:moveTo>
                    <a:pt x="47625" y="85725"/>
                  </a:moveTo>
                  <a:lnTo>
                    <a:pt x="47625" y="76200"/>
                  </a:lnTo>
                  <a:lnTo>
                    <a:pt x="28575" y="57150"/>
                  </a:lnTo>
                  <a:lnTo>
                    <a:pt x="9525" y="57150"/>
                  </a:lnTo>
                  <a:cubicBezTo>
                    <a:pt x="4286" y="57150"/>
                    <a:pt x="0" y="52864"/>
                    <a:pt x="0" y="47625"/>
                  </a:cubicBezTo>
                  <a:lnTo>
                    <a:pt x="0" y="28575"/>
                  </a:lnTo>
                  <a:cubicBezTo>
                    <a:pt x="0" y="12764"/>
                    <a:pt x="12764" y="0"/>
                    <a:pt x="28575" y="0"/>
                  </a:cubicBezTo>
                  <a:lnTo>
                    <a:pt x="66675" y="0"/>
                  </a:lnTo>
                  <a:lnTo>
                    <a:pt x="104775" y="38100"/>
                  </a:lnTo>
                  <a:lnTo>
                    <a:pt x="104775" y="57150"/>
                  </a:lnTo>
                </a:path>
              </a:pathLst>
            </a:custGeom>
            <a:no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31" name="Google Shape;631;p30"/>
            <p:cNvSpPr/>
            <p:nvPr/>
          </p:nvSpPr>
          <p:spPr>
            <a:xfrm>
              <a:off x="5981700" y="3276600"/>
              <a:ext cx="76200" cy="95250"/>
            </a:xfrm>
            <a:custGeom>
              <a:avLst/>
              <a:gdLst/>
              <a:ahLst/>
              <a:cxnLst/>
              <a:rect l="l" t="t" r="r" b="b"/>
              <a:pathLst>
                <a:path w="76200" h="95250" extrusionOk="0">
                  <a:moveTo>
                    <a:pt x="0" y="95250"/>
                  </a:moveTo>
                  <a:lnTo>
                    <a:pt x="19050" y="95250"/>
                  </a:lnTo>
                  <a:lnTo>
                    <a:pt x="38100" y="76200"/>
                  </a:lnTo>
                  <a:lnTo>
                    <a:pt x="38100" y="66675"/>
                  </a:lnTo>
                  <a:lnTo>
                    <a:pt x="57150" y="47625"/>
                  </a:lnTo>
                  <a:lnTo>
                    <a:pt x="76200" y="47625"/>
                  </a:lnTo>
                  <a:lnTo>
                    <a:pt x="76200" y="19050"/>
                  </a:lnTo>
                  <a:cubicBezTo>
                    <a:pt x="76200" y="8572"/>
                    <a:pt x="67628" y="0"/>
                    <a:pt x="57150" y="0"/>
                  </a:cubicBezTo>
                  <a:lnTo>
                    <a:pt x="28575" y="0"/>
                  </a:lnTo>
                </a:path>
              </a:pathLst>
            </a:custGeom>
            <a:no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632" name="Google Shape;632;p30"/>
            <p:cNvSpPr/>
            <p:nvPr/>
          </p:nvSpPr>
          <p:spPr>
            <a:xfrm>
              <a:off x="6010275" y="3381375"/>
              <a:ext cx="47625" cy="47625"/>
            </a:xfrm>
            <a:custGeom>
              <a:avLst/>
              <a:gdLst/>
              <a:ahLst/>
              <a:cxnLst/>
              <a:rect l="l" t="t" r="r" b="b"/>
              <a:pathLst>
                <a:path w="47625" h="47625" extrusionOk="0">
                  <a:moveTo>
                    <a:pt x="28575" y="47625"/>
                  </a:moveTo>
                  <a:lnTo>
                    <a:pt x="47625" y="28575"/>
                  </a:lnTo>
                  <a:lnTo>
                    <a:pt x="47625" y="19050"/>
                  </a:lnTo>
                  <a:lnTo>
                    <a:pt x="28575" y="0"/>
                  </a:lnTo>
                  <a:lnTo>
                    <a:pt x="19050" y="0"/>
                  </a:lnTo>
                  <a:lnTo>
                    <a:pt x="0" y="19050"/>
                  </a:lnTo>
                </a:path>
              </a:pathLst>
            </a:custGeom>
            <a:noFill/>
            <a:ln w="952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467" y="265237"/>
          <a:ext cx="1465" cy="1465"/>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467" y="265237"/>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Shape 171">
            <a:extLst>
              <a:ext uri="{FF2B5EF4-FFF2-40B4-BE49-F238E27FC236}">
                <a16:creationId xmlns:a16="http://schemas.microsoft.com/office/drawing/2014/main" id="{31138CA4-27AD-23FD-856D-63A9FB9A1272}"/>
              </a:ext>
            </a:extLst>
          </p:cNvPr>
          <p:cNvSpPr>
            <a:spLocks/>
          </p:cNvSpPr>
          <p:nvPr/>
        </p:nvSpPr>
        <p:spPr>
          <a:xfrm>
            <a:off x="539400" y="3550919"/>
            <a:ext cx="11113202" cy="2757805"/>
          </a:xfrm>
          <a:prstGeom prst="snip1Rect">
            <a:avLst>
              <a:gd name="adj" fmla="val 0"/>
            </a:avLst>
          </a:prstGeom>
          <a:gradFill flip="none" rotWithShape="1">
            <a:gsLst>
              <a:gs pos="0">
                <a:schemeClr val="tx2">
                  <a:lumMod val="60000"/>
                  <a:lumOff val="40000"/>
                  <a:alpha val="27000"/>
                </a:schemeClr>
              </a:gs>
              <a:gs pos="100000">
                <a:schemeClr val="accent1">
                  <a:lumMod val="20000"/>
                  <a:lumOff val="80000"/>
                  <a:alpha val="7000"/>
                </a:schemeClr>
              </a:gs>
            </a:gsLst>
            <a:lin ang="16200000" scaled="1"/>
            <a:tileRect/>
          </a:gradFill>
          <a:ln w="9525" cap="flat" cmpd="sng">
            <a:solidFill>
              <a:schemeClr val="accent2">
                <a:lumMod val="20000"/>
                <a:lumOff val="80000"/>
              </a:schemeClr>
            </a:solidFill>
            <a:prstDash val="solid"/>
            <a:miter/>
            <a:headEnd type="none" w="med" len="med"/>
            <a:tailEnd type="none" w="med" len="med"/>
          </a:ln>
        </p:spPr>
        <p:txBody>
          <a:bodyPr lIns="168808" tIns="84392" rIns="84392" bIns="84392"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endParaRPr kumimoji="0" lang="en-US" sz="1800" b="1" i="0" u="none" strike="noStrike" kern="1200" cap="none" spc="0" normalizeH="0" baseline="0" noProof="0" dirty="0">
              <a:ln>
                <a:noFill/>
              </a:ln>
              <a:solidFill>
                <a:srgbClr val="0F47F2"/>
              </a:solidFill>
              <a:effectLst/>
              <a:uLnTx/>
              <a:uFillTx/>
              <a:latin typeface="Arial"/>
              <a:ea typeface="Arial"/>
              <a:cs typeface="Arial"/>
              <a:sym typeface="Arial"/>
            </a:endParaRPr>
          </a:p>
        </p:txBody>
      </p:sp>
      <p:sp>
        <p:nvSpPr>
          <p:cNvPr id="3" name="Text Placeholder 2"/>
          <p:cNvSpPr>
            <a:spLocks noGrp="1"/>
          </p:cNvSpPr>
          <p:nvPr>
            <p:ph type="body" idx="1"/>
          </p:nvPr>
        </p:nvSpPr>
        <p:spPr>
          <a:xfrm>
            <a:off x="539399" y="1219589"/>
            <a:ext cx="11075937" cy="1938992"/>
          </a:xfrm>
        </p:spPr>
        <p:txBody>
          <a:bodyPr lIns="0" tIns="0" rIns="0" bIns="0"/>
          <a:lstStyle/>
          <a:p>
            <a:pPr marL="11723" marR="17585" algn="just">
              <a:lnSpc>
                <a:spcPct val="100000"/>
              </a:lnSpc>
              <a:spcBef>
                <a:spcPts val="18"/>
              </a:spcBef>
            </a:pPr>
            <a:r>
              <a:rPr lang="en-US" sz="1800" b="1" dirty="0">
                <a:solidFill>
                  <a:schemeClr val="accent1"/>
                </a:solidFill>
                <a:latin typeface="Calibri" panose="020F0502020204030204" pitchFamily="34" charset="0"/>
                <a:cs typeface="Calibri" panose="020F0502020204030204" pitchFamily="34" charset="0"/>
              </a:rPr>
              <a:t>Infomineo</a:t>
            </a:r>
            <a:r>
              <a:rPr lang="en-US" sz="1800" b="0" dirty="0">
                <a:latin typeface="Calibri" panose="020F0502020204030204" pitchFamily="34" charset="0"/>
                <a:cs typeface="Calibri" panose="020F0502020204030204" pitchFamily="34" charset="0"/>
              </a:rPr>
              <a:t> is a data and research outsourcing provider dedicated to supporting global companies in getting access to information that powers their investment decisions and operations. Our global coverage and unique value proposition has allowed us to develop long term relationships with most of the leading global consulting firms and Fortune 500 companies. </a:t>
            </a:r>
          </a:p>
          <a:p>
            <a:pPr marL="11723" marR="17585" algn="just">
              <a:lnSpc>
                <a:spcPct val="100000"/>
              </a:lnSpc>
              <a:spcBef>
                <a:spcPts val="18"/>
              </a:spcBef>
            </a:pPr>
            <a:endParaRPr lang="en-US" sz="1800" b="0" dirty="0">
              <a:latin typeface="Calibri" panose="020F0502020204030204" pitchFamily="34" charset="0"/>
              <a:cs typeface="Calibri" panose="020F0502020204030204" pitchFamily="34" charset="0"/>
            </a:endParaRPr>
          </a:p>
          <a:p>
            <a:pPr marL="11723" marR="17585" algn="just">
              <a:lnSpc>
                <a:spcPct val="100000"/>
              </a:lnSpc>
              <a:spcBef>
                <a:spcPts val="18"/>
              </a:spcBef>
            </a:pPr>
            <a:r>
              <a:rPr lang="en-US" sz="1800" b="0" dirty="0">
                <a:latin typeface="Calibri" panose="020F0502020204030204" pitchFamily="34" charset="0"/>
                <a:cs typeface="Calibri" panose="020F0502020204030204" pitchFamily="34" charset="0"/>
              </a:rPr>
              <a:t>Created in 2011 by an ex-BCG and ex-McKinsey consultants, </a:t>
            </a:r>
            <a:r>
              <a:rPr lang="en-US" sz="1800" b="1" dirty="0">
                <a:solidFill>
                  <a:schemeClr val="accent1"/>
                </a:solidFill>
                <a:latin typeface="Calibri" panose="020F0502020204030204" pitchFamily="34" charset="0"/>
                <a:cs typeface="Calibri" panose="020F0502020204030204" pitchFamily="34" charset="0"/>
              </a:rPr>
              <a:t>Infomineo combines leading consulting methodologies and data research techniques</a:t>
            </a:r>
            <a:r>
              <a:rPr lang="en-US" sz="1800" b="0" dirty="0">
                <a:solidFill>
                  <a:schemeClr val="accent1"/>
                </a:solidFill>
                <a:latin typeface="Calibri" panose="020F0502020204030204" pitchFamily="34" charset="0"/>
                <a:cs typeface="Calibri" panose="020F0502020204030204" pitchFamily="34" charset="0"/>
              </a:rPr>
              <a:t>. </a:t>
            </a:r>
            <a:endParaRPr lang="en-US" sz="1800" dirty="0">
              <a:solidFill>
                <a:schemeClr val="accent1"/>
              </a:solidFill>
              <a:latin typeface="Calibri" panose="020F0502020204030204" pitchFamily="34" charset="0"/>
              <a:cs typeface="Calibri" panose="020F0502020204030204" pitchFamily="34" charset="0"/>
            </a:endParaRPr>
          </a:p>
        </p:txBody>
      </p:sp>
      <p:sp>
        <p:nvSpPr>
          <p:cNvPr id="192" name="TextBox 191">
            <a:extLst>
              <a:ext uri="{FF2B5EF4-FFF2-40B4-BE49-F238E27FC236}">
                <a16:creationId xmlns:a16="http://schemas.microsoft.com/office/drawing/2014/main" id="{98783B3A-8E7C-4A58-AD01-2D3B48AF8DCF}"/>
              </a:ext>
            </a:extLst>
          </p:cNvPr>
          <p:cNvSpPr txBox="1"/>
          <p:nvPr/>
        </p:nvSpPr>
        <p:spPr>
          <a:xfrm>
            <a:off x="450622" y="471335"/>
            <a:ext cx="1133497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dirty="0">
                <a:ln>
                  <a:noFill/>
                </a:ln>
                <a:solidFill>
                  <a:srgbClr val="0F47F2"/>
                </a:solidFill>
                <a:effectLst/>
                <a:uLnTx/>
                <a:uFillTx/>
                <a:latin typeface="Franklin Gothic" panose="020B0604020202020204" charset="0"/>
                <a:sym typeface="Libre Franklin"/>
              </a:rPr>
              <a:t>Infomineo has grown into the leader of Brainshoring</a:t>
            </a:r>
            <a:endParaRPr kumimoji="0" lang="en-US" sz="3000" b="0" i="0" u="none" strike="noStrike" kern="1200" cap="none" spc="0" normalizeH="0" baseline="0" noProof="0" dirty="0">
              <a:ln>
                <a:noFill/>
              </a:ln>
              <a:solidFill>
                <a:srgbClr val="0F47F2"/>
              </a:solidFill>
              <a:effectLst/>
              <a:uLnTx/>
              <a:uFillTx/>
              <a:latin typeface="Franklin Gothic" panose="020B0604020202020204" charset="0"/>
              <a:ea typeface="+mn-ea"/>
              <a:cs typeface="Calibri" panose="020F0502020204030204" pitchFamily="34" charset="0"/>
              <a:sym typeface="Calibri" panose="020F0502020204030204" pitchFamily="34" charset="0"/>
            </a:endParaRPr>
          </a:p>
        </p:txBody>
      </p:sp>
      <p:sp>
        <p:nvSpPr>
          <p:cNvPr id="162" name="Google Shape;1231;p5">
            <a:extLst>
              <a:ext uri="{FF2B5EF4-FFF2-40B4-BE49-F238E27FC236}">
                <a16:creationId xmlns:a16="http://schemas.microsoft.com/office/drawing/2014/main" id="{63E1D4AD-BB80-4703-BC9D-CABD59332A26}"/>
              </a:ext>
            </a:extLst>
          </p:cNvPr>
          <p:cNvSpPr txBox="1"/>
          <p:nvPr/>
        </p:nvSpPr>
        <p:spPr>
          <a:xfrm>
            <a:off x="722889" y="5215446"/>
            <a:ext cx="1365020" cy="664798"/>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90000"/>
              </a:lnSpc>
              <a:spcBef>
                <a:spcPts val="0"/>
              </a:spcBef>
              <a:spcAft>
                <a:spcPts val="0"/>
              </a:spcAft>
              <a:buClr>
                <a:srgbClr val="000000"/>
              </a:buClr>
              <a:buSzPts val="1600"/>
              <a:buFont typeface="Arial"/>
              <a:buNone/>
              <a:tabLst/>
              <a:defRPr/>
            </a:pPr>
            <a:r>
              <a:rPr kumimoji="0" lang="en-US" sz="1600" b="1" i="0" u="none" strike="noStrike" kern="1200" cap="none" spc="0" normalizeH="0" baseline="0" noProof="0" dirty="0">
                <a:ln>
                  <a:noFill/>
                </a:ln>
                <a:solidFill>
                  <a:srgbClr val="0F47F2"/>
                </a:solidFill>
                <a:effectLst/>
                <a:uLnTx/>
                <a:uFillTx/>
                <a:latin typeface="Franklin Gothic"/>
                <a:ea typeface="Franklin Gothic"/>
                <a:cs typeface="Franklin Gothic"/>
                <a:sym typeface="Franklin Gothic"/>
              </a:rPr>
              <a:t>17</a:t>
            </a:r>
            <a:r>
              <a:rPr kumimoji="0" lang="en-US" sz="1400" b="0" i="0" u="none" strike="noStrike" kern="1200" cap="none" spc="0" normalizeH="0" baseline="0" noProof="0" dirty="0">
                <a:ln>
                  <a:noFill/>
                </a:ln>
                <a:solidFill>
                  <a:srgbClr val="00B050"/>
                </a:solidFill>
                <a:effectLst/>
                <a:uLnTx/>
                <a:uFillTx/>
                <a:latin typeface="Calibri"/>
                <a:ea typeface="Calibri"/>
                <a:cs typeface="Calibri"/>
                <a:sym typeface="Calibri"/>
              </a:rPr>
              <a:t> </a:t>
            </a: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nationalities</a:t>
            </a:r>
            <a:r>
              <a:rPr kumimoji="0" lang="en-US" sz="1400" b="0" i="0" u="none" strike="noStrike" kern="1200" cap="none" spc="0" normalizeH="0" baseline="0" noProof="0" dirty="0">
                <a:ln>
                  <a:noFill/>
                </a:ln>
                <a:solidFill>
                  <a:srgbClr val="444444"/>
                </a:solidFill>
                <a:effectLst/>
                <a:uLnTx/>
                <a:uFillTx/>
                <a:latin typeface="Calibri"/>
                <a:ea typeface="Calibri"/>
                <a:cs typeface="Calibri"/>
                <a:sym typeface="Calibri"/>
              </a:rPr>
              <a:t>,</a:t>
            </a:r>
            <a:br>
              <a:rPr kumimoji="0" lang="en-US" sz="1400" b="0" i="0" u="none" strike="noStrike" kern="1200" cap="none" spc="0" normalizeH="0" baseline="0" noProof="0" dirty="0">
                <a:ln>
                  <a:noFill/>
                </a:ln>
                <a:solidFill>
                  <a:srgbClr val="727272"/>
                </a:solidFill>
                <a:effectLst/>
                <a:uLnTx/>
                <a:uFillTx/>
                <a:latin typeface="Calibri"/>
                <a:ea typeface="Calibri"/>
                <a:cs typeface="Calibri"/>
                <a:sym typeface="Calibri"/>
              </a:rPr>
            </a:br>
            <a:r>
              <a:rPr kumimoji="0" lang="en-US" sz="1600" b="1" i="0" u="none" strike="noStrike" kern="1200" cap="none" spc="0" normalizeH="0" baseline="0" noProof="0" dirty="0">
                <a:ln>
                  <a:noFill/>
                </a:ln>
                <a:solidFill>
                  <a:srgbClr val="0F47F2"/>
                </a:solidFill>
                <a:effectLst/>
                <a:uLnTx/>
                <a:uFillTx/>
                <a:latin typeface="Franklin Gothic"/>
                <a:ea typeface="Franklin Gothic"/>
                <a:cs typeface="Franklin Gothic"/>
                <a:sym typeface="Franklin Gothic"/>
              </a:rPr>
              <a:t>13</a:t>
            </a:r>
            <a:r>
              <a:rPr kumimoji="0" lang="en-US" sz="1400" b="0" i="0" u="none" strike="noStrike" kern="1200" cap="none" spc="0" normalizeH="0" baseline="0" noProof="0" dirty="0">
                <a:ln>
                  <a:noFill/>
                </a:ln>
                <a:solidFill>
                  <a:srgbClr val="0070C0"/>
                </a:solidFill>
                <a:effectLst/>
                <a:uLnTx/>
                <a:uFillTx/>
                <a:latin typeface="Calibri"/>
                <a:ea typeface="Calibri"/>
                <a:cs typeface="Calibri"/>
                <a:sym typeface="Calibri"/>
              </a:rPr>
              <a:t> </a:t>
            </a: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languages</a:t>
            </a:r>
            <a:r>
              <a:rPr kumimoji="0" lang="en-US" sz="1400" b="0" i="0" u="none" strike="noStrike" kern="1200" cap="none" spc="0" normalizeH="0" baseline="0" noProof="0" dirty="0">
                <a:ln>
                  <a:noFill/>
                </a:ln>
                <a:solidFill>
                  <a:srgbClr val="444444"/>
                </a:solidFill>
                <a:effectLst/>
                <a:uLnTx/>
                <a:uFillTx/>
                <a:latin typeface="Calibri"/>
                <a:ea typeface="Calibri"/>
                <a:cs typeface="Calibri"/>
                <a:sym typeface="Calibri"/>
              </a:rPr>
              <a:t> </a:t>
            </a: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spoken natively</a:t>
            </a:r>
            <a:endParaRPr kumimoji="0" sz="1600" b="0" i="0" u="none" strike="noStrike" kern="1200" cap="none" spc="0" normalizeH="0" baseline="0" noProof="0" dirty="0">
              <a:ln>
                <a:noFill/>
              </a:ln>
              <a:solidFill>
                <a:srgbClr val="444444"/>
              </a:solidFill>
              <a:effectLst/>
              <a:uLnTx/>
              <a:uFillTx/>
              <a:latin typeface="Calibri"/>
              <a:ea typeface="Calibri"/>
              <a:cs typeface="Calibri"/>
              <a:sym typeface="Arial"/>
            </a:endParaRPr>
          </a:p>
        </p:txBody>
      </p:sp>
      <p:sp>
        <p:nvSpPr>
          <p:cNvPr id="163" name="Google Shape;1232;p5">
            <a:extLst>
              <a:ext uri="{FF2B5EF4-FFF2-40B4-BE49-F238E27FC236}">
                <a16:creationId xmlns:a16="http://schemas.microsoft.com/office/drawing/2014/main" id="{C2A5FA4C-CD3A-42BC-AE2E-09B3DE0B746A}"/>
              </a:ext>
            </a:extLst>
          </p:cNvPr>
          <p:cNvSpPr txBox="1"/>
          <p:nvPr/>
        </p:nvSpPr>
        <p:spPr>
          <a:xfrm>
            <a:off x="3673678" y="5215446"/>
            <a:ext cx="1917942" cy="886397"/>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90000"/>
              </a:lnSpc>
              <a:spcBef>
                <a:spcPts val="0"/>
              </a:spcBef>
              <a:spcAft>
                <a:spcPts val="0"/>
              </a:spcAft>
              <a:buClr>
                <a:srgbClr val="000000"/>
              </a:buClr>
              <a:buSzPts val="1600"/>
              <a:buFont typeface="Arial"/>
              <a:buNone/>
              <a:tabLst/>
              <a:defRPr/>
            </a:pPr>
            <a:r>
              <a:rPr kumimoji="0" lang="en-US" sz="1600" b="1" i="0" u="none" strike="noStrike" kern="1200" cap="none" spc="0" normalizeH="0" baseline="0" noProof="0" dirty="0">
                <a:ln>
                  <a:noFill/>
                </a:ln>
                <a:solidFill>
                  <a:srgbClr val="0F47F2"/>
                </a:solidFill>
                <a:effectLst/>
                <a:uLnTx/>
                <a:uFillTx/>
                <a:latin typeface="Franklin Gothic"/>
                <a:ea typeface="Franklin Gothic"/>
                <a:cs typeface="Franklin Gothic"/>
                <a:sym typeface="Franklin Gothic"/>
              </a:rPr>
              <a:t> 5 offices</a:t>
            </a:r>
            <a:br>
              <a:rPr kumimoji="0" lang="en-US" sz="1600" b="1" i="0" u="none" strike="noStrike" kern="1200" cap="none" spc="0" normalizeH="0" baseline="0" noProof="0" dirty="0">
                <a:ln>
                  <a:noFill/>
                </a:ln>
                <a:solidFill>
                  <a:srgbClr val="0070C0"/>
                </a:solidFill>
                <a:effectLst/>
                <a:uLnTx/>
                <a:uFillTx/>
                <a:latin typeface="Calibri"/>
                <a:ea typeface="Calibri"/>
                <a:cs typeface="Calibri"/>
                <a:sym typeface="Calibri"/>
              </a:rPr>
            </a:b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Casablanca, Cairo, Dubai, Barcelona </a:t>
            </a:r>
            <a:b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b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and Mexico</a:t>
            </a:r>
            <a:endParaRPr kumimoji="0" sz="1600" b="0" i="0" u="none" strike="noStrike" kern="1200" cap="none" spc="0" normalizeH="0" baseline="0" noProof="0" dirty="0">
              <a:ln>
                <a:noFill/>
              </a:ln>
              <a:solidFill>
                <a:srgbClr val="444444"/>
              </a:solidFill>
              <a:effectLst/>
              <a:uLnTx/>
              <a:uFillTx/>
              <a:latin typeface="Calibri"/>
              <a:ea typeface="Calibri"/>
              <a:cs typeface="Calibri"/>
              <a:sym typeface="Arial"/>
            </a:endParaRPr>
          </a:p>
        </p:txBody>
      </p:sp>
      <p:sp>
        <p:nvSpPr>
          <p:cNvPr id="165" name="Google Shape;1234;p5">
            <a:extLst>
              <a:ext uri="{FF2B5EF4-FFF2-40B4-BE49-F238E27FC236}">
                <a16:creationId xmlns:a16="http://schemas.microsoft.com/office/drawing/2014/main" id="{7A29F96C-2B32-45DC-A9F2-FF1DA780B8D5}"/>
              </a:ext>
            </a:extLst>
          </p:cNvPr>
          <p:cNvSpPr txBox="1"/>
          <p:nvPr/>
        </p:nvSpPr>
        <p:spPr>
          <a:xfrm>
            <a:off x="6543386" y="5215446"/>
            <a:ext cx="2254424" cy="886398"/>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90000"/>
              </a:lnSpc>
              <a:spcBef>
                <a:spcPts val="0"/>
              </a:spcBef>
              <a:spcAft>
                <a:spcPts val="0"/>
              </a:spcAft>
              <a:buClr>
                <a:srgbClr val="000000"/>
              </a:buClr>
              <a:buSzPts val="1600"/>
              <a:buFont typeface="Arial"/>
              <a:buNone/>
              <a:tabLst/>
              <a:defRPr/>
            </a:pPr>
            <a:r>
              <a:rPr kumimoji="0" lang="en-US" sz="1600" b="1" i="0" u="none" strike="noStrike" kern="1200" cap="none" spc="0" normalizeH="0" baseline="0" noProof="0" dirty="0">
                <a:ln>
                  <a:noFill/>
                </a:ln>
                <a:solidFill>
                  <a:srgbClr val="0F47F2"/>
                </a:solidFill>
                <a:effectLst/>
                <a:uLnTx/>
                <a:uFillTx/>
                <a:latin typeface="Franklin Gothic"/>
                <a:ea typeface="Franklin Gothic"/>
                <a:cs typeface="Franklin Gothic"/>
                <a:sym typeface="Franklin Gothic"/>
              </a:rPr>
              <a:t>Geographic distribution</a:t>
            </a:r>
            <a:br>
              <a:rPr kumimoji="0" lang="en-US" sz="1400" b="0" i="0" u="none" strike="noStrike" kern="1200" cap="none" spc="0" normalizeH="0" baseline="0" noProof="0" dirty="0">
                <a:ln>
                  <a:noFill/>
                </a:ln>
                <a:solidFill>
                  <a:srgbClr val="444444"/>
                </a:solidFill>
                <a:effectLst/>
                <a:uLnTx/>
                <a:uFillTx/>
                <a:latin typeface="Calibri"/>
                <a:ea typeface="Calibri"/>
                <a:cs typeface="Calibri"/>
                <a:sym typeface="Calibri"/>
              </a:rPr>
            </a:b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of our work:</a:t>
            </a:r>
            <a:b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b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40% Europe, 40% Middle East and Africa, 20% ROW</a:t>
            </a:r>
            <a:endParaRPr kumimoji="0" sz="1600" b="0" i="0" u="none" strike="noStrike" kern="1200" cap="none" spc="0" normalizeH="0" baseline="0" noProof="0" dirty="0">
              <a:ln>
                <a:noFill/>
              </a:ln>
              <a:solidFill>
                <a:srgbClr val="444444"/>
              </a:solidFill>
              <a:effectLst/>
              <a:uLnTx/>
              <a:uFillTx/>
              <a:latin typeface="Calibri"/>
              <a:ea typeface="Calibri"/>
              <a:cs typeface="Calibri"/>
              <a:sym typeface="Arial"/>
            </a:endParaRPr>
          </a:p>
        </p:txBody>
      </p:sp>
      <p:grpSp>
        <p:nvGrpSpPr>
          <p:cNvPr id="6" name="Group 5">
            <a:extLst>
              <a:ext uri="{FF2B5EF4-FFF2-40B4-BE49-F238E27FC236}">
                <a16:creationId xmlns:a16="http://schemas.microsoft.com/office/drawing/2014/main" id="{4CE87914-B4D5-DF9F-4847-AA72D6902FCD}"/>
              </a:ext>
            </a:extLst>
          </p:cNvPr>
          <p:cNvGrpSpPr/>
          <p:nvPr/>
        </p:nvGrpSpPr>
        <p:grpSpPr>
          <a:xfrm>
            <a:off x="1515158" y="3829673"/>
            <a:ext cx="8659726" cy="664803"/>
            <a:chOff x="1415906" y="4032802"/>
            <a:chExt cx="8845494" cy="679064"/>
          </a:xfrm>
        </p:grpSpPr>
        <p:sp>
          <p:nvSpPr>
            <p:cNvPr id="161" name="Google Shape;1230;p5">
              <a:extLst>
                <a:ext uri="{FF2B5EF4-FFF2-40B4-BE49-F238E27FC236}">
                  <a16:creationId xmlns:a16="http://schemas.microsoft.com/office/drawing/2014/main" id="{5ED4EEE7-C62F-4520-8B45-2455F40857D3}"/>
                </a:ext>
              </a:extLst>
            </p:cNvPr>
            <p:cNvSpPr txBox="1"/>
            <p:nvPr/>
          </p:nvSpPr>
          <p:spPr>
            <a:xfrm>
              <a:off x="1415906" y="4032808"/>
              <a:ext cx="3195866" cy="679058"/>
            </a:xfrm>
            <a:prstGeom prst="rect">
              <a:avLst/>
            </a:prstGeom>
            <a:noFill/>
            <a:ln>
              <a:noFill/>
            </a:ln>
          </p:spPr>
          <p:txBody>
            <a:bodyPr spcFirstLastPara="1" wrap="square" lIns="0" tIns="0" rIns="0" bIns="0" anchor="b" anchorCtr="0">
              <a:spAutoFit/>
            </a:bodyPr>
            <a:lstStyle/>
            <a:p>
              <a:pPr marL="0" marR="0" lvl="0" indent="0" algn="ctr" defTabSz="914400" rtl="0" eaLnBrk="1" fontAlgn="auto" latinLnBrk="0" hangingPunct="1">
                <a:lnSpc>
                  <a:spcPct val="90000"/>
                </a:lnSpc>
                <a:spcBef>
                  <a:spcPts val="0"/>
                </a:spcBef>
                <a:spcAft>
                  <a:spcPts val="0"/>
                </a:spcAft>
                <a:buClr>
                  <a:srgbClr val="000000"/>
                </a:buClr>
                <a:buSzPts val="1600"/>
                <a:buFont typeface="Arial"/>
                <a:buNone/>
                <a:tabLst/>
                <a:defRPr/>
              </a:pPr>
              <a:r>
                <a:rPr kumimoji="0" lang="en-US" sz="1600" b="1" i="0" u="none" strike="noStrike" kern="1200" cap="none" spc="0" normalizeH="0" baseline="0" noProof="0" dirty="0">
                  <a:ln>
                    <a:noFill/>
                  </a:ln>
                  <a:solidFill>
                    <a:srgbClr val="0F47F2"/>
                  </a:solidFill>
                  <a:effectLst/>
                  <a:uLnTx/>
                  <a:uFillTx/>
                  <a:latin typeface="Franklin Gothic"/>
                  <a:ea typeface="Franklin Gothic"/>
                  <a:cs typeface="Franklin Gothic"/>
                  <a:sym typeface="Franklin Gothic"/>
                </a:rPr>
                <a:t>290</a:t>
              </a:r>
              <a:r>
                <a:rPr kumimoji="0" lang="en-US" sz="1600" b="1" i="0" u="none" strike="noStrike" kern="1200" cap="none" spc="0" normalizeH="0" baseline="0" noProof="0" dirty="0">
                  <a:ln>
                    <a:noFill/>
                  </a:ln>
                  <a:solidFill>
                    <a:srgbClr val="0F47F2"/>
                  </a:solidFill>
                  <a:effectLst/>
                  <a:uLnTx/>
                  <a:uFillTx/>
                  <a:latin typeface="Calibri"/>
                  <a:ea typeface="Calibri"/>
                  <a:cs typeface="Calibri"/>
                  <a:sym typeface="Calibri"/>
                </a:rPr>
                <a:t> </a:t>
              </a: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employees, 55% of women</a:t>
              </a:r>
              <a:b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b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Mix of business and technical (engineering, design) backgrounds</a:t>
              </a:r>
              <a:endParaRPr kumimoji="0" sz="1600" b="0" i="0" u="none" strike="noStrike" kern="1200" cap="none" spc="0" normalizeH="0" baseline="0" noProof="0" dirty="0">
                <a:ln>
                  <a:noFill/>
                </a:ln>
                <a:solidFill>
                  <a:srgbClr val="444444"/>
                </a:solidFill>
                <a:effectLst/>
                <a:uLnTx/>
                <a:uFillTx/>
                <a:latin typeface="Calibri"/>
                <a:ea typeface="Calibri"/>
                <a:cs typeface="Calibri"/>
                <a:sym typeface="Arial"/>
              </a:endParaRPr>
            </a:p>
          </p:txBody>
        </p:sp>
        <p:sp>
          <p:nvSpPr>
            <p:cNvPr id="164" name="Google Shape;1233;p5">
              <a:extLst>
                <a:ext uri="{FF2B5EF4-FFF2-40B4-BE49-F238E27FC236}">
                  <a16:creationId xmlns:a16="http://schemas.microsoft.com/office/drawing/2014/main" id="{6B9A3932-A583-47E8-838B-1520C39857FA}"/>
                </a:ext>
              </a:extLst>
            </p:cNvPr>
            <p:cNvSpPr txBox="1"/>
            <p:nvPr/>
          </p:nvSpPr>
          <p:spPr>
            <a:xfrm>
              <a:off x="4993506" y="4032802"/>
              <a:ext cx="2204990" cy="679058"/>
            </a:xfrm>
            <a:prstGeom prst="rect">
              <a:avLst/>
            </a:prstGeom>
            <a:noFill/>
            <a:ln>
              <a:noFill/>
            </a:ln>
          </p:spPr>
          <p:txBody>
            <a:bodyPr spcFirstLastPara="1" wrap="square" lIns="0" tIns="0" rIns="0" bIns="0" anchor="b" anchorCtr="0">
              <a:spAutoFit/>
            </a:bodyPr>
            <a:lstStyle/>
            <a:p>
              <a:pPr marL="0" marR="0" lvl="0" indent="0" algn="ctr" defTabSz="914400" rtl="0" eaLnBrk="1" fontAlgn="auto" latinLnBrk="0" hangingPunct="1">
                <a:lnSpc>
                  <a:spcPct val="90000"/>
                </a:lnSpc>
                <a:spcBef>
                  <a:spcPts val="0"/>
                </a:spcBef>
                <a:spcAft>
                  <a:spcPts val="0"/>
                </a:spcAft>
                <a:buClr>
                  <a:srgbClr val="000000"/>
                </a:buClr>
                <a:buSzPts val="1600"/>
                <a:buFont typeface="Arial"/>
                <a:buNone/>
                <a:tabLst/>
                <a:defRPr/>
              </a:pPr>
              <a:r>
                <a:rPr kumimoji="0" lang="en-US" sz="1600" b="1" i="0" u="none" strike="noStrike" kern="1200" cap="none" spc="0" normalizeH="0" baseline="0" noProof="0" dirty="0">
                  <a:ln>
                    <a:noFill/>
                  </a:ln>
                  <a:solidFill>
                    <a:srgbClr val="0F47F2"/>
                  </a:solidFill>
                  <a:effectLst/>
                  <a:uLnTx/>
                  <a:uFillTx/>
                  <a:latin typeface="Franklin Gothic"/>
                  <a:ea typeface="Franklin Gothic"/>
                  <a:cs typeface="Franklin Gothic"/>
                  <a:sym typeface="Franklin Gothic"/>
                </a:rPr>
                <a:t>200,000+</a:t>
              </a:r>
              <a:br>
                <a:rPr kumimoji="0" lang="en-US" sz="1600" b="1" i="0" u="none" strike="noStrike" kern="1200" cap="none" spc="0" normalizeH="0" baseline="0" noProof="0" dirty="0">
                  <a:ln>
                    <a:noFill/>
                  </a:ln>
                  <a:solidFill>
                    <a:srgbClr val="0070C0"/>
                  </a:solidFill>
                  <a:effectLst/>
                  <a:uLnTx/>
                  <a:uFillTx/>
                  <a:latin typeface="Calibri"/>
                  <a:ea typeface="Calibri"/>
                  <a:cs typeface="Calibri"/>
                  <a:sym typeface="Calibri"/>
                </a:rPr>
              </a:b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requests successfully executed</a:t>
              </a:r>
              <a:endParaRPr kumimoji="0" sz="1600" b="0" i="0" u="none" strike="noStrike" kern="1200" cap="none" spc="0" normalizeH="0" baseline="0" noProof="0" dirty="0">
                <a:ln>
                  <a:noFill/>
                </a:ln>
                <a:solidFill>
                  <a:srgbClr val="444444"/>
                </a:solidFill>
                <a:effectLst/>
                <a:uLnTx/>
                <a:uFillTx/>
                <a:latin typeface="Calibri"/>
                <a:ea typeface="Calibri"/>
                <a:cs typeface="Calibri"/>
                <a:sym typeface="Arial"/>
              </a:endParaRPr>
            </a:p>
          </p:txBody>
        </p:sp>
        <p:sp>
          <p:nvSpPr>
            <p:cNvPr id="166" name="Google Shape;1235;p5">
              <a:extLst>
                <a:ext uri="{FF2B5EF4-FFF2-40B4-BE49-F238E27FC236}">
                  <a16:creationId xmlns:a16="http://schemas.microsoft.com/office/drawing/2014/main" id="{C175C7DE-5A58-4054-9F42-DAA6A4E9FCD0}"/>
                </a:ext>
              </a:extLst>
            </p:cNvPr>
            <p:cNvSpPr txBox="1"/>
            <p:nvPr/>
          </p:nvSpPr>
          <p:spPr>
            <a:xfrm>
              <a:off x="8443219" y="4032802"/>
              <a:ext cx="1818181" cy="679058"/>
            </a:xfrm>
            <a:prstGeom prst="rect">
              <a:avLst/>
            </a:prstGeom>
            <a:noFill/>
            <a:ln>
              <a:noFill/>
            </a:ln>
          </p:spPr>
          <p:txBody>
            <a:bodyPr spcFirstLastPara="1" wrap="square" lIns="0" tIns="0" rIns="0" bIns="0" anchor="b" anchorCtr="0">
              <a:spAutoFit/>
            </a:bodyPr>
            <a:lstStyle/>
            <a:p>
              <a:pPr marL="0" marR="0" lvl="0" indent="0" algn="ctr" defTabSz="914400" rtl="0" eaLnBrk="1" fontAlgn="auto" latinLnBrk="0" hangingPunct="1">
                <a:lnSpc>
                  <a:spcPct val="90000"/>
                </a:lnSpc>
                <a:spcBef>
                  <a:spcPts val="0"/>
                </a:spcBef>
                <a:spcAft>
                  <a:spcPts val="0"/>
                </a:spcAft>
                <a:buClr>
                  <a:srgbClr val="000000"/>
                </a:buClr>
                <a:buSzPts val="1600"/>
                <a:buFont typeface="Arial"/>
                <a:buNone/>
                <a:tabLst/>
                <a:defRPr/>
              </a:pPr>
              <a:r>
                <a:rPr kumimoji="0" lang="en-US" sz="1600" b="1" i="0" u="none" strike="noStrike" kern="1200" cap="none" spc="0" normalizeH="0" baseline="0" noProof="0" dirty="0">
                  <a:ln>
                    <a:noFill/>
                  </a:ln>
                  <a:solidFill>
                    <a:srgbClr val="0F47F2"/>
                  </a:solidFill>
                  <a:effectLst/>
                  <a:uLnTx/>
                  <a:uFillTx/>
                  <a:latin typeface="Franklin Gothic"/>
                  <a:ea typeface="Franklin Gothic"/>
                  <a:cs typeface="Franklin Gothic"/>
                  <a:sym typeface="Franklin Gothic"/>
                </a:rPr>
                <a:t>97% </a:t>
              </a: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of requests rated as meeting or above expectations</a:t>
              </a:r>
              <a:endParaRPr kumimoji="0"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grpSp>
      <p:sp>
        <p:nvSpPr>
          <p:cNvPr id="167" name="Google Shape;1237;p5">
            <a:extLst>
              <a:ext uri="{FF2B5EF4-FFF2-40B4-BE49-F238E27FC236}">
                <a16:creationId xmlns:a16="http://schemas.microsoft.com/office/drawing/2014/main" id="{C535F388-1616-44AA-B0FF-8341512521B2}"/>
              </a:ext>
            </a:extLst>
          </p:cNvPr>
          <p:cNvSpPr txBox="1"/>
          <p:nvPr/>
        </p:nvSpPr>
        <p:spPr>
          <a:xfrm>
            <a:off x="10112127" y="5215446"/>
            <a:ext cx="1514673" cy="886397"/>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90000"/>
              </a:lnSpc>
              <a:spcBef>
                <a:spcPts val="0"/>
              </a:spcBef>
              <a:spcAft>
                <a:spcPts val="0"/>
              </a:spcAft>
              <a:buClr>
                <a:srgbClr val="000000"/>
              </a:buClr>
              <a:buSzPts val="1600"/>
              <a:buFont typeface="Arial"/>
              <a:buNone/>
              <a:tabLst/>
              <a:defRPr/>
            </a:pPr>
            <a:r>
              <a:rPr kumimoji="0" lang="en-US" sz="1600" b="1" i="0" u="none" strike="noStrike" kern="1200" cap="none" spc="0" normalizeH="0" baseline="0" noProof="0" dirty="0">
                <a:ln>
                  <a:noFill/>
                </a:ln>
                <a:solidFill>
                  <a:srgbClr val="0F47F2"/>
                </a:solidFill>
                <a:effectLst/>
                <a:uLnTx/>
                <a:uFillTx/>
                <a:latin typeface="Franklin Gothic"/>
                <a:ea typeface="Franklin Gothic"/>
                <a:cs typeface="Franklin Gothic"/>
                <a:sym typeface="Franklin Gothic"/>
              </a:rPr>
              <a:t>85%</a:t>
            </a:r>
            <a:br>
              <a:rPr kumimoji="0" lang="en-US" sz="1600" b="1" i="0" u="none" strike="noStrike" kern="1200" cap="none" spc="0" normalizeH="0" baseline="0" noProof="0" dirty="0">
                <a:ln>
                  <a:noFill/>
                </a:ln>
                <a:solidFill>
                  <a:srgbClr val="0070C0"/>
                </a:solidFill>
                <a:effectLst/>
                <a:uLnTx/>
                <a:uFillTx/>
                <a:latin typeface="Calibri"/>
                <a:ea typeface="Calibri"/>
                <a:cs typeface="Calibri"/>
                <a:sym typeface="Calibri"/>
              </a:rPr>
            </a:b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of our business </a:t>
            </a:r>
            <a:b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b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on a retainer </a:t>
            </a:r>
            <a:b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br>
            <a:r>
              <a:rPr kumimoji="0" lang="en-US" sz="1600" b="0" i="0" u="none" strike="noStrike" kern="1200" cap="none" spc="0" normalizeH="0" baseline="0" noProof="0" dirty="0">
                <a:ln>
                  <a:noFill/>
                </a:ln>
                <a:solidFill>
                  <a:srgbClr val="444444"/>
                </a:solidFill>
                <a:effectLst/>
                <a:uLnTx/>
                <a:uFillTx/>
                <a:latin typeface="Calibri"/>
                <a:ea typeface="Calibri"/>
                <a:cs typeface="Calibri"/>
                <a:sym typeface="Calibri"/>
              </a:rPr>
              <a:t>basis</a:t>
            </a:r>
            <a:endParaRPr kumimoji="0" sz="1600" b="0" i="0" u="none" strike="noStrike" kern="1200" cap="none" spc="0" normalizeH="0" baseline="0" noProof="0" dirty="0">
              <a:ln>
                <a:noFill/>
              </a:ln>
              <a:solidFill>
                <a:srgbClr val="444444"/>
              </a:solidFill>
              <a:effectLst/>
              <a:uLnTx/>
              <a:uFillTx/>
              <a:latin typeface="Calibri"/>
              <a:ea typeface="Calibri"/>
              <a:cs typeface="Calibri"/>
              <a:sym typeface="Arial"/>
            </a:endParaRPr>
          </a:p>
        </p:txBody>
      </p:sp>
      <p:pic>
        <p:nvPicPr>
          <p:cNvPr id="106" name="Google Shape;1225;p5">
            <a:extLst>
              <a:ext uri="{FF2B5EF4-FFF2-40B4-BE49-F238E27FC236}">
                <a16:creationId xmlns:a16="http://schemas.microsoft.com/office/drawing/2014/main" id="{C6FD368D-A947-4F91-AB83-21DCB2D70E30}"/>
              </a:ext>
            </a:extLst>
          </p:cNvPr>
          <p:cNvPicPr preferRelativeResize="0"/>
          <p:nvPr/>
        </p:nvPicPr>
        <p:blipFill rotWithShape="1">
          <a:blip r:embed="rId6">
            <a:alphaModFix/>
          </a:blip>
          <a:srcRect/>
          <a:stretch/>
        </p:blipFill>
        <p:spPr>
          <a:xfrm>
            <a:off x="2716476" y="4624927"/>
            <a:ext cx="699498" cy="483958"/>
          </a:xfrm>
          <a:prstGeom prst="rect">
            <a:avLst/>
          </a:prstGeom>
          <a:noFill/>
          <a:ln>
            <a:noFill/>
          </a:ln>
        </p:spPr>
      </p:pic>
      <p:pic>
        <p:nvPicPr>
          <p:cNvPr id="108" name="Google Shape;1226;p5">
            <a:extLst>
              <a:ext uri="{FF2B5EF4-FFF2-40B4-BE49-F238E27FC236}">
                <a16:creationId xmlns:a16="http://schemas.microsoft.com/office/drawing/2014/main" id="{5606FE9C-1E14-4063-95CC-726E3AD419B4}"/>
              </a:ext>
            </a:extLst>
          </p:cNvPr>
          <p:cNvPicPr preferRelativeResize="0"/>
          <p:nvPr/>
        </p:nvPicPr>
        <p:blipFill rotWithShape="1">
          <a:blip r:embed="rId7">
            <a:alphaModFix/>
          </a:blip>
          <a:srcRect/>
          <a:stretch/>
        </p:blipFill>
        <p:spPr>
          <a:xfrm>
            <a:off x="7400245" y="4607446"/>
            <a:ext cx="589214" cy="566345"/>
          </a:xfrm>
          <a:prstGeom prst="rect">
            <a:avLst/>
          </a:prstGeom>
          <a:noFill/>
          <a:ln>
            <a:noFill/>
          </a:ln>
        </p:spPr>
      </p:pic>
      <p:pic>
        <p:nvPicPr>
          <p:cNvPr id="158" name="Google Shape;1227;p5">
            <a:extLst>
              <a:ext uri="{FF2B5EF4-FFF2-40B4-BE49-F238E27FC236}">
                <a16:creationId xmlns:a16="http://schemas.microsoft.com/office/drawing/2014/main" id="{07F121AF-BF79-4712-BA6E-EF52D7DC1388}"/>
              </a:ext>
            </a:extLst>
          </p:cNvPr>
          <p:cNvPicPr preferRelativeResize="0"/>
          <p:nvPr/>
        </p:nvPicPr>
        <p:blipFill rotWithShape="1">
          <a:blip r:embed="rId8">
            <a:alphaModFix/>
          </a:blip>
          <a:srcRect/>
          <a:stretch/>
        </p:blipFill>
        <p:spPr>
          <a:xfrm>
            <a:off x="1085002" y="4624490"/>
            <a:ext cx="640794" cy="532258"/>
          </a:xfrm>
          <a:prstGeom prst="rect">
            <a:avLst/>
          </a:prstGeom>
          <a:noFill/>
          <a:ln>
            <a:noFill/>
          </a:ln>
        </p:spPr>
      </p:pic>
      <p:pic>
        <p:nvPicPr>
          <p:cNvPr id="159" name="Google Shape;1228;p5">
            <a:extLst>
              <a:ext uri="{FF2B5EF4-FFF2-40B4-BE49-F238E27FC236}">
                <a16:creationId xmlns:a16="http://schemas.microsoft.com/office/drawing/2014/main" id="{E7E56A48-BAB9-4387-AE11-BE79715CA8B0}"/>
              </a:ext>
            </a:extLst>
          </p:cNvPr>
          <p:cNvPicPr preferRelativeResize="0"/>
          <p:nvPr/>
        </p:nvPicPr>
        <p:blipFill rotWithShape="1">
          <a:blip r:embed="rId9">
            <a:alphaModFix/>
          </a:blip>
          <a:srcRect/>
          <a:stretch/>
        </p:blipFill>
        <p:spPr>
          <a:xfrm>
            <a:off x="5928456" y="4620771"/>
            <a:ext cx="481108" cy="539695"/>
          </a:xfrm>
          <a:prstGeom prst="rect">
            <a:avLst/>
          </a:prstGeom>
          <a:noFill/>
          <a:ln>
            <a:noFill/>
          </a:ln>
        </p:spPr>
      </p:pic>
      <p:pic>
        <p:nvPicPr>
          <p:cNvPr id="160" name="Google Shape;1229;p5">
            <a:extLst>
              <a:ext uri="{FF2B5EF4-FFF2-40B4-BE49-F238E27FC236}">
                <a16:creationId xmlns:a16="http://schemas.microsoft.com/office/drawing/2014/main" id="{E70695B4-0153-4685-A46C-F6368174EF1A}"/>
              </a:ext>
            </a:extLst>
          </p:cNvPr>
          <p:cNvPicPr preferRelativeResize="0"/>
          <p:nvPr/>
        </p:nvPicPr>
        <p:blipFill rotWithShape="1">
          <a:blip r:embed="rId10">
            <a:alphaModFix/>
          </a:blip>
          <a:srcRect/>
          <a:stretch/>
        </p:blipFill>
        <p:spPr>
          <a:xfrm>
            <a:off x="4406654" y="4624490"/>
            <a:ext cx="531122" cy="532258"/>
          </a:xfrm>
          <a:prstGeom prst="rect">
            <a:avLst/>
          </a:prstGeom>
          <a:noFill/>
          <a:ln>
            <a:noFill/>
          </a:ln>
        </p:spPr>
      </p:pic>
      <p:pic>
        <p:nvPicPr>
          <p:cNvPr id="168" name="Google Shape;1263;p5">
            <a:extLst>
              <a:ext uri="{FF2B5EF4-FFF2-40B4-BE49-F238E27FC236}">
                <a16:creationId xmlns:a16="http://schemas.microsoft.com/office/drawing/2014/main" id="{99440F44-F734-4734-8F64-8CE5E06393D8}"/>
              </a:ext>
            </a:extLst>
          </p:cNvPr>
          <p:cNvPicPr preferRelativeResize="0"/>
          <p:nvPr/>
        </p:nvPicPr>
        <p:blipFill rotWithShape="1">
          <a:blip r:embed="rId11">
            <a:alphaModFix/>
          </a:blip>
          <a:srcRect/>
          <a:stretch/>
        </p:blipFill>
        <p:spPr>
          <a:xfrm>
            <a:off x="8929358" y="4537778"/>
            <a:ext cx="719701" cy="719702"/>
          </a:xfrm>
          <a:prstGeom prst="rect">
            <a:avLst/>
          </a:prstGeom>
          <a:noFill/>
          <a:ln>
            <a:noFill/>
          </a:ln>
        </p:spPr>
      </p:pic>
      <p:pic>
        <p:nvPicPr>
          <p:cNvPr id="169" name="Google Shape;1264;p5">
            <a:extLst>
              <a:ext uri="{FF2B5EF4-FFF2-40B4-BE49-F238E27FC236}">
                <a16:creationId xmlns:a16="http://schemas.microsoft.com/office/drawing/2014/main" id="{3748CF16-6BF4-43A9-A468-7086CEB996F1}"/>
              </a:ext>
            </a:extLst>
          </p:cNvPr>
          <p:cNvPicPr preferRelativeResize="0"/>
          <p:nvPr/>
        </p:nvPicPr>
        <p:blipFill rotWithShape="1">
          <a:blip r:embed="rId12">
            <a:alphaModFix/>
          </a:blip>
          <a:srcRect/>
          <a:stretch/>
        </p:blipFill>
        <p:spPr>
          <a:xfrm>
            <a:off x="10571859" y="4657738"/>
            <a:ext cx="517683" cy="517681"/>
          </a:xfrm>
          <a:prstGeom prst="rect">
            <a:avLst/>
          </a:prstGeom>
          <a:noFill/>
          <a:ln>
            <a:noFill/>
          </a:ln>
        </p:spPr>
      </p:pic>
      <p:cxnSp>
        <p:nvCxnSpPr>
          <p:cNvPr id="170" name="Google Shape;1265;p5">
            <a:extLst>
              <a:ext uri="{FF2B5EF4-FFF2-40B4-BE49-F238E27FC236}">
                <a16:creationId xmlns:a16="http://schemas.microsoft.com/office/drawing/2014/main" id="{71AC100F-20F4-4083-97CB-71EF0409529C}"/>
              </a:ext>
            </a:extLst>
          </p:cNvPr>
          <p:cNvCxnSpPr/>
          <p:nvPr/>
        </p:nvCxnSpPr>
        <p:spPr>
          <a:xfrm>
            <a:off x="9716890"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1" name="Google Shape;1266;p5">
            <a:extLst>
              <a:ext uri="{FF2B5EF4-FFF2-40B4-BE49-F238E27FC236}">
                <a16:creationId xmlns:a16="http://schemas.microsoft.com/office/drawing/2014/main" id="{B5CC0BC2-E975-4FDF-B5DD-8A8438610472}"/>
              </a:ext>
            </a:extLst>
          </p:cNvPr>
          <p:cNvCxnSpPr/>
          <p:nvPr/>
        </p:nvCxnSpPr>
        <p:spPr>
          <a:xfrm>
            <a:off x="11191057" y="4890619"/>
            <a:ext cx="309330"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2" name="Google Shape;1267;p5">
            <a:extLst>
              <a:ext uri="{FF2B5EF4-FFF2-40B4-BE49-F238E27FC236}">
                <a16:creationId xmlns:a16="http://schemas.microsoft.com/office/drawing/2014/main" id="{A3EEC3ED-D0BE-4CF5-A802-1D1198E71390}"/>
              </a:ext>
            </a:extLst>
          </p:cNvPr>
          <p:cNvCxnSpPr/>
          <p:nvPr/>
        </p:nvCxnSpPr>
        <p:spPr>
          <a:xfrm>
            <a:off x="8108071"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3" name="Google Shape;1268;p5">
            <a:extLst>
              <a:ext uri="{FF2B5EF4-FFF2-40B4-BE49-F238E27FC236}">
                <a16:creationId xmlns:a16="http://schemas.microsoft.com/office/drawing/2014/main" id="{7057ED1B-3C41-4230-9CE8-A0E9E17403D4}"/>
              </a:ext>
            </a:extLst>
          </p:cNvPr>
          <p:cNvCxnSpPr/>
          <p:nvPr/>
        </p:nvCxnSpPr>
        <p:spPr>
          <a:xfrm>
            <a:off x="6528176"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4" name="Google Shape;1269;p5">
            <a:extLst>
              <a:ext uri="{FF2B5EF4-FFF2-40B4-BE49-F238E27FC236}">
                <a16:creationId xmlns:a16="http://schemas.microsoft.com/office/drawing/2014/main" id="{BCACA3FB-34AA-44B5-AE50-E5D95BF39B9B}"/>
              </a:ext>
            </a:extLst>
          </p:cNvPr>
          <p:cNvCxnSpPr/>
          <p:nvPr/>
        </p:nvCxnSpPr>
        <p:spPr>
          <a:xfrm>
            <a:off x="5056388"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5" name="Google Shape;1270;p5">
            <a:extLst>
              <a:ext uri="{FF2B5EF4-FFF2-40B4-BE49-F238E27FC236}">
                <a16:creationId xmlns:a16="http://schemas.microsoft.com/office/drawing/2014/main" id="{CD1127AB-378A-4F5A-9BC1-96A0366BE612}"/>
              </a:ext>
            </a:extLst>
          </p:cNvPr>
          <p:cNvCxnSpPr/>
          <p:nvPr/>
        </p:nvCxnSpPr>
        <p:spPr>
          <a:xfrm>
            <a:off x="3534586"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6" name="Google Shape;1271;p5">
            <a:extLst>
              <a:ext uri="{FF2B5EF4-FFF2-40B4-BE49-F238E27FC236}">
                <a16:creationId xmlns:a16="http://schemas.microsoft.com/office/drawing/2014/main" id="{3D3874B0-FEAC-43E8-BE87-E626135903B1}"/>
              </a:ext>
            </a:extLst>
          </p:cNvPr>
          <p:cNvCxnSpPr/>
          <p:nvPr/>
        </p:nvCxnSpPr>
        <p:spPr>
          <a:xfrm>
            <a:off x="1844407" y="4890619"/>
            <a:ext cx="753457" cy="0"/>
          </a:xfrm>
          <a:prstGeom prst="straightConnector1">
            <a:avLst/>
          </a:prstGeom>
          <a:solidFill>
            <a:schemeClr val="lt1"/>
          </a:solidFill>
          <a:ln w="9525" cap="flat" cmpd="sng">
            <a:solidFill>
              <a:srgbClr val="A1A1A1"/>
            </a:solidFill>
            <a:prstDash val="solid"/>
            <a:miter lim="800000"/>
            <a:headEnd type="none" w="sm" len="sm"/>
            <a:tailEnd type="none" w="sm" len="sm"/>
          </a:ln>
        </p:spPr>
      </p:cxnSp>
      <p:cxnSp>
        <p:nvCxnSpPr>
          <p:cNvPr id="177" name="Google Shape;1272;p5">
            <a:extLst>
              <a:ext uri="{FF2B5EF4-FFF2-40B4-BE49-F238E27FC236}">
                <a16:creationId xmlns:a16="http://schemas.microsoft.com/office/drawing/2014/main" id="{F9A972F3-9E52-49BA-ACB5-7972532E3860}"/>
              </a:ext>
            </a:extLst>
          </p:cNvPr>
          <p:cNvCxnSpPr/>
          <p:nvPr/>
        </p:nvCxnSpPr>
        <p:spPr>
          <a:xfrm>
            <a:off x="657060" y="4890619"/>
            <a:ext cx="309330" cy="0"/>
          </a:xfrm>
          <a:prstGeom prst="straightConnector1">
            <a:avLst/>
          </a:prstGeom>
          <a:solidFill>
            <a:schemeClr val="lt1"/>
          </a:solidFill>
          <a:ln w="9525" cap="flat" cmpd="sng">
            <a:solidFill>
              <a:srgbClr val="A1A1A1"/>
            </a:solidFill>
            <a:prstDash val="solid"/>
            <a:miter lim="800000"/>
            <a:headEnd type="none" w="sm" len="sm"/>
            <a:tailEnd type="none" w="sm" len="sm"/>
          </a:ln>
        </p:spPr>
      </p:cxnSp>
      <p:sp>
        <p:nvSpPr>
          <p:cNvPr id="65" name="TextBox 64">
            <a:extLst>
              <a:ext uri="{FF2B5EF4-FFF2-40B4-BE49-F238E27FC236}">
                <a16:creationId xmlns:a16="http://schemas.microsoft.com/office/drawing/2014/main" id="{3C296CFD-7ED0-7B85-FE79-3250DA22D5CE}"/>
              </a:ext>
            </a:extLst>
          </p:cNvPr>
          <p:cNvSpPr txBox="1"/>
          <p:nvPr/>
        </p:nvSpPr>
        <p:spPr>
          <a:xfrm>
            <a:off x="4910368" y="3366254"/>
            <a:ext cx="2371266" cy="369332"/>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800" b="1" i="0" u="none" strike="noStrike" kern="1200" cap="none" spc="0" normalizeH="0" baseline="0" noProof="0" dirty="0">
                <a:ln>
                  <a:noFill/>
                </a:ln>
                <a:solidFill>
                  <a:srgbClr val="0F47F2"/>
                </a:solidFill>
                <a:effectLst/>
                <a:uLnTx/>
                <a:uFillTx/>
                <a:latin typeface="Arial"/>
                <a:ea typeface="Arial"/>
                <a:cs typeface="Arial"/>
                <a:sym typeface="Arial"/>
              </a:rPr>
              <a:t>Infomineo in figures</a:t>
            </a:r>
          </a:p>
        </p:txBody>
      </p:sp>
      <p:cxnSp>
        <p:nvCxnSpPr>
          <p:cNvPr id="5" name="Straight Connector 4">
            <a:extLst>
              <a:ext uri="{FF2B5EF4-FFF2-40B4-BE49-F238E27FC236}">
                <a16:creationId xmlns:a16="http://schemas.microsoft.com/office/drawing/2014/main" id="{FD7291AA-2167-5543-929C-741147CEA02E}"/>
              </a:ext>
            </a:extLst>
          </p:cNvPr>
          <p:cNvCxnSpPr/>
          <p:nvPr/>
        </p:nvCxnSpPr>
        <p:spPr>
          <a:xfrm>
            <a:off x="539399" y="3550919"/>
            <a:ext cx="437096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DBD3C4B-65C7-A142-ABEF-22369290F979}"/>
              </a:ext>
            </a:extLst>
          </p:cNvPr>
          <p:cNvCxnSpPr>
            <a:cxnSpLocks/>
          </p:cNvCxnSpPr>
          <p:nvPr/>
        </p:nvCxnSpPr>
        <p:spPr>
          <a:xfrm>
            <a:off x="7281633" y="3550919"/>
            <a:ext cx="437096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7858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28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AD4E6EA-E5C6-49AF-BF8B-F154B404D65C}"/>
              </a:ext>
            </a:extLst>
          </p:cNvPr>
          <p:cNvGraphicFramePr>
            <a:graphicFrameLocks noChangeAspect="1"/>
          </p:cNvGraphicFramePr>
          <p:nvPr>
            <p:custDataLst>
              <p:tags r:id="rId1"/>
            </p:custDataLst>
            <p:extLst>
              <p:ext uri="{D42A27DB-BD31-4B8C-83A1-F6EECF244321}">
                <p14:modId xmlns:p14="http://schemas.microsoft.com/office/powerpoint/2010/main" val="3158091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4AD4E6EA-E5C6-49AF-BF8B-F154B404D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82" name="Google Shape;1282;p6"/>
          <p:cNvSpPr/>
          <p:nvPr/>
        </p:nvSpPr>
        <p:spPr>
          <a:xfrm>
            <a:off x="-446654" y="0"/>
            <a:ext cx="4360469" cy="6857999"/>
          </a:xfrm>
          <a:custGeom>
            <a:avLst/>
            <a:gdLst/>
            <a:ahLst/>
            <a:cxnLst/>
            <a:rect l="l" t="t" r="r" b="b"/>
            <a:pathLst>
              <a:path w="4409954" h="6850992" extrusionOk="0">
                <a:moveTo>
                  <a:pt x="0" y="0"/>
                </a:moveTo>
                <a:lnTo>
                  <a:pt x="2854655" y="0"/>
                </a:lnTo>
                <a:lnTo>
                  <a:pt x="2869398" y="12911"/>
                </a:lnTo>
                <a:cubicBezTo>
                  <a:pt x="3821232" y="887164"/>
                  <a:pt x="4409954" y="2094934"/>
                  <a:pt x="4409954" y="3429000"/>
                </a:cubicBezTo>
                <a:cubicBezTo>
                  <a:pt x="4409954" y="4763066"/>
                  <a:pt x="3821232" y="5970836"/>
                  <a:pt x="2869398" y="6845090"/>
                </a:cubicBezTo>
                <a:lnTo>
                  <a:pt x="2862658" y="6850992"/>
                </a:lnTo>
                <a:lnTo>
                  <a:pt x="0" y="6850992"/>
                </a:lnTo>
                <a:close/>
              </a:path>
            </a:pathLst>
          </a:custGeom>
          <a:solidFill>
            <a:schemeClr val="lt2"/>
          </a:solidFill>
          <a:ln>
            <a:noFill/>
          </a:ln>
        </p:spPr>
        <p:txBody>
          <a:bodyPr spcFirstLastPara="1" wrap="square" lIns="0" tIns="27430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1" u="none" strike="noStrike" kern="1200" cap="none" spc="0" normalizeH="0" baseline="0" noProof="0">
              <a:ln>
                <a:noFill/>
              </a:ln>
              <a:solidFill>
                <a:srgbClr val="FFFFFF"/>
              </a:solidFill>
              <a:effectLst/>
              <a:uLnTx/>
              <a:uFillTx/>
              <a:latin typeface="Calibri"/>
              <a:ea typeface="Calibri"/>
              <a:cs typeface="Calibri"/>
              <a:sym typeface="Calibri"/>
            </a:endParaRPr>
          </a:p>
        </p:txBody>
      </p:sp>
      <p:pic>
        <p:nvPicPr>
          <p:cNvPr id="1283" name="Google Shape;1283;p6"/>
          <p:cNvPicPr preferRelativeResize="0"/>
          <p:nvPr/>
        </p:nvPicPr>
        <p:blipFill rotWithShape="1">
          <a:blip r:embed="rId6">
            <a:alphaModFix/>
          </a:blip>
          <a:srcRect/>
          <a:stretch/>
        </p:blipFill>
        <p:spPr>
          <a:xfrm>
            <a:off x="-329807" y="0"/>
            <a:ext cx="3484098" cy="6858000"/>
          </a:xfrm>
          <a:custGeom>
            <a:avLst/>
            <a:gdLst/>
            <a:ahLst/>
            <a:cxnLst/>
            <a:rect l="l" t="t" r="r" b="b"/>
            <a:pathLst>
              <a:path w="2711987" h="5338200" extrusionOk="0">
                <a:moveTo>
                  <a:pt x="42887" y="0"/>
                </a:moveTo>
                <a:cubicBezTo>
                  <a:pt x="1516990" y="0"/>
                  <a:pt x="2711987" y="1194997"/>
                  <a:pt x="2711987" y="2669100"/>
                </a:cubicBezTo>
                <a:cubicBezTo>
                  <a:pt x="2711987" y="4143203"/>
                  <a:pt x="1516990" y="5338200"/>
                  <a:pt x="42887" y="5338200"/>
                </a:cubicBezTo>
                <a:lnTo>
                  <a:pt x="0" y="5336035"/>
                </a:lnTo>
                <a:lnTo>
                  <a:pt x="0" y="2166"/>
                </a:lnTo>
                <a:close/>
              </a:path>
            </a:pathLst>
          </a:custGeom>
          <a:noFill/>
          <a:ln>
            <a:noFill/>
          </a:ln>
        </p:spPr>
      </p:pic>
      <p:sp>
        <p:nvSpPr>
          <p:cNvPr id="1284" name="Google Shape;1284;p6"/>
          <p:cNvSpPr/>
          <p:nvPr/>
        </p:nvSpPr>
        <p:spPr>
          <a:xfrm>
            <a:off x="-329807" y="0"/>
            <a:ext cx="3484098" cy="6858000"/>
          </a:xfrm>
          <a:custGeom>
            <a:avLst/>
            <a:gdLst/>
            <a:ahLst/>
            <a:cxnLst/>
            <a:rect l="l" t="t" r="r" b="b"/>
            <a:pathLst>
              <a:path w="2711987" h="5338200" extrusionOk="0">
                <a:moveTo>
                  <a:pt x="42887" y="0"/>
                </a:moveTo>
                <a:cubicBezTo>
                  <a:pt x="1516990" y="0"/>
                  <a:pt x="2711987" y="1194997"/>
                  <a:pt x="2711987" y="2669100"/>
                </a:cubicBezTo>
                <a:cubicBezTo>
                  <a:pt x="2711987" y="4143203"/>
                  <a:pt x="1516990" y="5338200"/>
                  <a:pt x="42887" y="5338200"/>
                </a:cubicBezTo>
                <a:lnTo>
                  <a:pt x="0" y="5336035"/>
                </a:lnTo>
                <a:lnTo>
                  <a:pt x="0" y="2166"/>
                </a:lnTo>
                <a:close/>
              </a:path>
            </a:pathLst>
          </a:custGeom>
          <a:gradFill>
            <a:gsLst>
              <a:gs pos="0">
                <a:srgbClr val="062379">
                  <a:alpha val="94509"/>
                </a:srgbClr>
              </a:gs>
              <a:gs pos="25000">
                <a:srgbClr val="062379">
                  <a:alpha val="94509"/>
                </a:srgbClr>
              </a:gs>
              <a:gs pos="55000">
                <a:srgbClr val="0934B6">
                  <a:alpha val="84313"/>
                </a:srgbClr>
              </a:gs>
              <a:gs pos="73000">
                <a:srgbClr val="036DFF">
                  <a:alpha val="84313"/>
                </a:srgbClr>
              </a:gs>
              <a:gs pos="89000">
                <a:srgbClr val="43E1D3"/>
              </a:gs>
              <a:gs pos="100000">
                <a:srgbClr val="43E1D3"/>
              </a:gs>
            </a:gsLst>
            <a:lin ang="3000000" scaled="0"/>
          </a:gradFill>
          <a:ln>
            <a:noFill/>
          </a:ln>
        </p:spPr>
        <p:txBody>
          <a:bodyPr spcFirstLastPara="1" wrap="square" lIns="0" tIns="27430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1"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1294" name="Google Shape;1294;p6"/>
          <p:cNvSpPr txBox="1">
            <a:spLocks noGrp="1"/>
          </p:cNvSpPr>
          <p:nvPr>
            <p:ph type="title"/>
          </p:nvPr>
        </p:nvSpPr>
        <p:spPr>
          <a:xfrm>
            <a:off x="550864" y="2293145"/>
            <a:ext cx="2100150" cy="2215991"/>
          </a:xfrm>
          <a:prstGeom prst="rect">
            <a:avLst/>
          </a:prstGeom>
          <a:noFill/>
          <a:ln>
            <a:noFill/>
          </a:ln>
        </p:spPr>
        <p:txBody>
          <a:bodyPr spcFirstLastPara="1" wrap="square" lIns="0" tIns="0" rIns="0" bIns="0" anchor="t" anchorCtr="0">
            <a:spAutoFit/>
          </a:bodyPr>
          <a:lstStyle/>
          <a:p>
            <a:pPr marL="0" lvl="0" indent="0" rtl="0">
              <a:lnSpc>
                <a:spcPct val="90000"/>
              </a:lnSpc>
              <a:spcBef>
                <a:spcPts val="0"/>
              </a:spcBef>
              <a:spcAft>
                <a:spcPts val="0"/>
              </a:spcAft>
              <a:buClr>
                <a:schemeClr val="dk2"/>
              </a:buClr>
              <a:buSzPts val="3200"/>
              <a:buFont typeface="Franklin Gothic"/>
              <a:buNone/>
            </a:pPr>
            <a:r>
              <a:rPr lang="en-US" dirty="0">
                <a:solidFill>
                  <a:schemeClr val="bg1"/>
                </a:solidFill>
                <a:latin typeface="Franklin Gothic" panose="020B0604020202020204" charset="0"/>
              </a:rPr>
              <a:t>Infomineo offers a diversified suite of services</a:t>
            </a:r>
            <a:endParaRPr dirty="0">
              <a:solidFill>
                <a:schemeClr val="bg1"/>
              </a:solidFill>
              <a:latin typeface="Franklin Gothic" panose="020B0604020202020204" charset="0"/>
            </a:endParaRPr>
          </a:p>
        </p:txBody>
      </p:sp>
      <p:sp>
        <p:nvSpPr>
          <p:cNvPr id="1304" name="Google Shape;1304;p6"/>
          <p:cNvSpPr/>
          <p:nvPr/>
        </p:nvSpPr>
        <p:spPr>
          <a:xfrm>
            <a:off x="2905727" y="849287"/>
            <a:ext cx="1008088" cy="100808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endParaRPr kumimoji="0" sz="1800" b="0" i="0" u="none" strike="noStrike" kern="1200" cap="none" spc="0" normalizeH="0" baseline="0" noProof="0">
              <a:ln>
                <a:noFill/>
              </a:ln>
              <a:solidFill>
                <a:srgbClr val="FFFFFF"/>
              </a:solidFill>
              <a:effectLst/>
              <a:uLnTx/>
              <a:uFillTx/>
              <a:latin typeface="Calibri"/>
              <a:ea typeface="+mn-ea"/>
              <a:cs typeface="Calibri"/>
              <a:sym typeface="Calibri"/>
            </a:endParaRPr>
          </a:p>
        </p:txBody>
      </p:sp>
      <p:sp>
        <p:nvSpPr>
          <p:cNvPr id="1308" name="Google Shape;1308;p6"/>
          <p:cNvSpPr/>
          <p:nvPr/>
        </p:nvSpPr>
        <p:spPr>
          <a:xfrm>
            <a:off x="3331397" y="2170595"/>
            <a:ext cx="1008088" cy="100808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pic>
        <p:nvPicPr>
          <p:cNvPr id="1309" name="Google Shape;1309;p6"/>
          <p:cNvPicPr preferRelativeResize="0"/>
          <p:nvPr/>
        </p:nvPicPr>
        <p:blipFill rotWithShape="1">
          <a:blip r:embed="rId7">
            <a:alphaModFix/>
          </a:blip>
          <a:srcRect/>
          <a:stretch/>
        </p:blipFill>
        <p:spPr>
          <a:xfrm>
            <a:off x="3602507" y="2441705"/>
            <a:ext cx="465868" cy="465868"/>
          </a:xfrm>
          <a:prstGeom prst="rect">
            <a:avLst/>
          </a:prstGeom>
          <a:noFill/>
          <a:ln>
            <a:noFill/>
          </a:ln>
        </p:spPr>
      </p:pic>
      <p:sp>
        <p:nvSpPr>
          <p:cNvPr id="1311" name="Google Shape;1311;p6"/>
          <p:cNvSpPr/>
          <p:nvPr/>
        </p:nvSpPr>
        <p:spPr>
          <a:xfrm>
            <a:off x="3331397" y="3491903"/>
            <a:ext cx="1008088" cy="100808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grpSp>
        <p:nvGrpSpPr>
          <p:cNvPr id="1312" name="Google Shape;1312;p6"/>
          <p:cNvGrpSpPr/>
          <p:nvPr/>
        </p:nvGrpSpPr>
        <p:grpSpPr>
          <a:xfrm>
            <a:off x="3728996" y="3731308"/>
            <a:ext cx="314264" cy="529278"/>
            <a:chOff x="6689308" y="2024976"/>
            <a:chExt cx="325986" cy="549024"/>
          </a:xfrm>
        </p:grpSpPr>
        <p:sp>
          <p:nvSpPr>
            <p:cNvPr id="1313" name="Google Shape;1313;p6"/>
            <p:cNvSpPr/>
            <p:nvPr/>
          </p:nvSpPr>
          <p:spPr>
            <a:xfrm>
              <a:off x="6689308" y="2024976"/>
              <a:ext cx="325986" cy="549024"/>
            </a:xfrm>
            <a:custGeom>
              <a:avLst/>
              <a:gdLst/>
              <a:ahLst/>
              <a:cxnLst/>
              <a:rect l="l" t="t" r="r" b="b"/>
              <a:pathLst>
                <a:path w="325986" h="549024" extrusionOk="0">
                  <a:moveTo>
                    <a:pt x="304900" y="0"/>
                  </a:moveTo>
                  <a:lnTo>
                    <a:pt x="24663" y="0"/>
                  </a:lnTo>
                  <a:cubicBezTo>
                    <a:pt x="11049" y="17"/>
                    <a:pt x="17" y="11049"/>
                    <a:pt x="0" y="24663"/>
                  </a:cubicBezTo>
                  <a:lnTo>
                    <a:pt x="0" y="524361"/>
                  </a:lnTo>
                  <a:cubicBezTo>
                    <a:pt x="17" y="537975"/>
                    <a:pt x="11049" y="549007"/>
                    <a:pt x="24663" y="549024"/>
                  </a:cubicBezTo>
                  <a:lnTo>
                    <a:pt x="304900" y="549024"/>
                  </a:lnTo>
                  <a:cubicBezTo>
                    <a:pt x="318516" y="549011"/>
                    <a:pt x="329551" y="537975"/>
                    <a:pt x="329563" y="524361"/>
                  </a:cubicBezTo>
                  <a:lnTo>
                    <a:pt x="329563" y="24663"/>
                  </a:lnTo>
                  <a:cubicBezTo>
                    <a:pt x="329551" y="11048"/>
                    <a:pt x="318516" y="14"/>
                    <a:pt x="304900" y="0"/>
                  </a:cubicBezTo>
                  <a:close/>
                  <a:moveTo>
                    <a:pt x="240852" y="15012"/>
                  </a:moveTo>
                  <a:lnTo>
                    <a:pt x="223313" y="32538"/>
                  </a:lnTo>
                  <a:cubicBezTo>
                    <a:pt x="216691" y="39189"/>
                    <a:pt x="207684" y="42917"/>
                    <a:pt x="198298" y="42893"/>
                  </a:cubicBezTo>
                  <a:lnTo>
                    <a:pt x="131265" y="42893"/>
                  </a:lnTo>
                  <a:cubicBezTo>
                    <a:pt x="121879" y="42917"/>
                    <a:pt x="112873" y="39189"/>
                    <a:pt x="106250" y="32538"/>
                  </a:cubicBezTo>
                  <a:lnTo>
                    <a:pt x="88711" y="15012"/>
                  </a:lnTo>
                  <a:close/>
                  <a:moveTo>
                    <a:pt x="314551" y="524361"/>
                  </a:moveTo>
                  <a:cubicBezTo>
                    <a:pt x="314544" y="529688"/>
                    <a:pt x="310227" y="534003"/>
                    <a:pt x="304900" y="534012"/>
                  </a:cubicBezTo>
                  <a:lnTo>
                    <a:pt x="24663" y="534012"/>
                  </a:lnTo>
                  <a:cubicBezTo>
                    <a:pt x="19336" y="534003"/>
                    <a:pt x="15020" y="529688"/>
                    <a:pt x="15013" y="524361"/>
                  </a:cubicBezTo>
                  <a:lnTo>
                    <a:pt x="15013" y="24663"/>
                  </a:lnTo>
                  <a:cubicBezTo>
                    <a:pt x="15020" y="19336"/>
                    <a:pt x="19336" y="15019"/>
                    <a:pt x="24663" y="15012"/>
                  </a:cubicBezTo>
                  <a:lnTo>
                    <a:pt x="67471" y="15012"/>
                  </a:lnTo>
                  <a:lnTo>
                    <a:pt x="95638" y="43163"/>
                  </a:lnTo>
                  <a:cubicBezTo>
                    <a:pt x="105072" y="52633"/>
                    <a:pt x="117898" y="57940"/>
                    <a:pt x="131265" y="57905"/>
                  </a:cubicBezTo>
                  <a:lnTo>
                    <a:pt x="198298" y="57905"/>
                  </a:lnTo>
                  <a:cubicBezTo>
                    <a:pt x="211665" y="57940"/>
                    <a:pt x="224492" y="52633"/>
                    <a:pt x="233925" y="43163"/>
                  </a:cubicBezTo>
                  <a:lnTo>
                    <a:pt x="262093" y="15012"/>
                  </a:lnTo>
                  <a:lnTo>
                    <a:pt x="304900" y="15012"/>
                  </a:lnTo>
                  <a:cubicBezTo>
                    <a:pt x="310227" y="15019"/>
                    <a:pt x="314544" y="19336"/>
                    <a:pt x="314551" y="24663"/>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1314" name="Google Shape;1314;p6"/>
            <p:cNvSpPr/>
            <p:nvPr/>
          </p:nvSpPr>
          <p:spPr>
            <a:xfrm>
              <a:off x="6732201" y="2110795"/>
              <a:ext cx="85786" cy="98653"/>
            </a:xfrm>
            <a:custGeom>
              <a:avLst/>
              <a:gdLst/>
              <a:ahLst/>
              <a:cxnLst/>
              <a:rect l="l" t="t" r="r" b="b"/>
              <a:pathLst>
                <a:path w="85785" h="98652" extrusionOk="0">
                  <a:moveTo>
                    <a:pt x="5040" y="98734"/>
                  </a:moveTo>
                  <a:cubicBezTo>
                    <a:pt x="8946" y="100102"/>
                    <a:pt x="13221" y="98044"/>
                    <a:pt x="14588" y="94138"/>
                  </a:cubicBezTo>
                  <a:cubicBezTo>
                    <a:pt x="14591" y="94130"/>
                    <a:pt x="14594" y="94122"/>
                    <a:pt x="14597" y="94115"/>
                  </a:cubicBezTo>
                  <a:lnTo>
                    <a:pt x="27499" y="57081"/>
                  </a:lnTo>
                  <a:lnTo>
                    <a:pt x="62242" y="57081"/>
                  </a:lnTo>
                  <a:lnTo>
                    <a:pt x="75136" y="94115"/>
                  </a:lnTo>
                  <a:cubicBezTo>
                    <a:pt x="76715" y="97948"/>
                    <a:pt x="81102" y="99776"/>
                    <a:pt x="84935" y="98197"/>
                  </a:cubicBezTo>
                  <a:cubicBezTo>
                    <a:pt x="88471" y="96740"/>
                    <a:pt x="90347" y="92858"/>
                    <a:pt x="89290" y="89182"/>
                  </a:cubicBezTo>
                  <a:lnTo>
                    <a:pt x="59994" y="5040"/>
                  </a:lnTo>
                  <a:cubicBezTo>
                    <a:pt x="58944" y="2022"/>
                    <a:pt x="56099" y="0"/>
                    <a:pt x="52904" y="0"/>
                  </a:cubicBezTo>
                  <a:lnTo>
                    <a:pt x="36819" y="0"/>
                  </a:lnTo>
                  <a:cubicBezTo>
                    <a:pt x="33624" y="0"/>
                    <a:pt x="30779" y="2022"/>
                    <a:pt x="29729" y="5040"/>
                  </a:cubicBezTo>
                  <a:lnTo>
                    <a:pt x="420" y="89182"/>
                  </a:lnTo>
                  <a:cubicBezTo>
                    <a:pt x="-944" y="93092"/>
                    <a:pt x="1120" y="97367"/>
                    <a:pt x="5030" y="98731"/>
                  </a:cubicBezTo>
                  <a:cubicBezTo>
                    <a:pt x="5034" y="98732"/>
                    <a:pt x="5037" y="98733"/>
                    <a:pt x="5040" y="98734"/>
                  </a:cubicBezTo>
                  <a:close/>
                  <a:moveTo>
                    <a:pt x="42151" y="15012"/>
                  </a:moveTo>
                  <a:lnTo>
                    <a:pt x="47568" y="15012"/>
                  </a:lnTo>
                  <a:lnTo>
                    <a:pt x="57005" y="42069"/>
                  </a:lnTo>
                  <a:lnTo>
                    <a:pt x="32727" y="42069"/>
                  </a:lnTo>
                  <a:close/>
                </a:path>
              </a:pathLst>
            </a:custGeom>
            <a:solidFill>
              <a:srgbClr val="7F7F7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1315" name="Google Shape;1315;p6"/>
            <p:cNvSpPr/>
            <p:nvPr/>
          </p:nvSpPr>
          <p:spPr>
            <a:xfrm>
              <a:off x="6886259" y="2110795"/>
              <a:ext cx="85786" cy="98653"/>
            </a:xfrm>
            <a:custGeom>
              <a:avLst/>
              <a:gdLst/>
              <a:ahLst/>
              <a:cxnLst/>
              <a:rect l="l" t="t" r="r" b="b"/>
              <a:pathLst>
                <a:path w="85785" h="98652" extrusionOk="0">
                  <a:moveTo>
                    <a:pt x="82213" y="24629"/>
                  </a:moveTo>
                  <a:lnTo>
                    <a:pt x="52368" y="24629"/>
                  </a:lnTo>
                  <a:lnTo>
                    <a:pt x="52368" y="7506"/>
                  </a:lnTo>
                  <a:cubicBezTo>
                    <a:pt x="52368" y="3361"/>
                    <a:pt x="49007" y="0"/>
                    <a:pt x="44862" y="0"/>
                  </a:cubicBezTo>
                  <a:cubicBezTo>
                    <a:pt x="40716" y="0"/>
                    <a:pt x="37355" y="3361"/>
                    <a:pt x="37355" y="7506"/>
                  </a:cubicBezTo>
                  <a:lnTo>
                    <a:pt x="37355" y="24629"/>
                  </a:lnTo>
                  <a:lnTo>
                    <a:pt x="7506" y="24629"/>
                  </a:lnTo>
                  <a:cubicBezTo>
                    <a:pt x="3361" y="24629"/>
                    <a:pt x="0" y="27990"/>
                    <a:pt x="0" y="32135"/>
                  </a:cubicBezTo>
                  <a:cubicBezTo>
                    <a:pt x="0" y="36281"/>
                    <a:pt x="3361" y="39641"/>
                    <a:pt x="7506" y="39641"/>
                  </a:cubicBezTo>
                  <a:lnTo>
                    <a:pt x="17873" y="39641"/>
                  </a:lnTo>
                  <a:lnTo>
                    <a:pt x="17873" y="41027"/>
                  </a:lnTo>
                  <a:cubicBezTo>
                    <a:pt x="17867" y="52418"/>
                    <a:pt x="22457" y="63330"/>
                    <a:pt x="30604" y="71292"/>
                  </a:cubicBezTo>
                  <a:lnTo>
                    <a:pt x="4066" y="84974"/>
                  </a:lnTo>
                  <a:cubicBezTo>
                    <a:pt x="456" y="87016"/>
                    <a:pt x="-816" y="91599"/>
                    <a:pt x="1226" y="95209"/>
                  </a:cubicBezTo>
                  <a:cubicBezTo>
                    <a:pt x="3154" y="98618"/>
                    <a:pt x="7378" y="99973"/>
                    <a:pt x="10929" y="98322"/>
                  </a:cubicBezTo>
                  <a:lnTo>
                    <a:pt x="44845" y="80831"/>
                  </a:lnTo>
                  <a:lnTo>
                    <a:pt x="78756" y="98322"/>
                  </a:lnTo>
                  <a:cubicBezTo>
                    <a:pt x="82366" y="100365"/>
                    <a:pt x="86948" y="99093"/>
                    <a:pt x="88990" y="95483"/>
                  </a:cubicBezTo>
                  <a:cubicBezTo>
                    <a:pt x="91032" y="91872"/>
                    <a:pt x="89761" y="87290"/>
                    <a:pt x="86151" y="85248"/>
                  </a:cubicBezTo>
                  <a:cubicBezTo>
                    <a:pt x="85977" y="85150"/>
                    <a:pt x="85800" y="85058"/>
                    <a:pt x="85619" y="84974"/>
                  </a:cubicBezTo>
                  <a:lnTo>
                    <a:pt x="59085" y="71292"/>
                  </a:lnTo>
                  <a:cubicBezTo>
                    <a:pt x="67232" y="63329"/>
                    <a:pt x="71821" y="52415"/>
                    <a:pt x="71811" y="41022"/>
                  </a:cubicBezTo>
                  <a:lnTo>
                    <a:pt x="71811" y="39641"/>
                  </a:lnTo>
                  <a:lnTo>
                    <a:pt x="82179" y="39641"/>
                  </a:lnTo>
                  <a:cubicBezTo>
                    <a:pt x="86324" y="39641"/>
                    <a:pt x="89685" y="36281"/>
                    <a:pt x="89685" y="32135"/>
                  </a:cubicBezTo>
                  <a:cubicBezTo>
                    <a:pt x="89685" y="27990"/>
                    <a:pt x="86324" y="24629"/>
                    <a:pt x="82179" y="24629"/>
                  </a:cubicBezTo>
                  <a:close/>
                  <a:moveTo>
                    <a:pt x="56833" y="41022"/>
                  </a:moveTo>
                  <a:cubicBezTo>
                    <a:pt x="56848" y="50092"/>
                    <a:pt x="52363" y="58580"/>
                    <a:pt x="44862" y="63678"/>
                  </a:cubicBezTo>
                  <a:cubicBezTo>
                    <a:pt x="37360" y="58580"/>
                    <a:pt x="32874" y="50093"/>
                    <a:pt x="32886" y="41022"/>
                  </a:cubicBezTo>
                  <a:lnTo>
                    <a:pt x="32886" y="39641"/>
                  </a:lnTo>
                  <a:lnTo>
                    <a:pt x="56833" y="39641"/>
                  </a:lnTo>
                  <a:close/>
                </a:path>
              </a:pathLst>
            </a:custGeom>
            <a:solidFill>
              <a:srgbClr val="7F7F7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1316" name="Google Shape;1316;p6"/>
            <p:cNvSpPr/>
            <p:nvPr/>
          </p:nvSpPr>
          <p:spPr>
            <a:xfrm>
              <a:off x="6832510" y="2152864"/>
              <a:ext cx="42893" cy="12868"/>
            </a:xfrm>
            <a:custGeom>
              <a:avLst/>
              <a:gdLst/>
              <a:ahLst/>
              <a:cxnLst/>
              <a:rect l="l" t="t" r="r" b="b"/>
              <a:pathLst>
                <a:path w="42892" h="12867" extrusionOk="0">
                  <a:moveTo>
                    <a:pt x="7506" y="15012"/>
                  </a:moveTo>
                  <a:lnTo>
                    <a:pt x="35653" y="15012"/>
                  </a:lnTo>
                  <a:cubicBezTo>
                    <a:pt x="39798" y="15012"/>
                    <a:pt x="43159" y="11652"/>
                    <a:pt x="43159" y="7506"/>
                  </a:cubicBezTo>
                  <a:cubicBezTo>
                    <a:pt x="43159" y="3361"/>
                    <a:pt x="39798" y="0"/>
                    <a:pt x="35653"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1317" name="Google Shape;1317;p6"/>
            <p:cNvSpPr/>
            <p:nvPr/>
          </p:nvSpPr>
          <p:spPr>
            <a:xfrm>
              <a:off x="6732201" y="223786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1318" name="Google Shape;1318;p6"/>
            <p:cNvSpPr/>
            <p:nvPr/>
          </p:nvSpPr>
          <p:spPr>
            <a:xfrm>
              <a:off x="6756508" y="2288113"/>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1319" name="Google Shape;1319;p6"/>
            <p:cNvSpPr/>
            <p:nvPr/>
          </p:nvSpPr>
          <p:spPr>
            <a:xfrm>
              <a:off x="6732201" y="2338361"/>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1320" name="Google Shape;1320;p6"/>
            <p:cNvSpPr/>
            <p:nvPr/>
          </p:nvSpPr>
          <p:spPr>
            <a:xfrm>
              <a:off x="6756508" y="2388606"/>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1321" name="Google Shape;1321;p6"/>
            <p:cNvSpPr/>
            <p:nvPr/>
          </p:nvSpPr>
          <p:spPr>
            <a:xfrm>
              <a:off x="6732201" y="2438854"/>
              <a:ext cx="240200" cy="12868"/>
            </a:xfrm>
            <a:custGeom>
              <a:avLst/>
              <a:gdLst/>
              <a:ahLst/>
              <a:cxnLst/>
              <a:rect l="l" t="t" r="r" b="b"/>
              <a:pathLst>
                <a:path w="240200" h="12867" extrusionOk="0">
                  <a:moveTo>
                    <a:pt x="236271" y="0"/>
                  </a:moveTo>
                  <a:lnTo>
                    <a:pt x="7506" y="0"/>
                  </a:lnTo>
                  <a:cubicBezTo>
                    <a:pt x="3361" y="0"/>
                    <a:pt x="0" y="3361"/>
                    <a:pt x="0" y="7506"/>
                  </a:cubicBezTo>
                  <a:cubicBezTo>
                    <a:pt x="0" y="11652"/>
                    <a:pt x="3361" y="15012"/>
                    <a:pt x="7506" y="15012"/>
                  </a:cubicBezTo>
                  <a:lnTo>
                    <a:pt x="236271" y="15012"/>
                  </a:lnTo>
                  <a:cubicBezTo>
                    <a:pt x="240417" y="15012"/>
                    <a:pt x="243778" y="11652"/>
                    <a:pt x="243778" y="7506"/>
                  </a:cubicBezTo>
                  <a:cubicBezTo>
                    <a:pt x="243778" y="3361"/>
                    <a:pt x="240417" y="0"/>
                    <a:pt x="236271" y="0"/>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1322" name="Google Shape;1322;p6"/>
            <p:cNvSpPr/>
            <p:nvPr/>
          </p:nvSpPr>
          <p:spPr>
            <a:xfrm>
              <a:off x="6756508" y="2491764"/>
              <a:ext cx="193018" cy="12868"/>
            </a:xfrm>
            <a:custGeom>
              <a:avLst/>
              <a:gdLst/>
              <a:ahLst/>
              <a:cxnLst/>
              <a:rect l="l" t="t" r="r" b="b"/>
              <a:pathLst>
                <a:path w="193018" h="12867" extrusionOk="0">
                  <a:moveTo>
                    <a:pt x="187657" y="15012"/>
                  </a:moveTo>
                  <a:cubicBezTo>
                    <a:pt x="191802" y="15012"/>
                    <a:pt x="195163" y="11652"/>
                    <a:pt x="195163" y="7506"/>
                  </a:cubicBezTo>
                  <a:cubicBezTo>
                    <a:pt x="195163" y="3361"/>
                    <a:pt x="191802" y="0"/>
                    <a:pt x="187657" y="0"/>
                  </a:cubicBezTo>
                  <a:lnTo>
                    <a:pt x="7506" y="0"/>
                  </a:lnTo>
                  <a:cubicBezTo>
                    <a:pt x="3361" y="0"/>
                    <a:pt x="0" y="3361"/>
                    <a:pt x="0" y="7506"/>
                  </a:cubicBezTo>
                  <a:cubicBezTo>
                    <a:pt x="0" y="11652"/>
                    <a:pt x="3361" y="15012"/>
                    <a:pt x="7506" y="15012"/>
                  </a:cubicBezTo>
                  <a:close/>
                </a:path>
              </a:pathLst>
            </a:custGeom>
            <a:solidFill>
              <a:srgbClr val="7F7F7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444444"/>
                </a:solidFill>
                <a:effectLst/>
                <a:uLnTx/>
                <a:uFillTx/>
                <a:latin typeface="Calibri"/>
                <a:ea typeface="Calibri"/>
                <a:cs typeface="Calibri"/>
                <a:sym typeface="Calibri"/>
              </a:endParaRPr>
            </a:p>
          </p:txBody>
        </p:sp>
      </p:grpSp>
      <p:cxnSp>
        <p:nvCxnSpPr>
          <p:cNvPr id="1323" name="Google Shape;1323;p6"/>
          <p:cNvCxnSpPr>
            <a:cxnSpLocks/>
          </p:cNvCxnSpPr>
          <p:nvPr/>
        </p:nvCxnSpPr>
        <p:spPr>
          <a:xfrm>
            <a:off x="550864" y="2087115"/>
            <a:ext cx="540000" cy="0"/>
          </a:xfrm>
          <a:prstGeom prst="straightConnector1">
            <a:avLst/>
          </a:prstGeom>
          <a:noFill/>
          <a:ln w="38100" cap="flat" cmpd="sng">
            <a:solidFill>
              <a:schemeClr val="bg1"/>
            </a:solidFill>
            <a:prstDash val="solid"/>
            <a:miter lim="800000"/>
            <a:headEnd type="none" w="sm" len="sm"/>
            <a:tailEnd type="none" w="sm" len="sm"/>
          </a:ln>
        </p:spPr>
      </p:cxnSp>
      <p:sp>
        <p:nvSpPr>
          <p:cNvPr id="1286" name="Google Shape;1286;p6"/>
          <p:cNvSpPr/>
          <p:nvPr/>
        </p:nvSpPr>
        <p:spPr>
          <a:xfrm>
            <a:off x="7897729" y="1942850"/>
            <a:ext cx="747446" cy="747446"/>
          </a:xfrm>
          <a:prstGeom prst="ellipse">
            <a:avLst/>
          </a:prstGeom>
          <a:solidFill>
            <a:schemeClr val="lt1"/>
          </a:solidFill>
          <a:ln w="15875">
            <a:solidFill>
              <a:schemeClr val="accent2"/>
            </a:solid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1289" name="Google Shape;1289;p6"/>
          <p:cNvSpPr/>
          <p:nvPr/>
        </p:nvSpPr>
        <p:spPr>
          <a:xfrm>
            <a:off x="7870805" y="2907696"/>
            <a:ext cx="747446" cy="747446"/>
          </a:xfrm>
          <a:prstGeom prst="ellipse">
            <a:avLst/>
          </a:prstGeom>
          <a:solidFill>
            <a:schemeClr val="lt1"/>
          </a:solidFill>
          <a:ln w="15875">
            <a:solidFill>
              <a:schemeClr val="accent2"/>
            </a:solid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1291" name="Google Shape;1291;p6"/>
          <p:cNvSpPr/>
          <p:nvPr/>
        </p:nvSpPr>
        <p:spPr>
          <a:xfrm>
            <a:off x="8722413" y="1036321"/>
            <a:ext cx="2914931" cy="63402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80000"/>
              </a:lnSpc>
              <a:spcBef>
                <a:spcPts val="0"/>
              </a:spcBef>
              <a:spcAft>
                <a:spcPts val="0"/>
              </a:spcAft>
              <a:buClr>
                <a:srgbClr val="000000"/>
              </a:buClr>
              <a:buSzPts val="2000"/>
              <a:buFont typeface="Arial"/>
              <a:buNone/>
              <a:tabLst/>
              <a:defRPr/>
            </a:pPr>
            <a:r>
              <a:rPr kumimoji="0" lang="en-US" sz="2000" b="0" i="0" u="none" strike="noStrike" kern="1200" cap="none" spc="0" normalizeH="0" baseline="0" noProof="0" dirty="0">
                <a:ln>
                  <a:noFill/>
                </a:ln>
                <a:effectLst/>
                <a:uLnTx/>
                <a:uFillTx/>
                <a:latin typeface="Franklin Gothic Demi" panose="020B0703020102020204" pitchFamily="34" charset="0"/>
                <a:ea typeface="Franklin Gothic"/>
                <a:cs typeface="Franklin Gothic"/>
                <a:sym typeface="Franklin Gothic"/>
              </a:rPr>
              <a:t>Desk research</a:t>
            </a:r>
            <a:endParaRPr kumimoji="0" sz="1400" b="0" i="0" u="none" strike="noStrike" kern="1200" cap="none" spc="0" normalizeH="0" baseline="0" noProof="0" dirty="0">
              <a:ln>
                <a:noFill/>
              </a:ln>
              <a:effectLst/>
              <a:uLnTx/>
              <a:uFillTx/>
              <a:latin typeface="Franklin Gothic Demi" panose="020B0703020102020204" pitchFamily="34" charset="0"/>
              <a:ea typeface="Arial"/>
              <a:cs typeface="Arial"/>
              <a:sym typeface="Arial"/>
            </a:endParaRPr>
          </a:p>
          <a:p>
            <a:pPr marL="0" marR="0" lvl="0" indent="0" algn="l"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1400" b="0" i="0" u="none" strike="noStrike" kern="1200" cap="none" spc="0" normalizeH="0" baseline="0" noProof="0" dirty="0">
                <a:ln>
                  <a:noFill/>
                </a:ln>
                <a:solidFill>
                  <a:srgbClr val="444444"/>
                </a:solidFill>
                <a:effectLst/>
                <a:uLnTx/>
                <a:uFillTx/>
                <a:latin typeface="Calibri"/>
                <a:ea typeface="Calibri"/>
                <a:cs typeface="Calibri"/>
                <a:sym typeface="Calibri"/>
              </a:rPr>
              <a:t>Getting insights through free and paid data sources</a:t>
            </a:r>
            <a:endParaRPr kumimoji="0"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292" name="Google Shape;1292;p6"/>
          <p:cNvSpPr/>
          <p:nvPr/>
        </p:nvSpPr>
        <p:spPr>
          <a:xfrm>
            <a:off x="8722413" y="2096513"/>
            <a:ext cx="3114302" cy="44012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80000"/>
              </a:lnSpc>
              <a:spcBef>
                <a:spcPts val="0"/>
              </a:spcBef>
              <a:spcAft>
                <a:spcPts val="0"/>
              </a:spcAft>
              <a:buClr>
                <a:srgbClr val="000000"/>
              </a:buClr>
              <a:buSzPts val="2000"/>
              <a:buFontTx/>
              <a:buNone/>
              <a:tabLst/>
              <a:defRPr/>
            </a:pPr>
            <a:r>
              <a:rPr kumimoji="0" lang="en-US" sz="2000" b="0" i="0" u="none" strike="noStrike" kern="1200" cap="none" spc="0" normalizeH="0" baseline="0" noProof="0" dirty="0">
                <a:ln>
                  <a:noFill/>
                </a:ln>
                <a:effectLst/>
                <a:uLnTx/>
                <a:uFillTx/>
                <a:latin typeface="Franklin Gothic Demi" panose="020B0703020102020204" pitchFamily="34" charset="0"/>
                <a:ea typeface="+mn-ea"/>
                <a:cs typeface="+mn-cs"/>
                <a:sym typeface="Franklin Gothic"/>
              </a:rPr>
              <a:t>Primary research</a:t>
            </a:r>
            <a:endParaRPr kumimoji="0" sz="2000" b="0" i="0" u="none" strike="noStrike" kern="1200" cap="none" spc="0" normalizeH="0" baseline="0" noProof="0" dirty="0">
              <a:ln>
                <a:noFill/>
              </a:ln>
              <a:effectLst/>
              <a:uLnTx/>
              <a:uFillTx/>
              <a:latin typeface="Franklin Gothic Demi" panose="020B0703020102020204" pitchFamily="34" charset="0"/>
              <a:ea typeface="+mn-ea"/>
              <a:cs typeface="+mn-cs"/>
              <a:sym typeface="Arial"/>
            </a:endParaRPr>
          </a:p>
          <a:p>
            <a:pPr marL="0" marR="0" lvl="0" indent="0" algn="l"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1400" b="0" i="0" u="none" strike="noStrike" kern="1200" cap="none" spc="0" normalizeH="0" baseline="0" noProof="0" dirty="0">
                <a:ln>
                  <a:noFill/>
                </a:ln>
                <a:solidFill>
                  <a:srgbClr val="444444"/>
                </a:solidFill>
                <a:effectLst/>
                <a:uLnTx/>
                <a:uFillTx/>
                <a:latin typeface="Calibri"/>
                <a:ea typeface="Calibri"/>
                <a:cs typeface="Calibri"/>
                <a:sym typeface="Calibri"/>
              </a:rPr>
              <a:t>Building new data through cold calling</a:t>
            </a:r>
            <a:endParaRPr kumimoji="0"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293" name="Google Shape;1293;p6"/>
          <p:cNvSpPr/>
          <p:nvPr/>
        </p:nvSpPr>
        <p:spPr>
          <a:xfrm>
            <a:off x="8722413" y="2993422"/>
            <a:ext cx="2686733" cy="63402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80000"/>
              </a:lnSpc>
              <a:spcBef>
                <a:spcPts val="0"/>
              </a:spcBef>
              <a:spcAft>
                <a:spcPts val="0"/>
              </a:spcAft>
              <a:buClr>
                <a:srgbClr val="000000"/>
              </a:buClr>
              <a:buSzPts val="2000"/>
              <a:buFontTx/>
              <a:buNone/>
              <a:tabLst/>
              <a:defRPr/>
            </a:pPr>
            <a:r>
              <a:rPr kumimoji="0" lang="en-US" sz="2000" b="0" i="0" u="none" strike="noStrike" kern="1200" cap="none" spc="0" normalizeH="0" baseline="0" noProof="0" dirty="0">
                <a:ln>
                  <a:noFill/>
                </a:ln>
                <a:solidFill>
                  <a:srgbClr val="444444"/>
                </a:solidFill>
                <a:effectLst/>
                <a:uLnTx/>
                <a:uFillTx/>
                <a:latin typeface="Franklin Gothic Demi" panose="020B0703020102020204" pitchFamily="34" charset="0"/>
                <a:ea typeface="+mn-ea"/>
                <a:cs typeface="+mn-cs"/>
                <a:sym typeface="Franklin Gothic"/>
              </a:rPr>
              <a:t>Tech enabled research</a:t>
            </a:r>
            <a:endParaRPr kumimoji="0" sz="2000" b="0" i="0" u="none" strike="noStrike" kern="1200" cap="none" spc="0" normalizeH="0" baseline="0" noProof="0" dirty="0">
              <a:ln>
                <a:noFill/>
              </a:ln>
              <a:solidFill>
                <a:srgbClr val="444444"/>
              </a:solidFill>
              <a:effectLst/>
              <a:uLnTx/>
              <a:uFillTx/>
              <a:latin typeface="Franklin Gothic Demi" panose="020B0703020102020204" pitchFamily="34" charset="0"/>
              <a:ea typeface="+mn-ea"/>
              <a:cs typeface="+mn-cs"/>
              <a:sym typeface="Calibri"/>
            </a:endParaRPr>
          </a:p>
          <a:p>
            <a:pPr marL="0" marR="0" lvl="0" indent="0" algn="l"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1400" b="0" i="0" u="none" strike="noStrike" kern="1200" cap="none" spc="0" normalizeH="0" baseline="0" noProof="0" dirty="0">
                <a:ln>
                  <a:noFill/>
                </a:ln>
                <a:solidFill>
                  <a:srgbClr val="444444"/>
                </a:solidFill>
                <a:effectLst/>
                <a:uLnTx/>
                <a:uFillTx/>
                <a:latin typeface="Calibri"/>
                <a:ea typeface="Calibri"/>
                <a:cs typeface="Calibri"/>
                <a:sym typeface="Calibri"/>
              </a:rPr>
              <a:t>Using technology to generate data and insights</a:t>
            </a:r>
            <a:endParaRPr kumimoji="0"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295" name="Google Shape;1295;p6"/>
          <p:cNvSpPr txBox="1"/>
          <p:nvPr/>
        </p:nvSpPr>
        <p:spPr>
          <a:xfrm>
            <a:off x="4497444" y="3506338"/>
            <a:ext cx="3328000" cy="36933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400" b="0" i="0" u="none" strike="noStrike" kern="1200" cap="none" spc="0" normalizeH="0" baseline="0" noProof="0" dirty="0">
                <a:ln>
                  <a:noFill/>
                </a:ln>
                <a:effectLst/>
                <a:uLnTx/>
                <a:uFillTx/>
                <a:latin typeface="Franklin Gothic Demi" panose="020B0703020102020204" pitchFamily="34" charset="0"/>
                <a:ea typeface="+mn-ea"/>
                <a:cs typeface="+mn-cs"/>
                <a:sym typeface="Franklin Gothic"/>
              </a:rPr>
              <a:t>Business Translation</a:t>
            </a:r>
            <a:endParaRPr kumimoji="0" sz="2400" b="0" i="0" u="none" strike="noStrike" kern="1200" cap="none" spc="0" normalizeH="0" baseline="0" noProof="0" dirty="0">
              <a:ln>
                <a:noFill/>
              </a:ln>
              <a:effectLst/>
              <a:uLnTx/>
              <a:uFillTx/>
              <a:latin typeface="Franklin Gothic Demi" panose="020B0703020102020204" pitchFamily="34" charset="0"/>
              <a:ea typeface="+mn-ea"/>
              <a:cs typeface="+mn-cs"/>
              <a:sym typeface="Arial"/>
            </a:endParaRPr>
          </a:p>
        </p:txBody>
      </p:sp>
      <p:sp>
        <p:nvSpPr>
          <p:cNvPr id="1296" name="Google Shape;1296;p6"/>
          <p:cNvSpPr txBox="1"/>
          <p:nvPr/>
        </p:nvSpPr>
        <p:spPr>
          <a:xfrm>
            <a:off x="4050003" y="939874"/>
            <a:ext cx="2646622" cy="369332"/>
          </a:xfrm>
          <a:prstGeom prst="rect">
            <a:avLst/>
          </a:prstGeom>
          <a:noFill/>
          <a:ln>
            <a:noFill/>
            <a:prstDash val="lgDash"/>
          </a:ln>
        </p:spPr>
        <p:txBody>
          <a:bodyPr spcFirstLastPara="1" wrap="square" lIns="0" tIns="0" rIns="0" bIns="0" anchor="t" anchorCtr="0">
            <a:spAutoFit/>
          </a:bodyPr>
          <a:lstStyle/>
          <a:p>
            <a:pPr>
              <a:buSzPts val="2400"/>
            </a:pPr>
            <a:r>
              <a:rPr lang="en-US" sz="2400" kern="1200" dirty="0">
                <a:latin typeface="Franklin Gothic Demi" panose="020B0703020102020204" pitchFamily="34" charset="0"/>
                <a:sym typeface="Franklin Gothic"/>
              </a:rPr>
              <a:t>Business Research </a:t>
            </a:r>
            <a:endParaRPr sz="2400" kern="1200" dirty="0">
              <a:latin typeface="Franklin Gothic Demi" panose="020B0703020102020204" pitchFamily="34" charset="0"/>
            </a:endParaRPr>
          </a:p>
        </p:txBody>
      </p:sp>
      <p:sp>
        <p:nvSpPr>
          <p:cNvPr id="1298" name="Google Shape;1298;p6"/>
          <p:cNvSpPr/>
          <p:nvPr/>
        </p:nvSpPr>
        <p:spPr>
          <a:xfrm>
            <a:off x="4050003" y="1385986"/>
            <a:ext cx="2310799" cy="409343"/>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95000"/>
              </a:lnSpc>
              <a:spcBef>
                <a:spcPts val="0"/>
              </a:spcBef>
              <a:spcAft>
                <a:spcPts val="0"/>
              </a:spcAft>
              <a:buClr>
                <a:srgbClr val="000000"/>
              </a:buClr>
              <a:buSzPts val="1400"/>
              <a:buFont typeface="Arial"/>
              <a:buNone/>
              <a:tabLst/>
              <a:defRPr/>
            </a:pPr>
            <a:r>
              <a:rPr kumimoji="0" lang="en-US" sz="1400" b="0" i="0" u="none" strike="noStrike" kern="1200" cap="none" spc="0" normalizeH="0" baseline="0" noProof="0" dirty="0">
                <a:ln>
                  <a:noFill/>
                </a:ln>
                <a:solidFill>
                  <a:srgbClr val="444444"/>
                </a:solidFill>
                <a:effectLst/>
                <a:uLnTx/>
                <a:uFillTx/>
                <a:latin typeface="Calibri"/>
                <a:ea typeface="Calibri"/>
                <a:cs typeface="Calibri"/>
                <a:sym typeface="Calibri"/>
              </a:rPr>
              <a:t>Getting the right insights to make better decisions</a:t>
            </a:r>
            <a:endParaRPr kumimoji="0"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299" name="Google Shape;1299;p6"/>
          <p:cNvSpPr/>
          <p:nvPr/>
        </p:nvSpPr>
        <p:spPr>
          <a:xfrm>
            <a:off x="4497444" y="3889243"/>
            <a:ext cx="2708158" cy="614014"/>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95000"/>
              </a:lnSpc>
              <a:spcBef>
                <a:spcPts val="0"/>
              </a:spcBef>
              <a:spcAft>
                <a:spcPts val="0"/>
              </a:spcAft>
              <a:buClr>
                <a:srgbClr val="000000"/>
              </a:buClr>
              <a:buSzPts val="1400"/>
              <a:buFont typeface="Arial"/>
              <a:buNone/>
              <a:tabLst/>
              <a:defRPr/>
            </a:pPr>
            <a:r>
              <a:rPr kumimoji="0" lang="en-US" sz="1400" b="0" i="0" u="none" strike="noStrike" kern="1200" cap="none" spc="0" normalizeH="0" baseline="0" noProof="0" dirty="0">
                <a:ln>
                  <a:noFill/>
                </a:ln>
                <a:solidFill>
                  <a:srgbClr val="444444"/>
                </a:solidFill>
                <a:effectLst/>
                <a:uLnTx/>
                <a:uFillTx/>
                <a:latin typeface="Calibri"/>
                <a:ea typeface="Calibri"/>
                <a:cs typeface="Calibri"/>
                <a:sym typeface="Calibri"/>
              </a:rPr>
              <a:t>Translating business content between languages without betraying the original message</a:t>
            </a:r>
            <a:endParaRPr kumimoji="0"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297" name="Google Shape;1297;p6"/>
          <p:cNvSpPr txBox="1"/>
          <p:nvPr/>
        </p:nvSpPr>
        <p:spPr>
          <a:xfrm>
            <a:off x="4497444" y="2282399"/>
            <a:ext cx="2613837"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400" b="0" i="0" u="none" strike="noStrike" kern="1200" cap="none" spc="0" normalizeH="0" baseline="0" noProof="0" dirty="0">
                <a:ln>
                  <a:noFill/>
                </a:ln>
                <a:effectLst/>
                <a:uLnTx/>
                <a:uFillTx/>
                <a:latin typeface="Franklin Gothic Demi" panose="020B0703020102020204" pitchFamily="34" charset="0"/>
                <a:ea typeface="Franklin Gothic"/>
                <a:cs typeface="Franklin Gothic"/>
                <a:sym typeface="Franklin Gothic"/>
              </a:rPr>
              <a:t>Graphic</a:t>
            </a:r>
            <a:r>
              <a:rPr kumimoji="0" lang="en-US" sz="2400" b="0" i="0" u="none" strike="noStrike" kern="1200" cap="none" spc="0" normalizeH="0" baseline="0" noProof="0" dirty="0">
                <a:ln>
                  <a:noFill/>
                </a:ln>
                <a:effectLst/>
                <a:uLnTx/>
                <a:uFillTx/>
                <a:latin typeface="Franklin Gothic"/>
                <a:ea typeface="Franklin Gothic"/>
                <a:cs typeface="Franklin Gothic"/>
                <a:sym typeface="Franklin Gothic"/>
              </a:rPr>
              <a:t> </a:t>
            </a:r>
            <a:r>
              <a:rPr kumimoji="0" lang="en-US" sz="2400" b="0" i="0" u="none" strike="noStrike" kern="1200" cap="none" spc="0" normalizeH="0" baseline="0" noProof="0" dirty="0">
                <a:ln>
                  <a:noFill/>
                </a:ln>
                <a:effectLst/>
                <a:uLnTx/>
                <a:uFillTx/>
                <a:latin typeface="Franklin Gothic Demi" panose="020B0703020102020204" pitchFamily="34" charset="0"/>
                <a:ea typeface="+mn-ea"/>
                <a:cs typeface="+mn-cs"/>
                <a:sym typeface="Franklin Gothic"/>
              </a:rPr>
              <a:t>Design</a:t>
            </a:r>
            <a:endParaRPr kumimoji="0" sz="2400" b="0" i="0" u="none" strike="noStrike" kern="1200" cap="none" spc="0" normalizeH="0" baseline="0" noProof="0" dirty="0">
              <a:ln>
                <a:noFill/>
              </a:ln>
              <a:effectLst/>
              <a:uLnTx/>
              <a:uFillTx/>
              <a:latin typeface="Franklin Gothic Demi" panose="020B0703020102020204" pitchFamily="34" charset="0"/>
              <a:ea typeface="+mn-ea"/>
              <a:cs typeface="+mn-cs"/>
              <a:sym typeface="Arial"/>
            </a:endParaRPr>
          </a:p>
        </p:txBody>
      </p:sp>
      <p:sp>
        <p:nvSpPr>
          <p:cNvPr id="1300" name="Google Shape;1300;p6"/>
          <p:cNvSpPr/>
          <p:nvPr/>
        </p:nvSpPr>
        <p:spPr>
          <a:xfrm>
            <a:off x="4497446" y="2657537"/>
            <a:ext cx="2536598" cy="409343"/>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95000"/>
              </a:lnSpc>
              <a:spcBef>
                <a:spcPts val="0"/>
              </a:spcBef>
              <a:spcAft>
                <a:spcPts val="0"/>
              </a:spcAft>
              <a:buClr>
                <a:srgbClr val="000000"/>
              </a:buClr>
              <a:buSzPts val="1400"/>
              <a:buFont typeface="Arial"/>
              <a:buNone/>
              <a:tabLst/>
              <a:defRPr/>
            </a:pPr>
            <a:r>
              <a:rPr kumimoji="0" lang="en-US" sz="1400" b="0" i="0" u="none" strike="noStrike" kern="1200" cap="none" spc="0" normalizeH="0" baseline="0" noProof="0" dirty="0">
                <a:ln>
                  <a:noFill/>
                </a:ln>
                <a:solidFill>
                  <a:srgbClr val="444444"/>
                </a:solidFill>
                <a:effectLst/>
                <a:uLnTx/>
                <a:uFillTx/>
                <a:latin typeface="Calibri"/>
                <a:ea typeface="Calibri"/>
                <a:cs typeface="Calibri"/>
                <a:sym typeface="Calibri"/>
              </a:rPr>
              <a:t>Presenting messages in a meaningful and beautiful way</a:t>
            </a:r>
            <a:endParaRPr kumimoji="0"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1303" name="Google Shape;1303;p6"/>
          <p:cNvCxnSpPr>
            <a:cxnSpLocks/>
            <a:stCxn id="1304" idx="6"/>
            <a:endCxn id="1325" idx="2"/>
          </p:cNvCxnSpPr>
          <p:nvPr/>
        </p:nvCxnSpPr>
        <p:spPr>
          <a:xfrm>
            <a:off x="3913815" y="1353331"/>
            <a:ext cx="3956990" cy="0"/>
          </a:xfrm>
          <a:prstGeom prst="straightConnector1">
            <a:avLst/>
          </a:prstGeom>
          <a:noFill/>
          <a:ln w="15875" cap="flat" cmpd="sng">
            <a:solidFill>
              <a:schemeClr val="bg1">
                <a:lumMod val="50000"/>
              </a:schemeClr>
            </a:solidFill>
            <a:prstDash val="solid"/>
            <a:miter lim="800000"/>
            <a:headEnd type="none" w="sm" len="sm"/>
            <a:tailEnd type="none" w="sm" len="sm"/>
          </a:ln>
        </p:spPr>
      </p:cxnSp>
      <p:sp>
        <p:nvSpPr>
          <p:cNvPr id="1325" name="Google Shape;1325;p6"/>
          <p:cNvSpPr/>
          <p:nvPr/>
        </p:nvSpPr>
        <p:spPr>
          <a:xfrm>
            <a:off x="7870805" y="979608"/>
            <a:ext cx="747446" cy="747446"/>
          </a:xfrm>
          <a:prstGeom prst="ellipse">
            <a:avLst/>
          </a:prstGeom>
          <a:solidFill>
            <a:schemeClr val="lt1"/>
          </a:solidFill>
          <a:ln w="15875">
            <a:solidFill>
              <a:schemeClr val="accent2"/>
            </a:solid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cxnSp>
        <p:nvCxnSpPr>
          <p:cNvPr id="1327" name="Google Shape;1327;p6"/>
          <p:cNvCxnSpPr>
            <a:cxnSpLocks/>
            <a:endCxn id="1286" idx="2"/>
          </p:cNvCxnSpPr>
          <p:nvPr/>
        </p:nvCxnSpPr>
        <p:spPr>
          <a:xfrm rot="16200000" flipH="1">
            <a:off x="7314924" y="1733768"/>
            <a:ext cx="927380" cy="238230"/>
          </a:xfrm>
          <a:prstGeom prst="bentConnector2">
            <a:avLst/>
          </a:prstGeom>
          <a:noFill/>
          <a:ln w="15875" cap="flat" cmpd="sng">
            <a:solidFill>
              <a:schemeClr val="bg1">
                <a:lumMod val="50000"/>
              </a:schemeClr>
            </a:solidFill>
            <a:prstDash val="solid"/>
            <a:miter lim="800000"/>
            <a:headEnd type="none" w="sm" len="sm"/>
            <a:tailEnd type="none" w="sm" len="sm"/>
          </a:ln>
        </p:spPr>
      </p:cxnSp>
      <p:cxnSp>
        <p:nvCxnSpPr>
          <p:cNvPr id="1329" name="Google Shape;1329;p6"/>
          <p:cNvCxnSpPr>
            <a:cxnSpLocks/>
            <a:endCxn id="1289" idx="2"/>
          </p:cNvCxnSpPr>
          <p:nvPr/>
        </p:nvCxnSpPr>
        <p:spPr>
          <a:xfrm rot="16200000" flipH="1">
            <a:off x="6798977" y="2209590"/>
            <a:ext cx="1932351" cy="211305"/>
          </a:xfrm>
          <a:prstGeom prst="bentConnector2">
            <a:avLst/>
          </a:prstGeom>
          <a:noFill/>
          <a:ln w="15875" cap="flat" cmpd="sng">
            <a:solidFill>
              <a:schemeClr val="bg1">
                <a:lumMod val="50000"/>
              </a:schemeClr>
            </a:solidFill>
            <a:prstDash val="solid"/>
            <a:miter lim="800000"/>
            <a:headEnd type="none" w="sm" len="sm"/>
            <a:tailEnd type="none" w="sm" len="sm"/>
          </a:ln>
        </p:spPr>
      </p:cxnSp>
      <p:cxnSp>
        <p:nvCxnSpPr>
          <p:cNvPr id="1330" name="Google Shape;1330;p6"/>
          <p:cNvCxnSpPr>
            <a:cxnSpLocks/>
            <a:endCxn id="1325" idx="2"/>
          </p:cNvCxnSpPr>
          <p:nvPr/>
        </p:nvCxnSpPr>
        <p:spPr>
          <a:xfrm rot="16200000" flipH="1">
            <a:off x="7763021" y="1245546"/>
            <a:ext cx="4263" cy="211305"/>
          </a:xfrm>
          <a:prstGeom prst="bentConnector2">
            <a:avLst/>
          </a:prstGeom>
          <a:noFill/>
          <a:ln w="15875" cap="flat" cmpd="sng">
            <a:solidFill>
              <a:schemeClr val="bg1">
                <a:lumMod val="50000"/>
              </a:schemeClr>
            </a:solidFill>
            <a:prstDash val="solid"/>
            <a:miter lim="800000"/>
            <a:headEnd type="none" w="sm" len="sm"/>
            <a:tailEnd type="none" w="sm" len="sm"/>
          </a:ln>
        </p:spPr>
      </p:cxnSp>
      <p:sp>
        <p:nvSpPr>
          <p:cNvPr id="3" name="Google Shape;1295;p6">
            <a:extLst>
              <a:ext uri="{FF2B5EF4-FFF2-40B4-BE49-F238E27FC236}">
                <a16:creationId xmlns:a16="http://schemas.microsoft.com/office/drawing/2014/main" id="{E81C51C5-B279-30D5-4D03-4E144C56F1D1}"/>
              </a:ext>
            </a:extLst>
          </p:cNvPr>
          <p:cNvSpPr txBox="1"/>
          <p:nvPr/>
        </p:nvSpPr>
        <p:spPr>
          <a:xfrm>
            <a:off x="4050003" y="4816996"/>
            <a:ext cx="3328000" cy="369330"/>
          </a:xfrm>
          <a:prstGeom prst="rect">
            <a:avLst/>
          </a:prstGeom>
          <a:noFill/>
          <a:ln>
            <a:noFill/>
            <a:prstDash val="lgDash"/>
          </a:ln>
        </p:spPr>
        <p:txBody>
          <a:bodyPr spcFirstLastPara="1" wrap="square" lIns="0" tIns="0" rIns="0" bIns="0" anchor="t" anchorCtr="0">
            <a:spAutoFit/>
          </a:bodyPr>
          <a:lstStyle>
            <a:defPPr>
              <a:defRPr lang="en-US"/>
            </a:defPPr>
            <a:lvl1pPr marR="0" lvl="0" indent="0">
              <a:lnSpc>
                <a:spcPct val="100000"/>
              </a:lnSpc>
              <a:spcBef>
                <a:spcPts val="0"/>
              </a:spcBef>
              <a:spcAft>
                <a:spcPts val="0"/>
              </a:spcAft>
              <a:buClr>
                <a:srgbClr val="000000"/>
              </a:buClr>
              <a:buSzPts val="2400"/>
              <a:buFont typeface="Arial"/>
              <a:buNone/>
              <a:defRPr sz="2400" i="0" u="none" strike="noStrike" cap="none">
                <a:solidFill>
                  <a:schemeClr val="tx2"/>
                </a:solidFill>
                <a:latin typeface="Franklin Gothic Demi" panose="020B0703020102020204" pitchFamily="34" charset="0"/>
                <a:ea typeface="Franklin Gothic"/>
                <a:cs typeface="Franklin Gothic"/>
              </a:defRPr>
            </a:lvl1p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400" b="0" i="0" u="none" strike="noStrike" kern="1200" cap="none" spc="0" normalizeH="0" baseline="0" noProof="0" dirty="0">
                <a:ln>
                  <a:noFill/>
                </a:ln>
                <a:solidFill>
                  <a:srgbClr val="0F47F2"/>
                </a:solidFill>
                <a:effectLst/>
                <a:uLnTx/>
                <a:uFillTx/>
                <a:latin typeface="Franklin Gothic Demi" panose="020B0703020102020204" pitchFamily="34" charset="0"/>
                <a:sym typeface="Franklin Gothic"/>
              </a:rPr>
              <a:t>Data Analytics</a:t>
            </a:r>
            <a:endParaRPr kumimoji="0" sz="2400" b="0" i="0" u="none" strike="noStrike" kern="1200" cap="none" spc="0" normalizeH="0" baseline="0" noProof="0" dirty="0">
              <a:ln>
                <a:noFill/>
              </a:ln>
              <a:solidFill>
                <a:srgbClr val="0F47F2"/>
              </a:solidFill>
              <a:effectLst/>
              <a:uLnTx/>
              <a:uFillTx/>
              <a:latin typeface="Franklin Gothic Demi" panose="020B0703020102020204" pitchFamily="34" charset="0"/>
              <a:sym typeface="Arial"/>
            </a:endParaRPr>
          </a:p>
        </p:txBody>
      </p:sp>
      <p:sp>
        <p:nvSpPr>
          <p:cNvPr id="4" name="Google Shape;1299;p6">
            <a:extLst>
              <a:ext uri="{FF2B5EF4-FFF2-40B4-BE49-F238E27FC236}">
                <a16:creationId xmlns:a16="http://schemas.microsoft.com/office/drawing/2014/main" id="{01B6645B-C46C-2F08-AE41-FA3EA18D1102}"/>
              </a:ext>
            </a:extLst>
          </p:cNvPr>
          <p:cNvSpPr/>
          <p:nvPr/>
        </p:nvSpPr>
        <p:spPr>
          <a:xfrm>
            <a:off x="4050003" y="5198760"/>
            <a:ext cx="2776296" cy="614014"/>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95000"/>
              </a:lnSpc>
              <a:spcBef>
                <a:spcPts val="0"/>
              </a:spcBef>
              <a:spcAft>
                <a:spcPts val="0"/>
              </a:spcAft>
              <a:buClr>
                <a:srgbClr val="000000"/>
              </a:buClr>
              <a:buSzPts val="1400"/>
              <a:buFont typeface="Arial"/>
              <a:buNone/>
              <a:tabLst/>
              <a:defRPr/>
            </a:pPr>
            <a:r>
              <a:rPr kumimoji="0" lang="en-US" sz="1400" b="0" i="0" u="none" strike="noStrike" kern="1200" cap="none" spc="0" normalizeH="0" baseline="0" noProof="0" dirty="0">
                <a:ln>
                  <a:noFill/>
                </a:ln>
                <a:solidFill>
                  <a:srgbClr val="444444"/>
                </a:solidFill>
                <a:effectLst/>
                <a:uLnTx/>
                <a:uFillTx/>
                <a:latin typeface="Calibri"/>
                <a:ea typeface="Calibri"/>
                <a:cs typeface="Calibri"/>
                <a:sym typeface="Calibri"/>
              </a:rPr>
              <a:t>from cleaning the data to visualizing the model leveraging a full range of analytics capabilities </a:t>
            </a:r>
            <a:endParaRPr kumimoji="0" lang="en-US"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pic>
        <p:nvPicPr>
          <p:cNvPr id="10" name="Graphic 9">
            <a:extLst>
              <a:ext uri="{FF2B5EF4-FFF2-40B4-BE49-F238E27FC236}">
                <a16:creationId xmlns:a16="http://schemas.microsoft.com/office/drawing/2014/main" id="{CEF468C7-859E-BE1E-88D0-D95886230DF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66369" y="1117823"/>
            <a:ext cx="462488" cy="462488"/>
          </a:xfrm>
          <a:prstGeom prst="rect">
            <a:avLst/>
          </a:prstGeom>
        </p:spPr>
      </p:pic>
      <p:sp>
        <p:nvSpPr>
          <p:cNvPr id="6" name="Google Shape;1311;p6">
            <a:extLst>
              <a:ext uri="{FF2B5EF4-FFF2-40B4-BE49-F238E27FC236}">
                <a16:creationId xmlns:a16="http://schemas.microsoft.com/office/drawing/2014/main" id="{5036B97D-2A3C-205D-F528-853E4BBEED0D}"/>
              </a:ext>
            </a:extLst>
          </p:cNvPr>
          <p:cNvSpPr/>
          <p:nvPr/>
        </p:nvSpPr>
        <p:spPr>
          <a:xfrm>
            <a:off x="2905727" y="4813212"/>
            <a:ext cx="1008088" cy="1008088"/>
          </a:xfrm>
          <a:prstGeom prst="ellipse">
            <a:avLst/>
          </a:prstGeom>
          <a:solidFill>
            <a:schemeClr val="lt1"/>
          </a:solidFill>
          <a:ln>
            <a:noFill/>
          </a:ln>
          <a:effectLst>
            <a:outerShdw blurRad="635000" algn="tl" rotWithShape="0">
              <a:srgbClr val="000000">
                <a:alpha val="2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pic>
        <p:nvPicPr>
          <p:cNvPr id="24" name="Graphic 23">
            <a:extLst>
              <a:ext uri="{FF2B5EF4-FFF2-40B4-BE49-F238E27FC236}">
                <a16:creationId xmlns:a16="http://schemas.microsoft.com/office/drawing/2014/main" id="{E541C1BC-0A22-C9B5-41C4-0976F2126C1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59579" y="5052593"/>
            <a:ext cx="548220" cy="548220"/>
          </a:xfrm>
          <a:prstGeom prst="rect">
            <a:avLst/>
          </a:prstGeom>
        </p:spPr>
      </p:pic>
      <p:sp>
        <p:nvSpPr>
          <p:cNvPr id="39" name="Freeform: Shape 38">
            <a:extLst>
              <a:ext uri="{FF2B5EF4-FFF2-40B4-BE49-F238E27FC236}">
                <a16:creationId xmlns:a16="http://schemas.microsoft.com/office/drawing/2014/main" id="{E9F5F446-63BD-FF80-7F42-2EC282555866}"/>
              </a:ext>
            </a:extLst>
          </p:cNvPr>
          <p:cNvSpPr>
            <a:spLocks noChangeAspect="1"/>
          </p:cNvSpPr>
          <p:nvPr/>
        </p:nvSpPr>
        <p:spPr>
          <a:xfrm>
            <a:off x="8053014" y="2098199"/>
            <a:ext cx="436876" cy="436748"/>
          </a:xfrm>
          <a:custGeom>
            <a:avLst/>
            <a:gdLst>
              <a:gd name="connsiteX0" fmla="*/ 846782 w 1943056"/>
              <a:gd name="connsiteY0" fmla="*/ 1781273 h 1942479"/>
              <a:gd name="connsiteX1" fmla="*/ 846782 w 1943056"/>
              <a:gd name="connsiteY1" fmla="*/ 1813514 h 1942479"/>
              <a:gd name="connsiteX2" fmla="*/ 911265 w 1943056"/>
              <a:gd name="connsiteY2" fmla="*/ 1877996 h 1942479"/>
              <a:gd name="connsiteX3" fmla="*/ 1040229 w 1943056"/>
              <a:gd name="connsiteY3" fmla="*/ 1877996 h 1942479"/>
              <a:gd name="connsiteX4" fmla="*/ 1104712 w 1943056"/>
              <a:gd name="connsiteY4" fmla="*/ 1813514 h 1942479"/>
              <a:gd name="connsiteX5" fmla="*/ 1104712 w 1943056"/>
              <a:gd name="connsiteY5" fmla="*/ 1781273 h 1942479"/>
              <a:gd name="connsiteX6" fmla="*/ 846782 w 1943056"/>
              <a:gd name="connsiteY6" fmla="*/ 1652308 h 1942479"/>
              <a:gd name="connsiteX7" fmla="*/ 846782 w 1943056"/>
              <a:gd name="connsiteY7" fmla="*/ 1716790 h 1942479"/>
              <a:gd name="connsiteX8" fmla="*/ 1104712 w 1943056"/>
              <a:gd name="connsiteY8" fmla="*/ 1716790 h 1942479"/>
              <a:gd name="connsiteX9" fmla="*/ 1104712 w 1943056"/>
              <a:gd name="connsiteY9" fmla="*/ 1652308 h 1942479"/>
              <a:gd name="connsiteX10" fmla="*/ 1394883 w 1943056"/>
              <a:gd name="connsiteY10" fmla="*/ 1458861 h 1942479"/>
              <a:gd name="connsiteX11" fmla="*/ 1459365 w 1943056"/>
              <a:gd name="connsiteY11" fmla="*/ 1458861 h 1942479"/>
              <a:gd name="connsiteX12" fmla="*/ 1459365 w 1943056"/>
              <a:gd name="connsiteY12" fmla="*/ 1684549 h 1942479"/>
              <a:gd name="connsiteX13" fmla="*/ 1394883 w 1943056"/>
              <a:gd name="connsiteY13" fmla="*/ 1684549 h 1942479"/>
              <a:gd name="connsiteX14" fmla="*/ 943506 w 1943056"/>
              <a:gd name="connsiteY14" fmla="*/ 1426621 h 1942479"/>
              <a:gd name="connsiteX15" fmla="*/ 1007988 w 1943056"/>
              <a:gd name="connsiteY15" fmla="*/ 1426621 h 1942479"/>
              <a:gd name="connsiteX16" fmla="*/ 1007988 w 1943056"/>
              <a:gd name="connsiteY16" fmla="*/ 1523344 h 1942479"/>
              <a:gd name="connsiteX17" fmla="*/ 943506 w 1943056"/>
              <a:gd name="connsiteY17" fmla="*/ 1523344 h 1942479"/>
              <a:gd name="connsiteX18" fmla="*/ 1576733 w 1943056"/>
              <a:gd name="connsiteY18" fmla="*/ 1369626 h 1942479"/>
              <a:gd name="connsiteX19" fmla="*/ 1770189 w 1943056"/>
              <a:gd name="connsiteY19" fmla="*/ 1530808 h 1942479"/>
              <a:gd name="connsiteX20" fmla="*/ 1728914 w 1943056"/>
              <a:gd name="connsiteY20" fmla="*/ 1580349 h 1942479"/>
              <a:gd name="connsiteX21" fmla="*/ 1535457 w 1943056"/>
              <a:gd name="connsiteY21" fmla="*/ 1419167 h 1942479"/>
              <a:gd name="connsiteX22" fmla="*/ 1588330 w 1943056"/>
              <a:gd name="connsiteY22" fmla="*/ 1200932 h 1942479"/>
              <a:gd name="connsiteX23" fmla="*/ 1814018 w 1943056"/>
              <a:gd name="connsiteY23" fmla="*/ 1200932 h 1942479"/>
              <a:gd name="connsiteX24" fmla="*/ 1814018 w 1943056"/>
              <a:gd name="connsiteY24" fmla="*/ 1265414 h 1942479"/>
              <a:gd name="connsiteX25" fmla="*/ 1588330 w 1943056"/>
              <a:gd name="connsiteY25" fmla="*/ 1265414 h 1942479"/>
              <a:gd name="connsiteX26" fmla="*/ 419135 w 1943056"/>
              <a:gd name="connsiteY26" fmla="*/ 1007484 h 1942479"/>
              <a:gd name="connsiteX27" fmla="*/ 297702 w 1943056"/>
              <a:gd name="connsiteY27" fmla="*/ 1092666 h 1942479"/>
              <a:gd name="connsiteX28" fmla="*/ 375281 w 1943056"/>
              <a:gd name="connsiteY28" fmla="*/ 1257425 h 1942479"/>
              <a:gd name="connsiteX29" fmla="*/ 540040 w 1943056"/>
              <a:gd name="connsiteY29" fmla="*/ 1179846 h 1942479"/>
              <a:gd name="connsiteX30" fmla="*/ 420360 w 1943056"/>
              <a:gd name="connsiteY30" fmla="*/ 1007484 h 1942479"/>
              <a:gd name="connsiteX31" fmla="*/ 419135 w 1943056"/>
              <a:gd name="connsiteY31" fmla="*/ 1007484 h 1942479"/>
              <a:gd name="connsiteX32" fmla="*/ 369580 w 1943056"/>
              <a:gd name="connsiteY32" fmla="*/ 835445 h 1942479"/>
              <a:gd name="connsiteX33" fmla="*/ 363938 w 1943056"/>
              <a:gd name="connsiteY33" fmla="*/ 862270 h 1942479"/>
              <a:gd name="connsiteX34" fmla="*/ 353956 w 1943056"/>
              <a:gd name="connsiteY34" fmla="*/ 885555 h 1942479"/>
              <a:gd name="connsiteX35" fmla="*/ 264281 w 1943056"/>
              <a:gd name="connsiteY35" fmla="*/ 902120 h 1942479"/>
              <a:gd name="connsiteX36" fmla="*/ 197251 w 1943056"/>
              <a:gd name="connsiteY36" fmla="*/ 855951 h 1942479"/>
              <a:gd name="connsiteX37" fmla="*/ 138508 w 1943056"/>
              <a:gd name="connsiteY37" fmla="*/ 914565 h 1942479"/>
              <a:gd name="connsiteX38" fmla="*/ 184677 w 1943056"/>
              <a:gd name="connsiteY38" fmla="*/ 981691 h 1942479"/>
              <a:gd name="connsiteX39" fmla="*/ 194564 w 1943056"/>
              <a:gd name="connsiteY39" fmla="*/ 1004766 h 1942479"/>
              <a:gd name="connsiteX40" fmla="*/ 144859 w 1943056"/>
              <a:gd name="connsiteY40" fmla="*/ 1081220 h 1942479"/>
              <a:gd name="connsiteX41" fmla="*/ 64482 w 1943056"/>
              <a:gd name="connsiteY41" fmla="*/ 1098147 h 1942479"/>
              <a:gd name="connsiteX42" fmla="*/ 64482 w 1943056"/>
              <a:gd name="connsiteY42" fmla="*/ 1174752 h 1942479"/>
              <a:gd name="connsiteX43" fmla="*/ 144859 w 1943056"/>
              <a:gd name="connsiteY43" fmla="*/ 1191678 h 1942479"/>
              <a:gd name="connsiteX44" fmla="*/ 168196 w 1943056"/>
              <a:gd name="connsiteY44" fmla="*/ 1201705 h 1942479"/>
              <a:gd name="connsiteX45" fmla="*/ 184645 w 1943056"/>
              <a:gd name="connsiteY45" fmla="*/ 1291400 h 1942479"/>
              <a:gd name="connsiteX46" fmla="*/ 138508 w 1943056"/>
              <a:gd name="connsiteY46" fmla="*/ 1358333 h 1942479"/>
              <a:gd name="connsiteX47" fmla="*/ 197251 w 1943056"/>
              <a:gd name="connsiteY47" fmla="*/ 1416947 h 1942479"/>
              <a:gd name="connsiteX48" fmla="*/ 264248 w 1943056"/>
              <a:gd name="connsiteY48" fmla="*/ 1370907 h 1942479"/>
              <a:gd name="connsiteX49" fmla="*/ 287559 w 1943056"/>
              <a:gd name="connsiteY49" fmla="*/ 1360903 h 1942479"/>
              <a:gd name="connsiteX50" fmla="*/ 363938 w 1943056"/>
              <a:gd name="connsiteY50" fmla="*/ 1410725 h 1942479"/>
              <a:gd name="connsiteX51" fmla="*/ 380833 w 1943056"/>
              <a:gd name="connsiteY51" fmla="*/ 1491102 h 1942479"/>
              <a:gd name="connsiteX52" fmla="*/ 457470 w 1943056"/>
              <a:gd name="connsiteY52" fmla="*/ 1491102 h 1942479"/>
              <a:gd name="connsiteX53" fmla="*/ 474364 w 1943056"/>
              <a:gd name="connsiteY53" fmla="*/ 1410596 h 1942479"/>
              <a:gd name="connsiteX54" fmla="*/ 484369 w 1943056"/>
              <a:gd name="connsiteY54" fmla="*/ 1387286 h 1942479"/>
              <a:gd name="connsiteX55" fmla="*/ 574054 w 1943056"/>
              <a:gd name="connsiteY55" fmla="*/ 1370778 h 1942479"/>
              <a:gd name="connsiteX56" fmla="*/ 641019 w 1943056"/>
              <a:gd name="connsiteY56" fmla="*/ 1416947 h 1942479"/>
              <a:gd name="connsiteX57" fmla="*/ 710176 w 1943056"/>
              <a:gd name="connsiteY57" fmla="*/ 1347919 h 1942479"/>
              <a:gd name="connsiteX58" fmla="*/ 645210 w 1943056"/>
              <a:gd name="connsiteY58" fmla="*/ 1265414 h 1942479"/>
              <a:gd name="connsiteX59" fmla="*/ 590110 w 1943056"/>
              <a:gd name="connsiteY59" fmla="*/ 1225274 h 1942479"/>
              <a:gd name="connsiteX60" fmla="*/ 440949 w 1943056"/>
              <a:gd name="connsiteY60" fmla="*/ 1328948 h 1942479"/>
              <a:gd name="connsiteX61" fmla="*/ 225962 w 1943056"/>
              <a:gd name="connsiteY61" fmla="*/ 1159763 h 1942479"/>
              <a:gd name="connsiteX62" fmla="*/ 395148 w 1943056"/>
              <a:gd name="connsiteY62" fmla="*/ 944775 h 1942479"/>
              <a:gd name="connsiteX63" fmla="*/ 369580 w 1943056"/>
              <a:gd name="connsiteY63" fmla="*/ 835445 h 1942479"/>
              <a:gd name="connsiteX64" fmla="*/ 290864 w 1943056"/>
              <a:gd name="connsiteY64" fmla="*/ 492589 h 1942479"/>
              <a:gd name="connsiteX65" fmla="*/ 306496 w 1943056"/>
              <a:gd name="connsiteY65" fmla="*/ 555116 h 1942479"/>
              <a:gd name="connsiteX66" fmla="*/ 48571 w 1943056"/>
              <a:gd name="connsiteY66" fmla="*/ 619596 h 1942479"/>
              <a:gd name="connsiteX67" fmla="*/ 32940 w 1943056"/>
              <a:gd name="connsiteY67" fmla="*/ 557070 h 1942479"/>
              <a:gd name="connsiteX68" fmla="*/ 1386372 w 1943056"/>
              <a:gd name="connsiteY68" fmla="*/ 371172 h 1942479"/>
              <a:gd name="connsiteX69" fmla="*/ 1192924 w 1943056"/>
              <a:gd name="connsiteY69" fmla="*/ 564620 h 1942479"/>
              <a:gd name="connsiteX70" fmla="*/ 1386372 w 1943056"/>
              <a:gd name="connsiteY70" fmla="*/ 758067 h 1942479"/>
              <a:gd name="connsiteX71" fmla="*/ 1579819 w 1943056"/>
              <a:gd name="connsiteY71" fmla="*/ 564620 h 1942479"/>
              <a:gd name="connsiteX72" fmla="*/ 1386372 w 1943056"/>
              <a:gd name="connsiteY72" fmla="*/ 371172 h 1942479"/>
              <a:gd name="connsiteX73" fmla="*/ 734939 w 1943056"/>
              <a:gd name="connsiteY73" fmla="*/ 367626 h 1942479"/>
              <a:gd name="connsiteX74" fmla="*/ 769404 w 1943056"/>
              <a:gd name="connsiteY74" fmla="*/ 422178 h 1942479"/>
              <a:gd name="connsiteX75" fmla="*/ 615134 w 1943056"/>
              <a:gd name="connsiteY75" fmla="*/ 608828 h 1942479"/>
              <a:gd name="connsiteX76" fmla="*/ 834725 w 1943056"/>
              <a:gd name="connsiteY76" fmla="*/ 1109980 h 1942479"/>
              <a:gd name="connsiteX77" fmla="*/ 1007989 w 1943056"/>
              <a:gd name="connsiteY77" fmla="*/ 1362138 h 1942479"/>
              <a:gd name="connsiteX78" fmla="*/ 943507 w 1943056"/>
              <a:gd name="connsiteY78" fmla="*/ 1362138 h 1942479"/>
              <a:gd name="connsiteX79" fmla="*/ 811318 w 1943056"/>
              <a:gd name="connsiteY79" fmla="*/ 1169981 h 1942479"/>
              <a:gd name="connsiteX80" fmla="*/ 593625 w 1943056"/>
              <a:gd name="connsiteY80" fmla="*/ 990130 h 1942479"/>
              <a:gd name="connsiteX81" fmla="*/ 734939 w 1943056"/>
              <a:gd name="connsiteY81" fmla="*/ 367626 h 1942479"/>
              <a:gd name="connsiteX82" fmla="*/ 1386372 w 1943056"/>
              <a:gd name="connsiteY82" fmla="*/ 306690 h 1942479"/>
              <a:gd name="connsiteX83" fmla="*/ 1644302 w 1943056"/>
              <a:gd name="connsiteY83" fmla="*/ 564620 h 1942479"/>
              <a:gd name="connsiteX84" fmla="*/ 1386372 w 1943056"/>
              <a:gd name="connsiteY84" fmla="*/ 822550 h 1942479"/>
              <a:gd name="connsiteX85" fmla="*/ 1128442 w 1943056"/>
              <a:gd name="connsiteY85" fmla="*/ 564620 h 1942479"/>
              <a:gd name="connsiteX86" fmla="*/ 1386372 w 1943056"/>
              <a:gd name="connsiteY86" fmla="*/ 306690 h 1942479"/>
              <a:gd name="connsiteX87" fmla="*/ 123953 w 1943056"/>
              <a:gd name="connsiteY87" fmla="*/ 175258 h 1942479"/>
              <a:gd name="connsiteX88" fmla="*/ 349632 w 1943056"/>
              <a:gd name="connsiteY88" fmla="*/ 336460 h 1942479"/>
              <a:gd name="connsiteX89" fmla="*/ 312171 w 1943056"/>
              <a:gd name="connsiteY89" fmla="*/ 388905 h 1942479"/>
              <a:gd name="connsiteX90" fmla="*/ 86491 w 1943056"/>
              <a:gd name="connsiteY90" fmla="*/ 227703 h 1942479"/>
              <a:gd name="connsiteX91" fmla="*/ 1390981 w 1943056"/>
              <a:gd name="connsiteY91" fmla="*/ 76746 h 1942479"/>
              <a:gd name="connsiteX92" fmla="*/ 1377633 w 1943056"/>
              <a:gd name="connsiteY92" fmla="*/ 170245 h 1942479"/>
              <a:gd name="connsiteX93" fmla="*/ 1339908 w 1943056"/>
              <a:gd name="connsiteY93" fmla="*/ 233938 h 1942479"/>
              <a:gd name="connsiteX94" fmla="*/ 1204498 w 1943056"/>
              <a:gd name="connsiteY94" fmla="*/ 214577 h 1942479"/>
              <a:gd name="connsiteX95" fmla="*/ 1147818 w 1943056"/>
              <a:gd name="connsiteY95" fmla="*/ 139036 h 1942479"/>
              <a:gd name="connsiteX96" fmla="*/ 1044646 w 1943056"/>
              <a:gd name="connsiteY96" fmla="*/ 216415 h 1942479"/>
              <a:gd name="connsiteX97" fmla="*/ 1101488 w 1943056"/>
              <a:gd name="connsiteY97" fmla="*/ 292020 h 1942479"/>
              <a:gd name="connsiteX98" fmla="*/ 1119862 w 1943056"/>
              <a:gd name="connsiteY98" fmla="*/ 363773 h 1942479"/>
              <a:gd name="connsiteX99" fmla="*/ 1010406 w 1943056"/>
              <a:gd name="connsiteY99" fmla="*/ 445811 h 1942479"/>
              <a:gd name="connsiteX100" fmla="*/ 916907 w 1943056"/>
              <a:gd name="connsiteY100" fmla="*/ 432463 h 1942479"/>
              <a:gd name="connsiteX101" fmla="*/ 898658 w 1943056"/>
              <a:gd name="connsiteY101" fmla="*/ 560106 h 1942479"/>
              <a:gd name="connsiteX102" fmla="*/ 992158 w 1943056"/>
              <a:gd name="connsiteY102" fmla="*/ 573453 h 1942479"/>
              <a:gd name="connsiteX103" fmla="*/ 1055850 w 1943056"/>
              <a:gd name="connsiteY103" fmla="*/ 611179 h 1942479"/>
              <a:gd name="connsiteX104" fmla="*/ 1036489 w 1943056"/>
              <a:gd name="connsiteY104" fmla="*/ 746589 h 1942479"/>
              <a:gd name="connsiteX105" fmla="*/ 960980 w 1943056"/>
              <a:gd name="connsiteY105" fmla="*/ 803269 h 1942479"/>
              <a:gd name="connsiteX106" fmla="*/ 1038359 w 1943056"/>
              <a:gd name="connsiteY106" fmla="*/ 906440 h 1942479"/>
              <a:gd name="connsiteX107" fmla="*/ 1113900 w 1943056"/>
              <a:gd name="connsiteY107" fmla="*/ 849793 h 1942479"/>
              <a:gd name="connsiteX108" fmla="*/ 1185653 w 1943056"/>
              <a:gd name="connsiteY108" fmla="*/ 831418 h 1942479"/>
              <a:gd name="connsiteX109" fmla="*/ 1267691 w 1943056"/>
              <a:gd name="connsiteY109" fmla="*/ 940874 h 1942479"/>
              <a:gd name="connsiteX110" fmla="*/ 1254343 w 1943056"/>
              <a:gd name="connsiteY110" fmla="*/ 1034373 h 1942479"/>
              <a:gd name="connsiteX111" fmla="*/ 1381986 w 1943056"/>
              <a:gd name="connsiteY111" fmla="*/ 1052622 h 1942479"/>
              <a:gd name="connsiteX112" fmla="*/ 1395044 w 1943056"/>
              <a:gd name="connsiteY112" fmla="*/ 958994 h 1942479"/>
              <a:gd name="connsiteX113" fmla="*/ 1432769 w 1943056"/>
              <a:gd name="connsiteY113" fmla="*/ 895301 h 1942479"/>
              <a:gd name="connsiteX114" fmla="*/ 1568179 w 1943056"/>
              <a:gd name="connsiteY114" fmla="*/ 914662 h 1942479"/>
              <a:gd name="connsiteX115" fmla="*/ 1624859 w 1943056"/>
              <a:gd name="connsiteY115" fmla="*/ 990171 h 1942479"/>
              <a:gd name="connsiteX116" fmla="*/ 1728031 w 1943056"/>
              <a:gd name="connsiteY116" fmla="*/ 912792 h 1942479"/>
              <a:gd name="connsiteX117" fmla="*/ 1671383 w 1943056"/>
              <a:gd name="connsiteY117" fmla="*/ 837251 h 1942479"/>
              <a:gd name="connsiteX118" fmla="*/ 1653005 w 1943056"/>
              <a:gd name="connsiteY118" fmla="*/ 765540 h 1942479"/>
              <a:gd name="connsiteX119" fmla="*/ 1762432 w 1943056"/>
              <a:gd name="connsiteY119" fmla="*/ 683460 h 1942479"/>
              <a:gd name="connsiteX120" fmla="*/ 1855931 w 1943056"/>
              <a:gd name="connsiteY120" fmla="*/ 696808 h 1942479"/>
              <a:gd name="connsiteX121" fmla="*/ 1874277 w 1943056"/>
              <a:gd name="connsiteY121" fmla="*/ 569198 h 1942479"/>
              <a:gd name="connsiteX122" fmla="*/ 1780777 w 1943056"/>
              <a:gd name="connsiteY122" fmla="*/ 555850 h 1942479"/>
              <a:gd name="connsiteX123" fmla="*/ 1717085 w 1943056"/>
              <a:gd name="connsiteY123" fmla="*/ 518124 h 1942479"/>
              <a:gd name="connsiteX124" fmla="*/ 1736446 w 1943056"/>
              <a:gd name="connsiteY124" fmla="*/ 382715 h 1942479"/>
              <a:gd name="connsiteX125" fmla="*/ 1811987 w 1943056"/>
              <a:gd name="connsiteY125" fmla="*/ 326035 h 1942479"/>
              <a:gd name="connsiteX126" fmla="*/ 1734608 w 1943056"/>
              <a:gd name="connsiteY126" fmla="*/ 222863 h 1942479"/>
              <a:gd name="connsiteX127" fmla="*/ 1659067 w 1943056"/>
              <a:gd name="connsiteY127" fmla="*/ 279511 h 1942479"/>
              <a:gd name="connsiteX128" fmla="*/ 1587356 w 1943056"/>
              <a:gd name="connsiteY128" fmla="*/ 297888 h 1942479"/>
              <a:gd name="connsiteX129" fmla="*/ 1505276 w 1943056"/>
              <a:gd name="connsiteY129" fmla="*/ 188461 h 1942479"/>
              <a:gd name="connsiteX130" fmla="*/ 1518624 w 1943056"/>
              <a:gd name="connsiteY130" fmla="*/ 94962 h 1942479"/>
              <a:gd name="connsiteX131" fmla="*/ 1368154 w 1943056"/>
              <a:gd name="connsiteY131" fmla="*/ 8330 h 1942479"/>
              <a:gd name="connsiteX132" fmla="*/ 1559538 w 1943056"/>
              <a:gd name="connsiteY132" fmla="*/ 35670 h 1942479"/>
              <a:gd name="connsiteX133" fmla="*/ 1559574 w 1943056"/>
              <a:gd name="connsiteY133" fmla="*/ 35676 h 1942479"/>
              <a:gd name="connsiteX134" fmla="*/ 1586911 w 1943056"/>
              <a:gd name="connsiteY134" fmla="*/ 72167 h 1942479"/>
              <a:gd name="connsiteX135" fmla="*/ 1568985 w 1943056"/>
              <a:gd name="connsiteY135" fmla="*/ 197586 h 1942479"/>
              <a:gd name="connsiteX136" fmla="*/ 1575204 w 1943056"/>
              <a:gd name="connsiteY136" fmla="*/ 221729 h 1942479"/>
              <a:gd name="connsiteX137" fmla="*/ 1620377 w 1943056"/>
              <a:gd name="connsiteY137" fmla="*/ 227925 h 1942479"/>
              <a:gd name="connsiteX138" fmla="*/ 1721711 w 1943056"/>
              <a:gd name="connsiteY138" fmla="*/ 151900 h 1942479"/>
              <a:gd name="connsiteX139" fmla="*/ 1766849 w 1943056"/>
              <a:gd name="connsiteY139" fmla="*/ 158348 h 1942479"/>
              <a:gd name="connsiteX140" fmla="*/ 1882917 w 1943056"/>
              <a:gd name="connsiteY140" fmla="*/ 313106 h 1942479"/>
              <a:gd name="connsiteX141" fmla="*/ 1876469 w 1943056"/>
              <a:gd name="connsiteY141" fmla="*/ 358244 h 1942479"/>
              <a:gd name="connsiteX142" fmla="*/ 1775103 w 1943056"/>
              <a:gd name="connsiteY142" fmla="*/ 434268 h 1942479"/>
              <a:gd name="connsiteX143" fmla="*/ 1762529 w 1943056"/>
              <a:gd name="connsiteY143" fmla="*/ 455515 h 1942479"/>
              <a:gd name="connsiteX144" fmla="*/ 1789901 w 1943056"/>
              <a:gd name="connsiteY144" fmla="*/ 491980 h 1942479"/>
              <a:gd name="connsiteX145" fmla="*/ 1915320 w 1943056"/>
              <a:gd name="connsiteY145" fmla="*/ 509874 h 1942479"/>
              <a:gd name="connsiteX146" fmla="*/ 1915384 w 1943056"/>
              <a:gd name="connsiteY146" fmla="*/ 509938 h 1942479"/>
              <a:gd name="connsiteX147" fmla="*/ 1915394 w 1943056"/>
              <a:gd name="connsiteY147" fmla="*/ 509938 h 1942479"/>
              <a:gd name="connsiteX148" fmla="*/ 1942725 w 1943056"/>
              <a:gd name="connsiteY148" fmla="*/ 546435 h 1942479"/>
              <a:gd name="connsiteX149" fmla="*/ 1915384 w 1943056"/>
              <a:gd name="connsiteY149" fmla="*/ 737948 h 1942479"/>
              <a:gd name="connsiteX150" fmla="*/ 1915384 w 1943056"/>
              <a:gd name="connsiteY150" fmla="*/ 737958 h 1942479"/>
              <a:gd name="connsiteX151" fmla="*/ 1878887 w 1943056"/>
              <a:gd name="connsiteY151" fmla="*/ 765289 h 1942479"/>
              <a:gd name="connsiteX152" fmla="*/ 1753469 w 1943056"/>
              <a:gd name="connsiteY152" fmla="*/ 747395 h 1942479"/>
              <a:gd name="connsiteX153" fmla="*/ 1721228 w 1943056"/>
              <a:gd name="connsiteY153" fmla="*/ 762870 h 1942479"/>
              <a:gd name="connsiteX154" fmla="*/ 1723162 w 1943056"/>
              <a:gd name="connsiteY154" fmla="*/ 798658 h 1942479"/>
              <a:gd name="connsiteX155" fmla="*/ 1799155 w 1943056"/>
              <a:gd name="connsiteY155" fmla="*/ 899992 h 1942479"/>
              <a:gd name="connsiteX156" fmla="*/ 1792706 w 1943056"/>
              <a:gd name="connsiteY156" fmla="*/ 945130 h 1942479"/>
              <a:gd name="connsiteX157" fmla="*/ 1637949 w 1943056"/>
              <a:gd name="connsiteY157" fmla="*/ 1061198 h 1942479"/>
              <a:gd name="connsiteX158" fmla="*/ 1592811 w 1943056"/>
              <a:gd name="connsiteY158" fmla="*/ 1054750 h 1942479"/>
              <a:gd name="connsiteX159" fmla="*/ 1516786 w 1943056"/>
              <a:gd name="connsiteY159" fmla="*/ 953416 h 1942479"/>
              <a:gd name="connsiteX160" fmla="*/ 1495539 w 1943056"/>
              <a:gd name="connsiteY160" fmla="*/ 940842 h 1942479"/>
              <a:gd name="connsiteX161" fmla="*/ 1459075 w 1943056"/>
              <a:gd name="connsiteY161" fmla="*/ 968215 h 1942479"/>
              <a:gd name="connsiteX162" fmla="*/ 1441181 w 1943056"/>
              <a:gd name="connsiteY162" fmla="*/ 1093633 h 1942479"/>
              <a:gd name="connsiteX163" fmla="*/ 1409230 w 1943056"/>
              <a:gd name="connsiteY163" fmla="*/ 1121296 h 1942479"/>
              <a:gd name="connsiteX164" fmla="*/ 1404684 w 1943056"/>
              <a:gd name="connsiteY164" fmla="*/ 1121006 h 1942479"/>
              <a:gd name="connsiteX165" fmla="*/ 1213171 w 1943056"/>
              <a:gd name="connsiteY165" fmla="*/ 1093633 h 1942479"/>
              <a:gd name="connsiteX166" fmla="*/ 1213161 w 1943056"/>
              <a:gd name="connsiteY166" fmla="*/ 1093633 h 1942479"/>
              <a:gd name="connsiteX167" fmla="*/ 1185830 w 1943056"/>
              <a:gd name="connsiteY167" fmla="*/ 1057136 h 1942479"/>
              <a:gd name="connsiteX168" fmla="*/ 1203724 w 1943056"/>
              <a:gd name="connsiteY168" fmla="*/ 931718 h 1942479"/>
              <a:gd name="connsiteX169" fmla="*/ 1197621 w 1943056"/>
              <a:gd name="connsiteY169" fmla="*/ 907891 h 1942479"/>
              <a:gd name="connsiteX170" fmla="*/ 1152493 w 1943056"/>
              <a:gd name="connsiteY170" fmla="*/ 901379 h 1942479"/>
              <a:gd name="connsiteX171" fmla="*/ 1051127 w 1943056"/>
              <a:gd name="connsiteY171" fmla="*/ 977371 h 1942479"/>
              <a:gd name="connsiteX172" fmla="*/ 1005989 w 1943056"/>
              <a:gd name="connsiteY172" fmla="*/ 970923 h 1942479"/>
              <a:gd name="connsiteX173" fmla="*/ 889921 w 1943056"/>
              <a:gd name="connsiteY173" fmla="*/ 816165 h 1942479"/>
              <a:gd name="connsiteX174" fmla="*/ 896369 w 1943056"/>
              <a:gd name="connsiteY174" fmla="*/ 771027 h 1942479"/>
              <a:gd name="connsiteX175" fmla="*/ 997703 w 1943056"/>
              <a:gd name="connsiteY175" fmla="*/ 695035 h 1942479"/>
              <a:gd name="connsiteX176" fmla="*/ 1010277 w 1943056"/>
              <a:gd name="connsiteY176" fmla="*/ 673788 h 1942479"/>
              <a:gd name="connsiteX177" fmla="*/ 982904 w 1943056"/>
              <a:gd name="connsiteY177" fmla="*/ 637323 h 1942479"/>
              <a:gd name="connsiteX178" fmla="*/ 857486 w 1943056"/>
              <a:gd name="connsiteY178" fmla="*/ 619397 h 1942479"/>
              <a:gd name="connsiteX179" fmla="*/ 857451 w 1943056"/>
              <a:gd name="connsiteY179" fmla="*/ 619391 h 1942479"/>
              <a:gd name="connsiteX180" fmla="*/ 830113 w 1943056"/>
              <a:gd name="connsiteY180" fmla="*/ 582900 h 1942479"/>
              <a:gd name="connsiteX181" fmla="*/ 857486 w 1943056"/>
              <a:gd name="connsiteY181" fmla="*/ 391420 h 1942479"/>
              <a:gd name="connsiteX182" fmla="*/ 857493 w 1943056"/>
              <a:gd name="connsiteY182" fmla="*/ 391384 h 1942479"/>
              <a:gd name="connsiteX183" fmla="*/ 893983 w 1943056"/>
              <a:gd name="connsiteY183" fmla="*/ 364047 h 1942479"/>
              <a:gd name="connsiteX184" fmla="*/ 1019402 w 1943056"/>
              <a:gd name="connsiteY184" fmla="*/ 381973 h 1942479"/>
              <a:gd name="connsiteX185" fmla="*/ 1051643 w 1943056"/>
              <a:gd name="connsiteY185" fmla="*/ 366465 h 1942479"/>
              <a:gd name="connsiteX186" fmla="*/ 1049708 w 1943056"/>
              <a:gd name="connsiteY186" fmla="*/ 330677 h 1942479"/>
              <a:gd name="connsiteX187" fmla="*/ 973716 w 1943056"/>
              <a:gd name="connsiteY187" fmla="*/ 229343 h 1942479"/>
              <a:gd name="connsiteX188" fmla="*/ 967558 w 1943056"/>
              <a:gd name="connsiteY188" fmla="*/ 205453 h 1942479"/>
              <a:gd name="connsiteX189" fmla="*/ 968815 w 1943056"/>
              <a:gd name="connsiteY189" fmla="*/ 201938 h 1942479"/>
              <a:gd name="connsiteX190" fmla="*/ 508066 w 1943056"/>
              <a:gd name="connsiteY190" fmla="*/ 457656 h 1942479"/>
              <a:gd name="connsiteX191" fmla="*/ 680031 w 1943056"/>
              <a:gd name="connsiteY191" fmla="*/ 1211087 h 1942479"/>
              <a:gd name="connsiteX192" fmla="*/ 782300 w 1943056"/>
              <a:gd name="connsiteY192" fmla="*/ 1393057 h 1942479"/>
              <a:gd name="connsiteX193" fmla="*/ 782300 w 1943056"/>
              <a:gd name="connsiteY193" fmla="*/ 1523343 h 1942479"/>
              <a:gd name="connsiteX194" fmla="*/ 846782 w 1943056"/>
              <a:gd name="connsiteY194" fmla="*/ 1587826 h 1942479"/>
              <a:gd name="connsiteX195" fmla="*/ 1104712 w 1943056"/>
              <a:gd name="connsiteY195" fmla="*/ 1587826 h 1942479"/>
              <a:gd name="connsiteX196" fmla="*/ 1169194 w 1943056"/>
              <a:gd name="connsiteY196" fmla="*/ 1523343 h 1942479"/>
              <a:gd name="connsiteX197" fmla="*/ 1169194 w 1943056"/>
              <a:gd name="connsiteY197" fmla="*/ 1395733 h 1942479"/>
              <a:gd name="connsiteX198" fmla="*/ 1273204 w 1943056"/>
              <a:gd name="connsiteY198" fmla="*/ 1209991 h 1942479"/>
              <a:gd name="connsiteX199" fmla="*/ 1341136 w 1943056"/>
              <a:gd name="connsiteY199" fmla="*/ 1158051 h 1942479"/>
              <a:gd name="connsiteX200" fmla="*/ 1384146 w 1943056"/>
              <a:gd name="connsiteY200" fmla="*/ 1206090 h 1942479"/>
              <a:gd name="connsiteX201" fmla="*/ 1308250 w 1943056"/>
              <a:gd name="connsiteY201" fmla="*/ 1264124 h 1942479"/>
              <a:gd name="connsiteX202" fmla="*/ 1233676 w 1943056"/>
              <a:gd name="connsiteY202" fmla="*/ 1395733 h 1942479"/>
              <a:gd name="connsiteX203" fmla="*/ 1233676 w 1943056"/>
              <a:gd name="connsiteY203" fmla="*/ 1523343 h 1942479"/>
              <a:gd name="connsiteX204" fmla="*/ 1169194 w 1943056"/>
              <a:gd name="connsiteY204" fmla="*/ 1634382 h 1942479"/>
              <a:gd name="connsiteX205" fmla="*/ 1169194 w 1943056"/>
              <a:gd name="connsiteY205" fmla="*/ 1813514 h 1942479"/>
              <a:gd name="connsiteX206" fmla="*/ 1040229 w 1943056"/>
              <a:gd name="connsiteY206" fmla="*/ 1942479 h 1942479"/>
              <a:gd name="connsiteX207" fmla="*/ 911265 w 1943056"/>
              <a:gd name="connsiteY207" fmla="*/ 1942479 h 1942479"/>
              <a:gd name="connsiteX208" fmla="*/ 782300 w 1943056"/>
              <a:gd name="connsiteY208" fmla="*/ 1813514 h 1942479"/>
              <a:gd name="connsiteX209" fmla="*/ 782300 w 1943056"/>
              <a:gd name="connsiteY209" fmla="*/ 1634382 h 1942479"/>
              <a:gd name="connsiteX210" fmla="*/ 717817 w 1943056"/>
              <a:gd name="connsiteY210" fmla="*/ 1523343 h 1942479"/>
              <a:gd name="connsiteX211" fmla="*/ 717817 w 1943056"/>
              <a:gd name="connsiteY211" fmla="*/ 1431456 h 1942479"/>
              <a:gd name="connsiteX212" fmla="*/ 667747 w 1943056"/>
              <a:gd name="connsiteY212" fmla="*/ 1481688 h 1942479"/>
              <a:gd name="connsiteX213" fmla="*/ 626672 w 1943056"/>
              <a:gd name="connsiteY213" fmla="*/ 1485428 h 1942479"/>
              <a:gd name="connsiteX214" fmla="*/ 537589 w 1943056"/>
              <a:gd name="connsiteY214" fmla="*/ 1424169 h 1942479"/>
              <a:gd name="connsiteX215" fmla="*/ 515311 w 1943056"/>
              <a:gd name="connsiteY215" fmla="*/ 1530146 h 1942479"/>
              <a:gd name="connsiteX216" fmla="*/ 483746 w 1943056"/>
              <a:gd name="connsiteY216" fmla="*/ 1555746 h 1942479"/>
              <a:gd name="connsiteX217" fmla="*/ 354782 w 1943056"/>
              <a:gd name="connsiteY217" fmla="*/ 1555746 h 1942479"/>
              <a:gd name="connsiteX218" fmla="*/ 323250 w 1943056"/>
              <a:gd name="connsiteY218" fmla="*/ 1529953 h 1942479"/>
              <a:gd name="connsiteX219" fmla="*/ 300971 w 1943056"/>
              <a:gd name="connsiteY219" fmla="*/ 1423976 h 1942479"/>
              <a:gd name="connsiteX220" fmla="*/ 211889 w 1943056"/>
              <a:gd name="connsiteY220" fmla="*/ 1485396 h 1942479"/>
              <a:gd name="connsiteX221" fmla="*/ 170781 w 1943056"/>
              <a:gd name="connsiteY221" fmla="*/ 1481656 h 1942479"/>
              <a:gd name="connsiteX222" fmla="*/ 74058 w 1943056"/>
              <a:gd name="connsiteY222" fmla="*/ 1384932 h 1942479"/>
              <a:gd name="connsiteX223" fmla="*/ 70318 w 1943056"/>
              <a:gd name="connsiteY223" fmla="*/ 1343857 h 1942479"/>
              <a:gd name="connsiteX224" fmla="*/ 131576 w 1943056"/>
              <a:gd name="connsiteY224" fmla="*/ 1254774 h 1942479"/>
              <a:gd name="connsiteX225" fmla="*/ 25599 w 1943056"/>
              <a:gd name="connsiteY225" fmla="*/ 1232496 h 1942479"/>
              <a:gd name="connsiteX226" fmla="*/ 0 w 1943056"/>
              <a:gd name="connsiteY226" fmla="*/ 1200931 h 1942479"/>
              <a:gd name="connsiteX227" fmla="*/ 0 w 1943056"/>
              <a:gd name="connsiteY227" fmla="*/ 1071967 h 1942479"/>
              <a:gd name="connsiteX228" fmla="*/ 25341 w 1943056"/>
              <a:gd name="connsiteY228" fmla="*/ 1040403 h 1942479"/>
              <a:gd name="connsiteX229" fmla="*/ 131318 w 1943056"/>
              <a:gd name="connsiteY229" fmla="*/ 1018124 h 1942479"/>
              <a:gd name="connsiteX230" fmla="*/ 70060 w 1943056"/>
              <a:gd name="connsiteY230" fmla="*/ 929042 h 1942479"/>
              <a:gd name="connsiteX231" fmla="*/ 73800 w 1943056"/>
              <a:gd name="connsiteY231" fmla="*/ 887966 h 1942479"/>
              <a:gd name="connsiteX232" fmla="*/ 170523 w 1943056"/>
              <a:gd name="connsiteY232" fmla="*/ 791243 h 1942479"/>
              <a:gd name="connsiteX233" fmla="*/ 211631 w 1943056"/>
              <a:gd name="connsiteY233" fmla="*/ 787503 h 1942479"/>
              <a:gd name="connsiteX234" fmla="*/ 300874 w 1943056"/>
              <a:gd name="connsiteY234" fmla="*/ 849051 h 1942479"/>
              <a:gd name="connsiteX235" fmla="*/ 323153 w 1943056"/>
              <a:gd name="connsiteY235" fmla="*/ 743107 h 1942479"/>
              <a:gd name="connsiteX236" fmla="*/ 354685 w 1943056"/>
              <a:gd name="connsiteY236" fmla="*/ 717314 h 1942479"/>
              <a:gd name="connsiteX237" fmla="*/ 364357 w 1943056"/>
              <a:gd name="connsiteY237" fmla="*/ 717314 h 1942479"/>
              <a:gd name="connsiteX238" fmla="*/ 366002 w 1943056"/>
              <a:gd name="connsiteY238" fmla="*/ 690070 h 1942479"/>
              <a:gd name="connsiteX239" fmla="*/ 906138 w 1943056"/>
              <a:gd name="connsiteY239" fmla="*/ 140777 h 1942479"/>
              <a:gd name="connsiteX240" fmla="*/ 1038005 w 1943056"/>
              <a:gd name="connsiteY240" fmla="*/ 140777 h 1942479"/>
              <a:gd name="connsiteX241" fmla="*/ 1134889 w 1943056"/>
              <a:gd name="connsiteY241" fmla="*/ 68073 h 1942479"/>
              <a:gd name="connsiteX242" fmla="*/ 1180027 w 1943056"/>
              <a:gd name="connsiteY242" fmla="*/ 74521 h 1942479"/>
              <a:gd name="connsiteX243" fmla="*/ 1256020 w 1943056"/>
              <a:gd name="connsiteY243" fmla="*/ 175887 h 1942479"/>
              <a:gd name="connsiteX244" fmla="*/ 1277267 w 1943056"/>
              <a:gd name="connsiteY244" fmla="*/ 188461 h 1942479"/>
              <a:gd name="connsiteX245" fmla="*/ 1313731 w 1943056"/>
              <a:gd name="connsiteY245" fmla="*/ 161089 h 1942479"/>
              <a:gd name="connsiteX246" fmla="*/ 1331657 w 1943056"/>
              <a:gd name="connsiteY246" fmla="*/ 35670 h 1942479"/>
              <a:gd name="connsiteX247" fmla="*/ 1331657 w 1943056"/>
              <a:gd name="connsiteY247" fmla="*/ 35662 h 1942479"/>
              <a:gd name="connsiteX248" fmla="*/ 1368154 w 1943056"/>
              <a:gd name="connsiteY248" fmla="*/ 8330 h 1942479"/>
              <a:gd name="connsiteX249" fmla="*/ 425217 w 1943056"/>
              <a:gd name="connsiteY249" fmla="*/ 0 h 1942479"/>
              <a:gd name="connsiteX250" fmla="*/ 491148 w 1943056"/>
              <a:gd name="connsiteY250" fmla="*/ 257923 h 1942479"/>
              <a:gd name="connsiteX251" fmla="*/ 428674 w 1943056"/>
              <a:gd name="connsiteY251" fmla="*/ 273892 h 1942479"/>
              <a:gd name="connsiteX252" fmla="*/ 362744 w 1943056"/>
              <a:gd name="connsiteY252" fmla="*/ 15969 h 194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1943056" h="1942479">
                <a:moveTo>
                  <a:pt x="846782" y="1781273"/>
                </a:moveTo>
                <a:lnTo>
                  <a:pt x="846782" y="1813514"/>
                </a:lnTo>
                <a:cubicBezTo>
                  <a:pt x="846782" y="1849128"/>
                  <a:pt x="875651" y="1877996"/>
                  <a:pt x="911265" y="1877996"/>
                </a:cubicBezTo>
                <a:lnTo>
                  <a:pt x="1040229" y="1877996"/>
                </a:lnTo>
                <a:cubicBezTo>
                  <a:pt x="1075843" y="1877996"/>
                  <a:pt x="1104712" y="1849128"/>
                  <a:pt x="1104712" y="1813514"/>
                </a:cubicBezTo>
                <a:lnTo>
                  <a:pt x="1104712" y="1781273"/>
                </a:lnTo>
                <a:close/>
                <a:moveTo>
                  <a:pt x="846782" y="1652308"/>
                </a:moveTo>
                <a:lnTo>
                  <a:pt x="846782" y="1716790"/>
                </a:lnTo>
                <a:lnTo>
                  <a:pt x="1104712" y="1716790"/>
                </a:lnTo>
                <a:lnTo>
                  <a:pt x="1104712" y="1652308"/>
                </a:lnTo>
                <a:close/>
                <a:moveTo>
                  <a:pt x="1394883" y="1458861"/>
                </a:moveTo>
                <a:lnTo>
                  <a:pt x="1459365" y="1458861"/>
                </a:lnTo>
                <a:lnTo>
                  <a:pt x="1459365" y="1684549"/>
                </a:lnTo>
                <a:lnTo>
                  <a:pt x="1394883" y="1684549"/>
                </a:lnTo>
                <a:close/>
                <a:moveTo>
                  <a:pt x="943506" y="1426621"/>
                </a:moveTo>
                <a:lnTo>
                  <a:pt x="1007988" y="1426621"/>
                </a:lnTo>
                <a:lnTo>
                  <a:pt x="1007988" y="1523344"/>
                </a:lnTo>
                <a:lnTo>
                  <a:pt x="943506" y="1523344"/>
                </a:lnTo>
                <a:close/>
                <a:moveTo>
                  <a:pt x="1576733" y="1369626"/>
                </a:moveTo>
                <a:lnTo>
                  <a:pt x="1770189" y="1530808"/>
                </a:lnTo>
                <a:lnTo>
                  <a:pt x="1728914" y="1580349"/>
                </a:lnTo>
                <a:lnTo>
                  <a:pt x="1535457" y="1419167"/>
                </a:lnTo>
                <a:close/>
                <a:moveTo>
                  <a:pt x="1588330" y="1200932"/>
                </a:moveTo>
                <a:lnTo>
                  <a:pt x="1814018" y="1200932"/>
                </a:lnTo>
                <a:lnTo>
                  <a:pt x="1814018" y="1265414"/>
                </a:lnTo>
                <a:lnTo>
                  <a:pt x="1588330" y="1265414"/>
                </a:lnTo>
                <a:close/>
                <a:moveTo>
                  <a:pt x="419135" y="1007484"/>
                </a:moveTo>
                <a:cubicBezTo>
                  <a:pt x="364728" y="1007371"/>
                  <a:pt x="316118" y="1041470"/>
                  <a:pt x="297702" y="1092666"/>
                </a:cubicBezTo>
                <a:cubicBezTo>
                  <a:pt x="273627" y="1159585"/>
                  <a:pt x="308361" y="1233350"/>
                  <a:pt x="375281" y="1257425"/>
                </a:cubicBezTo>
                <a:cubicBezTo>
                  <a:pt x="442200" y="1281499"/>
                  <a:pt x="515965" y="1246766"/>
                  <a:pt x="540040" y="1179846"/>
                </a:cubicBezTo>
                <a:cubicBezTo>
                  <a:pt x="490498" y="1129730"/>
                  <a:pt x="450006" y="1071415"/>
                  <a:pt x="420360" y="1007484"/>
                </a:cubicBezTo>
                <a:cubicBezTo>
                  <a:pt x="419941" y="1007484"/>
                  <a:pt x="419554" y="1007484"/>
                  <a:pt x="419135" y="1007484"/>
                </a:cubicBezTo>
                <a:close/>
                <a:moveTo>
                  <a:pt x="369580" y="835445"/>
                </a:moveTo>
                <a:lnTo>
                  <a:pt x="363938" y="862270"/>
                </a:lnTo>
                <a:cubicBezTo>
                  <a:pt x="362184" y="870617"/>
                  <a:pt x="358789" y="878529"/>
                  <a:pt x="353956" y="885555"/>
                </a:cubicBezTo>
                <a:cubicBezTo>
                  <a:pt x="333767" y="914894"/>
                  <a:pt x="293617" y="922310"/>
                  <a:pt x="264281" y="902120"/>
                </a:cubicBezTo>
                <a:lnTo>
                  <a:pt x="197251" y="855951"/>
                </a:lnTo>
                <a:lnTo>
                  <a:pt x="138508" y="914565"/>
                </a:lnTo>
                <a:lnTo>
                  <a:pt x="184677" y="981691"/>
                </a:lnTo>
                <a:cubicBezTo>
                  <a:pt x="189453" y="988662"/>
                  <a:pt x="192812" y="996500"/>
                  <a:pt x="194564" y="1004766"/>
                </a:cubicBezTo>
                <a:cubicBezTo>
                  <a:pt x="201951" y="1039603"/>
                  <a:pt x="179697" y="1073833"/>
                  <a:pt x="144859" y="1081220"/>
                </a:cubicBezTo>
                <a:lnTo>
                  <a:pt x="64482" y="1098147"/>
                </a:lnTo>
                <a:lnTo>
                  <a:pt x="64482" y="1174752"/>
                </a:lnTo>
                <a:lnTo>
                  <a:pt x="144859" y="1191678"/>
                </a:lnTo>
                <a:cubicBezTo>
                  <a:pt x="153226" y="1193439"/>
                  <a:pt x="161158" y="1196850"/>
                  <a:pt x="168196" y="1201705"/>
                </a:cubicBezTo>
                <a:cubicBezTo>
                  <a:pt x="197507" y="1221930"/>
                  <a:pt x="204871" y="1262090"/>
                  <a:pt x="184645" y="1291400"/>
                </a:cubicBezTo>
                <a:lnTo>
                  <a:pt x="138508" y="1358333"/>
                </a:lnTo>
                <a:lnTo>
                  <a:pt x="197251" y="1416947"/>
                </a:lnTo>
                <a:lnTo>
                  <a:pt x="264248" y="1370907"/>
                </a:lnTo>
                <a:cubicBezTo>
                  <a:pt x="271280" y="1366061"/>
                  <a:pt x="279202" y="1362660"/>
                  <a:pt x="287559" y="1360903"/>
                </a:cubicBezTo>
                <a:cubicBezTo>
                  <a:pt x="322408" y="1353568"/>
                  <a:pt x="356603" y="1375875"/>
                  <a:pt x="363938" y="1410725"/>
                </a:cubicBezTo>
                <a:lnTo>
                  <a:pt x="380833" y="1491102"/>
                </a:lnTo>
                <a:lnTo>
                  <a:pt x="457470" y="1491102"/>
                </a:lnTo>
                <a:lnTo>
                  <a:pt x="474364" y="1410596"/>
                </a:lnTo>
                <a:cubicBezTo>
                  <a:pt x="476121" y="1402239"/>
                  <a:pt x="479523" y="1394317"/>
                  <a:pt x="484369" y="1387286"/>
                </a:cubicBezTo>
                <a:cubicBezTo>
                  <a:pt x="504577" y="1357962"/>
                  <a:pt x="544731" y="1350569"/>
                  <a:pt x="574054" y="1370778"/>
                </a:cubicBezTo>
                <a:lnTo>
                  <a:pt x="641019" y="1416947"/>
                </a:lnTo>
                <a:lnTo>
                  <a:pt x="710176" y="1347919"/>
                </a:lnTo>
                <a:cubicBezTo>
                  <a:pt x="698605" y="1313789"/>
                  <a:pt x="675675" y="1284665"/>
                  <a:pt x="645210" y="1265414"/>
                </a:cubicBezTo>
                <a:cubicBezTo>
                  <a:pt x="626111" y="1253072"/>
                  <a:pt x="607714" y="1239672"/>
                  <a:pt x="590110" y="1225274"/>
                </a:cubicBezTo>
                <a:cubicBezTo>
                  <a:pt x="560716" y="1282479"/>
                  <a:pt x="504813" y="1321336"/>
                  <a:pt x="440949" y="1328948"/>
                </a:cubicBezTo>
                <a:cubicBezTo>
                  <a:pt x="334863" y="1341597"/>
                  <a:pt x="238610" y="1265849"/>
                  <a:pt x="225962" y="1159763"/>
                </a:cubicBezTo>
                <a:cubicBezTo>
                  <a:pt x="213314" y="1053676"/>
                  <a:pt x="289061" y="957423"/>
                  <a:pt x="395148" y="944775"/>
                </a:cubicBezTo>
                <a:cubicBezTo>
                  <a:pt x="383302" y="909191"/>
                  <a:pt x="374745" y="872594"/>
                  <a:pt x="369580" y="835445"/>
                </a:cubicBezTo>
                <a:close/>
                <a:moveTo>
                  <a:pt x="290864" y="492589"/>
                </a:moveTo>
                <a:lnTo>
                  <a:pt x="306496" y="555116"/>
                </a:lnTo>
                <a:lnTo>
                  <a:pt x="48571" y="619596"/>
                </a:lnTo>
                <a:lnTo>
                  <a:pt x="32940" y="557070"/>
                </a:lnTo>
                <a:close/>
                <a:moveTo>
                  <a:pt x="1386372" y="371172"/>
                </a:moveTo>
                <a:cubicBezTo>
                  <a:pt x="1279534" y="371172"/>
                  <a:pt x="1192924" y="457781"/>
                  <a:pt x="1192924" y="564620"/>
                </a:cubicBezTo>
                <a:cubicBezTo>
                  <a:pt x="1192924" y="671458"/>
                  <a:pt x="1279534" y="758067"/>
                  <a:pt x="1386372" y="758067"/>
                </a:cubicBezTo>
                <a:cubicBezTo>
                  <a:pt x="1493158" y="757941"/>
                  <a:pt x="1579693" y="671406"/>
                  <a:pt x="1579819" y="564620"/>
                </a:cubicBezTo>
                <a:cubicBezTo>
                  <a:pt x="1579819" y="457781"/>
                  <a:pt x="1493210" y="371172"/>
                  <a:pt x="1386372" y="371172"/>
                </a:cubicBezTo>
                <a:close/>
                <a:moveTo>
                  <a:pt x="734939" y="367626"/>
                </a:moveTo>
                <a:lnTo>
                  <a:pt x="769404" y="422178"/>
                </a:lnTo>
                <a:cubicBezTo>
                  <a:pt x="699335" y="466284"/>
                  <a:pt x="645260" y="531707"/>
                  <a:pt x="615134" y="608828"/>
                </a:cubicBezTo>
                <a:cubicBezTo>
                  <a:pt x="537380" y="807857"/>
                  <a:pt x="635697" y="1032230"/>
                  <a:pt x="834725" y="1109980"/>
                </a:cubicBezTo>
                <a:cubicBezTo>
                  <a:pt x="939167" y="1149988"/>
                  <a:pt x="1008092" y="1250293"/>
                  <a:pt x="1007989" y="1362138"/>
                </a:cubicBezTo>
                <a:lnTo>
                  <a:pt x="943507" y="1362138"/>
                </a:lnTo>
                <a:cubicBezTo>
                  <a:pt x="943487" y="1276892"/>
                  <a:pt x="890921" y="1200478"/>
                  <a:pt x="811318" y="1169981"/>
                </a:cubicBezTo>
                <a:cubicBezTo>
                  <a:pt x="721388" y="1134857"/>
                  <a:pt x="645086" y="1071819"/>
                  <a:pt x="593625" y="990130"/>
                </a:cubicBezTo>
                <a:cubicBezTo>
                  <a:pt x="460746" y="779208"/>
                  <a:pt x="524016" y="500504"/>
                  <a:pt x="734939" y="367626"/>
                </a:cubicBezTo>
                <a:close/>
                <a:moveTo>
                  <a:pt x="1386372" y="306690"/>
                </a:moveTo>
                <a:cubicBezTo>
                  <a:pt x="1528756" y="306851"/>
                  <a:pt x="1644140" y="422235"/>
                  <a:pt x="1644302" y="564620"/>
                </a:cubicBezTo>
                <a:cubicBezTo>
                  <a:pt x="1644302" y="707071"/>
                  <a:pt x="1528823" y="822550"/>
                  <a:pt x="1386372" y="822550"/>
                </a:cubicBezTo>
                <a:cubicBezTo>
                  <a:pt x="1243921" y="822550"/>
                  <a:pt x="1128442" y="707071"/>
                  <a:pt x="1128442" y="564620"/>
                </a:cubicBezTo>
                <a:cubicBezTo>
                  <a:pt x="1128442" y="422168"/>
                  <a:pt x="1243921" y="306690"/>
                  <a:pt x="1386372" y="306690"/>
                </a:cubicBezTo>
                <a:close/>
                <a:moveTo>
                  <a:pt x="123953" y="175258"/>
                </a:moveTo>
                <a:lnTo>
                  <a:pt x="349632" y="336460"/>
                </a:lnTo>
                <a:lnTo>
                  <a:pt x="312171" y="388905"/>
                </a:lnTo>
                <a:lnTo>
                  <a:pt x="86491" y="227703"/>
                </a:lnTo>
                <a:close/>
                <a:moveTo>
                  <a:pt x="1390981" y="76746"/>
                </a:moveTo>
                <a:lnTo>
                  <a:pt x="1377633" y="170245"/>
                </a:lnTo>
                <a:cubicBezTo>
                  <a:pt x="1374003" y="195638"/>
                  <a:pt x="1360433" y="218549"/>
                  <a:pt x="1339908" y="233938"/>
                </a:cubicBezTo>
                <a:cubicBezTo>
                  <a:pt x="1297169" y="265985"/>
                  <a:pt x="1236546" y="257316"/>
                  <a:pt x="1204498" y="214577"/>
                </a:cubicBezTo>
                <a:lnTo>
                  <a:pt x="1147818" y="139036"/>
                </a:lnTo>
                <a:lnTo>
                  <a:pt x="1044646" y="216415"/>
                </a:lnTo>
                <a:lnTo>
                  <a:pt x="1101488" y="292020"/>
                </a:lnTo>
                <a:cubicBezTo>
                  <a:pt x="1116889" y="312551"/>
                  <a:pt x="1123502" y="338364"/>
                  <a:pt x="1119862" y="363773"/>
                </a:cubicBezTo>
                <a:cubicBezTo>
                  <a:pt x="1112292" y="416652"/>
                  <a:pt x="1063285" y="453381"/>
                  <a:pt x="1010406" y="445811"/>
                </a:cubicBezTo>
                <a:lnTo>
                  <a:pt x="916907" y="432463"/>
                </a:lnTo>
                <a:lnTo>
                  <a:pt x="898658" y="560106"/>
                </a:lnTo>
                <a:lnTo>
                  <a:pt x="992158" y="573453"/>
                </a:lnTo>
                <a:cubicBezTo>
                  <a:pt x="1017551" y="577084"/>
                  <a:pt x="1040461" y="590654"/>
                  <a:pt x="1055850" y="611179"/>
                </a:cubicBezTo>
                <a:cubicBezTo>
                  <a:pt x="1087898" y="653918"/>
                  <a:pt x="1079228" y="714541"/>
                  <a:pt x="1036489" y="746589"/>
                </a:cubicBezTo>
                <a:lnTo>
                  <a:pt x="960980" y="803269"/>
                </a:lnTo>
                <a:lnTo>
                  <a:pt x="1038359" y="906440"/>
                </a:lnTo>
                <a:lnTo>
                  <a:pt x="1113900" y="849793"/>
                </a:lnTo>
                <a:cubicBezTo>
                  <a:pt x="1134432" y="834391"/>
                  <a:pt x="1160244" y="827778"/>
                  <a:pt x="1185653" y="831418"/>
                </a:cubicBezTo>
                <a:cubicBezTo>
                  <a:pt x="1238532" y="838989"/>
                  <a:pt x="1275261" y="887995"/>
                  <a:pt x="1267691" y="940874"/>
                </a:cubicBezTo>
                <a:lnTo>
                  <a:pt x="1254343" y="1034373"/>
                </a:lnTo>
                <a:lnTo>
                  <a:pt x="1381986" y="1052622"/>
                </a:lnTo>
                <a:lnTo>
                  <a:pt x="1395044" y="958994"/>
                </a:lnTo>
                <a:cubicBezTo>
                  <a:pt x="1398674" y="933600"/>
                  <a:pt x="1412244" y="910690"/>
                  <a:pt x="1432769" y="895301"/>
                </a:cubicBezTo>
                <a:cubicBezTo>
                  <a:pt x="1475508" y="863253"/>
                  <a:pt x="1536131" y="871923"/>
                  <a:pt x="1568179" y="914662"/>
                </a:cubicBezTo>
                <a:lnTo>
                  <a:pt x="1624859" y="990171"/>
                </a:lnTo>
                <a:lnTo>
                  <a:pt x="1728031" y="912792"/>
                </a:lnTo>
                <a:lnTo>
                  <a:pt x="1671383" y="837251"/>
                </a:lnTo>
                <a:cubicBezTo>
                  <a:pt x="1655991" y="816729"/>
                  <a:pt x="1649381" y="790933"/>
                  <a:pt x="1653005" y="765540"/>
                </a:cubicBezTo>
                <a:cubicBezTo>
                  <a:pt x="1660559" y="712658"/>
                  <a:pt x="1709550" y="675909"/>
                  <a:pt x="1762432" y="683460"/>
                </a:cubicBezTo>
                <a:lnTo>
                  <a:pt x="1855931" y="696808"/>
                </a:lnTo>
                <a:lnTo>
                  <a:pt x="1874277" y="569198"/>
                </a:lnTo>
                <a:lnTo>
                  <a:pt x="1780777" y="555850"/>
                </a:lnTo>
                <a:cubicBezTo>
                  <a:pt x="1755384" y="552219"/>
                  <a:pt x="1732473" y="538649"/>
                  <a:pt x="1717085" y="518124"/>
                </a:cubicBezTo>
                <a:cubicBezTo>
                  <a:pt x="1685037" y="475385"/>
                  <a:pt x="1693707" y="414762"/>
                  <a:pt x="1736446" y="382715"/>
                </a:cubicBezTo>
                <a:lnTo>
                  <a:pt x="1811987" y="326035"/>
                </a:lnTo>
                <a:lnTo>
                  <a:pt x="1734608" y="222863"/>
                </a:lnTo>
                <a:lnTo>
                  <a:pt x="1659067" y="279511"/>
                </a:lnTo>
                <a:cubicBezTo>
                  <a:pt x="1638545" y="294902"/>
                  <a:pt x="1612749" y="301512"/>
                  <a:pt x="1587356" y="297888"/>
                </a:cubicBezTo>
                <a:cubicBezTo>
                  <a:pt x="1534474" y="290334"/>
                  <a:pt x="1497725" y="241344"/>
                  <a:pt x="1505276" y="188461"/>
                </a:cubicBezTo>
                <a:lnTo>
                  <a:pt x="1518624" y="94962"/>
                </a:lnTo>
                <a:close/>
                <a:moveTo>
                  <a:pt x="1368154" y="8330"/>
                </a:moveTo>
                <a:lnTo>
                  <a:pt x="1559538" y="35670"/>
                </a:lnTo>
                <a:cubicBezTo>
                  <a:pt x="1559551" y="35672"/>
                  <a:pt x="1559561" y="35674"/>
                  <a:pt x="1559574" y="35676"/>
                </a:cubicBezTo>
                <a:cubicBezTo>
                  <a:pt x="1577200" y="38204"/>
                  <a:pt x="1589439" y="54542"/>
                  <a:pt x="1586911" y="72167"/>
                </a:cubicBezTo>
                <a:lnTo>
                  <a:pt x="1568985" y="197586"/>
                </a:lnTo>
                <a:cubicBezTo>
                  <a:pt x="1567737" y="206142"/>
                  <a:pt x="1569978" y="214841"/>
                  <a:pt x="1575204" y="221729"/>
                </a:cubicBezTo>
                <a:cubicBezTo>
                  <a:pt x="1585966" y="235915"/>
                  <a:pt x="1606191" y="238688"/>
                  <a:pt x="1620377" y="227925"/>
                </a:cubicBezTo>
                <a:lnTo>
                  <a:pt x="1721711" y="151900"/>
                </a:lnTo>
                <a:cubicBezTo>
                  <a:pt x="1735955" y="141216"/>
                  <a:pt x="1756164" y="144103"/>
                  <a:pt x="1766849" y="158348"/>
                </a:cubicBezTo>
                <a:lnTo>
                  <a:pt x="1882917" y="313106"/>
                </a:lnTo>
                <a:cubicBezTo>
                  <a:pt x="1893602" y="327350"/>
                  <a:pt x="1890713" y="347559"/>
                  <a:pt x="1876469" y="358244"/>
                </a:cubicBezTo>
                <a:lnTo>
                  <a:pt x="1775103" y="434268"/>
                </a:lnTo>
                <a:cubicBezTo>
                  <a:pt x="1768258" y="439401"/>
                  <a:pt x="1763734" y="447045"/>
                  <a:pt x="1762529" y="455515"/>
                </a:cubicBezTo>
                <a:cubicBezTo>
                  <a:pt x="1760017" y="473141"/>
                  <a:pt x="1772272" y="489468"/>
                  <a:pt x="1789901" y="491980"/>
                </a:cubicBezTo>
                <a:lnTo>
                  <a:pt x="1915320" y="509874"/>
                </a:lnTo>
                <a:lnTo>
                  <a:pt x="1915384" y="509938"/>
                </a:lnTo>
                <a:cubicBezTo>
                  <a:pt x="1915387" y="509938"/>
                  <a:pt x="1915391" y="509938"/>
                  <a:pt x="1915394" y="509938"/>
                </a:cubicBezTo>
                <a:cubicBezTo>
                  <a:pt x="1933017" y="512469"/>
                  <a:pt x="1945256" y="528809"/>
                  <a:pt x="1942725" y="546435"/>
                </a:cubicBezTo>
                <a:lnTo>
                  <a:pt x="1915384" y="737948"/>
                </a:lnTo>
                <a:cubicBezTo>
                  <a:pt x="1915384" y="737951"/>
                  <a:pt x="1915384" y="737954"/>
                  <a:pt x="1915384" y="737958"/>
                </a:cubicBezTo>
                <a:cubicBezTo>
                  <a:pt x="1912853" y="755581"/>
                  <a:pt x="1896513" y="767819"/>
                  <a:pt x="1878887" y="765289"/>
                </a:cubicBezTo>
                <a:lnTo>
                  <a:pt x="1753469" y="747395"/>
                </a:lnTo>
                <a:cubicBezTo>
                  <a:pt x="1740543" y="745302"/>
                  <a:pt x="1727679" y="751476"/>
                  <a:pt x="1721228" y="762870"/>
                </a:cubicBezTo>
                <a:cubicBezTo>
                  <a:pt x="1714418" y="774055"/>
                  <a:pt x="1715186" y="788273"/>
                  <a:pt x="1723162" y="798658"/>
                </a:cubicBezTo>
                <a:lnTo>
                  <a:pt x="1799155" y="899992"/>
                </a:lnTo>
                <a:cubicBezTo>
                  <a:pt x="1809839" y="914236"/>
                  <a:pt x="1806951" y="934445"/>
                  <a:pt x="1792706" y="945130"/>
                </a:cubicBezTo>
                <a:lnTo>
                  <a:pt x="1637949" y="1061198"/>
                </a:lnTo>
                <a:cubicBezTo>
                  <a:pt x="1623704" y="1071883"/>
                  <a:pt x="1603496" y="1068994"/>
                  <a:pt x="1592811" y="1054750"/>
                </a:cubicBezTo>
                <a:lnTo>
                  <a:pt x="1516786" y="953416"/>
                </a:lnTo>
                <a:cubicBezTo>
                  <a:pt x="1511653" y="946571"/>
                  <a:pt x="1504009" y="942048"/>
                  <a:pt x="1495539" y="940842"/>
                </a:cubicBezTo>
                <a:cubicBezTo>
                  <a:pt x="1477913" y="938330"/>
                  <a:pt x="1461586" y="950585"/>
                  <a:pt x="1459075" y="968215"/>
                </a:cubicBezTo>
                <a:lnTo>
                  <a:pt x="1441181" y="1093633"/>
                </a:lnTo>
                <a:cubicBezTo>
                  <a:pt x="1438901" y="1109521"/>
                  <a:pt x="1425283" y="1121315"/>
                  <a:pt x="1409230" y="1121296"/>
                </a:cubicBezTo>
                <a:cubicBezTo>
                  <a:pt x="1407711" y="1121296"/>
                  <a:pt x="1406193" y="1121199"/>
                  <a:pt x="1404684" y="1121006"/>
                </a:cubicBezTo>
                <a:lnTo>
                  <a:pt x="1213171" y="1093633"/>
                </a:lnTo>
                <a:cubicBezTo>
                  <a:pt x="1213168" y="1093633"/>
                  <a:pt x="1213165" y="1093633"/>
                  <a:pt x="1213161" y="1093633"/>
                </a:cubicBezTo>
                <a:cubicBezTo>
                  <a:pt x="1195538" y="1091102"/>
                  <a:pt x="1183300" y="1074762"/>
                  <a:pt x="1185830" y="1057136"/>
                </a:cubicBezTo>
                <a:lnTo>
                  <a:pt x="1203724" y="931718"/>
                </a:lnTo>
                <a:cubicBezTo>
                  <a:pt x="1204917" y="923280"/>
                  <a:pt x="1202725" y="914714"/>
                  <a:pt x="1197621" y="907891"/>
                </a:cubicBezTo>
                <a:cubicBezTo>
                  <a:pt x="1186959" y="893631"/>
                  <a:pt x="1166753" y="890716"/>
                  <a:pt x="1152493" y="901379"/>
                </a:cubicBezTo>
                <a:lnTo>
                  <a:pt x="1051127" y="977371"/>
                </a:lnTo>
                <a:cubicBezTo>
                  <a:pt x="1036883" y="988056"/>
                  <a:pt x="1016674" y="985167"/>
                  <a:pt x="1005989" y="970923"/>
                </a:cubicBezTo>
                <a:lnTo>
                  <a:pt x="889921" y="816165"/>
                </a:lnTo>
                <a:cubicBezTo>
                  <a:pt x="879236" y="801921"/>
                  <a:pt x="882125" y="781712"/>
                  <a:pt x="896369" y="771027"/>
                </a:cubicBezTo>
                <a:lnTo>
                  <a:pt x="997703" y="695035"/>
                </a:lnTo>
                <a:cubicBezTo>
                  <a:pt x="1004548" y="689902"/>
                  <a:pt x="1009071" y="682258"/>
                  <a:pt x="1010277" y="673788"/>
                </a:cubicBezTo>
                <a:cubicBezTo>
                  <a:pt x="1012789" y="656162"/>
                  <a:pt x="1000534" y="639835"/>
                  <a:pt x="982904" y="637323"/>
                </a:cubicBezTo>
                <a:lnTo>
                  <a:pt x="857486" y="619397"/>
                </a:lnTo>
                <a:cubicBezTo>
                  <a:pt x="857473" y="619394"/>
                  <a:pt x="857464" y="619394"/>
                  <a:pt x="857451" y="619391"/>
                </a:cubicBezTo>
                <a:cubicBezTo>
                  <a:pt x="839825" y="616863"/>
                  <a:pt x="827586" y="600526"/>
                  <a:pt x="830113" y="582900"/>
                </a:cubicBezTo>
                <a:lnTo>
                  <a:pt x="857486" y="391420"/>
                </a:lnTo>
                <a:cubicBezTo>
                  <a:pt x="857489" y="391407"/>
                  <a:pt x="857489" y="391397"/>
                  <a:pt x="857493" y="391384"/>
                </a:cubicBezTo>
                <a:cubicBezTo>
                  <a:pt x="860020" y="373758"/>
                  <a:pt x="876357" y="361519"/>
                  <a:pt x="893983" y="364047"/>
                </a:cubicBezTo>
                <a:lnTo>
                  <a:pt x="1019402" y="381973"/>
                </a:lnTo>
                <a:cubicBezTo>
                  <a:pt x="1032301" y="383843"/>
                  <a:pt x="1045049" y="377711"/>
                  <a:pt x="1051643" y="366465"/>
                </a:cubicBezTo>
                <a:cubicBezTo>
                  <a:pt x="1058491" y="355290"/>
                  <a:pt x="1057720" y="341049"/>
                  <a:pt x="1049708" y="330677"/>
                </a:cubicBezTo>
                <a:lnTo>
                  <a:pt x="973716" y="229343"/>
                </a:lnTo>
                <a:cubicBezTo>
                  <a:pt x="968576" y="222511"/>
                  <a:pt x="966362" y="213917"/>
                  <a:pt x="967558" y="205453"/>
                </a:cubicBezTo>
                <a:cubicBezTo>
                  <a:pt x="967916" y="204260"/>
                  <a:pt x="968335" y="203087"/>
                  <a:pt x="968815" y="201938"/>
                </a:cubicBezTo>
                <a:cubicBezTo>
                  <a:pt x="781561" y="202606"/>
                  <a:pt x="607691" y="299107"/>
                  <a:pt x="508066" y="457656"/>
                </a:cubicBezTo>
                <a:cubicBezTo>
                  <a:pt x="347498" y="713196"/>
                  <a:pt x="424490" y="1050520"/>
                  <a:pt x="680031" y="1211087"/>
                </a:cubicBezTo>
                <a:cubicBezTo>
                  <a:pt x="742982" y="1250277"/>
                  <a:pt x="781555" y="1318908"/>
                  <a:pt x="782300" y="1393057"/>
                </a:cubicBezTo>
                <a:lnTo>
                  <a:pt x="782300" y="1523343"/>
                </a:lnTo>
                <a:cubicBezTo>
                  <a:pt x="782300" y="1558957"/>
                  <a:pt x="811169" y="1587826"/>
                  <a:pt x="846782" y="1587826"/>
                </a:cubicBezTo>
                <a:lnTo>
                  <a:pt x="1104712" y="1587826"/>
                </a:lnTo>
                <a:cubicBezTo>
                  <a:pt x="1140325" y="1587826"/>
                  <a:pt x="1169194" y="1558957"/>
                  <a:pt x="1169194" y="1523343"/>
                </a:cubicBezTo>
                <a:lnTo>
                  <a:pt x="1169194" y="1395733"/>
                </a:lnTo>
                <a:cubicBezTo>
                  <a:pt x="1169997" y="1320153"/>
                  <a:pt x="1209186" y="1250170"/>
                  <a:pt x="1273204" y="1209991"/>
                </a:cubicBezTo>
                <a:cubicBezTo>
                  <a:pt x="1297166" y="1194470"/>
                  <a:pt x="1319876" y="1177105"/>
                  <a:pt x="1341136" y="1158051"/>
                </a:cubicBezTo>
                <a:lnTo>
                  <a:pt x="1384146" y="1206090"/>
                </a:lnTo>
                <a:cubicBezTo>
                  <a:pt x="1360381" y="1227363"/>
                  <a:pt x="1335007" y="1246766"/>
                  <a:pt x="1308250" y="1264124"/>
                </a:cubicBezTo>
                <a:cubicBezTo>
                  <a:pt x="1262639" y="1292467"/>
                  <a:pt x="1234550" y="1342042"/>
                  <a:pt x="1233676" y="1395733"/>
                </a:cubicBezTo>
                <a:lnTo>
                  <a:pt x="1233676" y="1523343"/>
                </a:lnTo>
                <a:cubicBezTo>
                  <a:pt x="1233531" y="1569210"/>
                  <a:pt x="1208960" y="1611523"/>
                  <a:pt x="1169194" y="1634382"/>
                </a:cubicBezTo>
                <a:lnTo>
                  <a:pt x="1169194" y="1813514"/>
                </a:lnTo>
                <a:cubicBezTo>
                  <a:pt x="1169194" y="1884738"/>
                  <a:pt x="1111453" y="1942479"/>
                  <a:pt x="1040229" y="1942479"/>
                </a:cubicBezTo>
                <a:lnTo>
                  <a:pt x="911265" y="1942479"/>
                </a:lnTo>
                <a:cubicBezTo>
                  <a:pt x="840041" y="1942479"/>
                  <a:pt x="782300" y="1884738"/>
                  <a:pt x="782300" y="1813514"/>
                </a:cubicBezTo>
                <a:lnTo>
                  <a:pt x="782300" y="1634382"/>
                </a:lnTo>
                <a:cubicBezTo>
                  <a:pt x="742533" y="1611523"/>
                  <a:pt x="717962" y="1569210"/>
                  <a:pt x="717817" y="1523343"/>
                </a:cubicBezTo>
                <a:lnTo>
                  <a:pt x="717817" y="1431456"/>
                </a:lnTo>
                <a:lnTo>
                  <a:pt x="667747" y="1481688"/>
                </a:lnTo>
                <a:cubicBezTo>
                  <a:pt x="656746" y="1492676"/>
                  <a:pt x="639475" y="1494246"/>
                  <a:pt x="626672" y="1485428"/>
                </a:cubicBezTo>
                <a:lnTo>
                  <a:pt x="537589" y="1424169"/>
                </a:lnTo>
                <a:lnTo>
                  <a:pt x="515311" y="1530146"/>
                </a:lnTo>
                <a:cubicBezTo>
                  <a:pt x="512167" y="1545071"/>
                  <a:pt x="499000" y="1555752"/>
                  <a:pt x="483746" y="1555746"/>
                </a:cubicBezTo>
                <a:lnTo>
                  <a:pt x="354782" y="1555746"/>
                </a:lnTo>
                <a:cubicBezTo>
                  <a:pt x="339483" y="1555720"/>
                  <a:pt x="326309" y="1544942"/>
                  <a:pt x="323250" y="1529953"/>
                </a:cubicBezTo>
                <a:lnTo>
                  <a:pt x="300971" y="1423976"/>
                </a:lnTo>
                <a:lnTo>
                  <a:pt x="211889" y="1485396"/>
                </a:lnTo>
                <a:cubicBezTo>
                  <a:pt x="199079" y="1494233"/>
                  <a:pt x="181785" y="1492659"/>
                  <a:pt x="170781" y="1481656"/>
                </a:cubicBezTo>
                <a:lnTo>
                  <a:pt x="74058" y="1384932"/>
                </a:lnTo>
                <a:cubicBezTo>
                  <a:pt x="63071" y="1373931"/>
                  <a:pt x="61498" y="1356660"/>
                  <a:pt x="70318" y="1343857"/>
                </a:cubicBezTo>
                <a:lnTo>
                  <a:pt x="131576" y="1254774"/>
                </a:lnTo>
                <a:lnTo>
                  <a:pt x="25599" y="1232496"/>
                </a:lnTo>
                <a:cubicBezTo>
                  <a:pt x="10674" y="1229352"/>
                  <a:pt x="-7" y="1216185"/>
                  <a:pt x="0" y="1200931"/>
                </a:cubicBezTo>
                <a:lnTo>
                  <a:pt x="0" y="1071967"/>
                </a:lnTo>
                <a:cubicBezTo>
                  <a:pt x="-33" y="1056794"/>
                  <a:pt x="10519" y="1043649"/>
                  <a:pt x="25341" y="1040403"/>
                </a:cubicBezTo>
                <a:lnTo>
                  <a:pt x="131318" y="1018124"/>
                </a:lnTo>
                <a:lnTo>
                  <a:pt x="70060" y="929042"/>
                </a:lnTo>
                <a:cubicBezTo>
                  <a:pt x="61240" y="916239"/>
                  <a:pt x="62813" y="898967"/>
                  <a:pt x="73800" y="887966"/>
                </a:cubicBezTo>
                <a:lnTo>
                  <a:pt x="170523" y="791243"/>
                </a:lnTo>
                <a:cubicBezTo>
                  <a:pt x="181527" y="780239"/>
                  <a:pt x="198821" y="778665"/>
                  <a:pt x="211631" y="787503"/>
                </a:cubicBezTo>
                <a:lnTo>
                  <a:pt x="300874" y="849051"/>
                </a:lnTo>
                <a:lnTo>
                  <a:pt x="323153" y="743107"/>
                </a:lnTo>
                <a:cubicBezTo>
                  <a:pt x="326213" y="728118"/>
                  <a:pt x="339386" y="717343"/>
                  <a:pt x="354685" y="717314"/>
                </a:cubicBezTo>
                <a:lnTo>
                  <a:pt x="364357" y="717314"/>
                </a:lnTo>
                <a:cubicBezTo>
                  <a:pt x="364809" y="708254"/>
                  <a:pt x="365131" y="699194"/>
                  <a:pt x="366002" y="690070"/>
                </a:cubicBezTo>
                <a:cubicBezTo>
                  <a:pt x="393984" y="402507"/>
                  <a:pt x="619085" y="173587"/>
                  <a:pt x="906138" y="140777"/>
                </a:cubicBezTo>
                <a:cubicBezTo>
                  <a:pt x="949970" y="136118"/>
                  <a:pt x="994173" y="136118"/>
                  <a:pt x="1038005" y="140777"/>
                </a:cubicBezTo>
                <a:lnTo>
                  <a:pt x="1134889" y="68073"/>
                </a:lnTo>
                <a:cubicBezTo>
                  <a:pt x="1149134" y="57389"/>
                  <a:pt x="1169342" y="60276"/>
                  <a:pt x="1180027" y="74521"/>
                </a:cubicBezTo>
                <a:lnTo>
                  <a:pt x="1256020" y="175887"/>
                </a:lnTo>
                <a:cubicBezTo>
                  <a:pt x="1261152" y="182732"/>
                  <a:pt x="1268797" y="187255"/>
                  <a:pt x="1277267" y="188461"/>
                </a:cubicBezTo>
                <a:cubicBezTo>
                  <a:pt x="1294896" y="190972"/>
                  <a:pt x="1311220" y="178717"/>
                  <a:pt x="1313731" y="161089"/>
                </a:cubicBezTo>
                <a:lnTo>
                  <a:pt x="1331657" y="35670"/>
                </a:lnTo>
                <a:cubicBezTo>
                  <a:pt x="1331657" y="35668"/>
                  <a:pt x="1331657" y="35665"/>
                  <a:pt x="1331657" y="35662"/>
                </a:cubicBezTo>
                <a:cubicBezTo>
                  <a:pt x="1334188" y="18036"/>
                  <a:pt x="1350528" y="5799"/>
                  <a:pt x="1368154" y="8330"/>
                </a:cubicBezTo>
                <a:close/>
                <a:moveTo>
                  <a:pt x="425217" y="0"/>
                </a:moveTo>
                <a:lnTo>
                  <a:pt x="491148" y="257923"/>
                </a:lnTo>
                <a:lnTo>
                  <a:pt x="428674" y="273892"/>
                </a:lnTo>
                <a:lnTo>
                  <a:pt x="362744" y="15969"/>
                </a:lnTo>
                <a:close/>
              </a:path>
            </a:pathLst>
          </a:custGeom>
          <a:solidFill>
            <a:schemeClr val="accent2"/>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40" name="Freeform: Shape 39">
            <a:extLst>
              <a:ext uri="{FF2B5EF4-FFF2-40B4-BE49-F238E27FC236}">
                <a16:creationId xmlns:a16="http://schemas.microsoft.com/office/drawing/2014/main" id="{88F13DEE-C8F6-20FB-6342-D1C102712B5F}"/>
              </a:ext>
            </a:extLst>
          </p:cNvPr>
          <p:cNvSpPr>
            <a:spLocks noChangeAspect="1"/>
          </p:cNvSpPr>
          <p:nvPr/>
        </p:nvSpPr>
        <p:spPr>
          <a:xfrm>
            <a:off x="8042332" y="1151135"/>
            <a:ext cx="404392" cy="404392"/>
          </a:xfrm>
          <a:custGeom>
            <a:avLst/>
            <a:gdLst>
              <a:gd name="connsiteX0" fmla="*/ 53679 w 590550"/>
              <a:gd name="connsiteY0" fmla="*/ 523399 h 590550"/>
              <a:gd name="connsiteX1" fmla="*/ 67150 w 590550"/>
              <a:gd name="connsiteY1" fmla="*/ 536870 h 590550"/>
              <a:gd name="connsiteX2" fmla="*/ 54359 w 590550"/>
              <a:gd name="connsiteY2" fmla="*/ 549660 h 590550"/>
              <a:gd name="connsiteX3" fmla="*/ 40889 w 590550"/>
              <a:gd name="connsiteY3" fmla="*/ 536190 h 590550"/>
              <a:gd name="connsiteX4" fmla="*/ 80615 w 590550"/>
              <a:gd name="connsiteY4" fmla="*/ 496450 h 590550"/>
              <a:gd name="connsiteX5" fmla="*/ 94086 w 590550"/>
              <a:gd name="connsiteY5" fmla="*/ 509921 h 590550"/>
              <a:gd name="connsiteX6" fmla="*/ 80615 w 590550"/>
              <a:gd name="connsiteY6" fmla="*/ 523391 h 590550"/>
              <a:gd name="connsiteX7" fmla="*/ 67145 w 590550"/>
              <a:gd name="connsiteY7" fmla="*/ 509921 h 590550"/>
              <a:gd name="connsiteX8" fmla="*/ 107561 w 590550"/>
              <a:gd name="connsiteY8" fmla="*/ 469510 h 590550"/>
              <a:gd name="connsiteX9" fmla="*/ 121032 w 590550"/>
              <a:gd name="connsiteY9" fmla="*/ 482981 h 590550"/>
              <a:gd name="connsiteX10" fmla="*/ 107561 w 590550"/>
              <a:gd name="connsiteY10" fmla="*/ 496451 h 590550"/>
              <a:gd name="connsiteX11" fmla="*/ 94091 w 590550"/>
              <a:gd name="connsiteY11" fmla="*/ 482981 h 590550"/>
              <a:gd name="connsiteX12" fmla="*/ 499605 w 590550"/>
              <a:gd name="connsiteY12" fmla="*/ 463886 h 590550"/>
              <a:gd name="connsiteX13" fmla="*/ 482698 w 590550"/>
              <a:gd name="connsiteY13" fmla="*/ 482708 h 590550"/>
              <a:gd name="connsiteX14" fmla="*/ 463838 w 590550"/>
              <a:gd name="connsiteY14" fmla="*/ 499586 h 590550"/>
              <a:gd name="connsiteX15" fmla="*/ 511673 w 590550"/>
              <a:gd name="connsiteY15" fmla="*/ 511673 h 590550"/>
              <a:gd name="connsiteX16" fmla="*/ 499605 w 590550"/>
              <a:gd name="connsiteY16" fmla="*/ 463886 h 590550"/>
              <a:gd name="connsiteX17" fmla="*/ 395734 w 590550"/>
              <a:gd name="connsiteY17" fmla="*/ 463886 h 590550"/>
              <a:gd name="connsiteX18" fmla="*/ 383676 w 590550"/>
              <a:gd name="connsiteY18" fmla="*/ 511673 h 590550"/>
              <a:gd name="connsiteX19" fmla="*/ 431491 w 590550"/>
              <a:gd name="connsiteY19" fmla="*/ 499586 h 590550"/>
              <a:gd name="connsiteX20" fmla="*/ 412641 w 590550"/>
              <a:gd name="connsiteY20" fmla="*/ 482708 h 590550"/>
              <a:gd name="connsiteX21" fmla="*/ 395734 w 590550"/>
              <a:gd name="connsiteY21" fmla="*/ 463886 h 590550"/>
              <a:gd name="connsiteX22" fmla="*/ 104775 w 590550"/>
              <a:gd name="connsiteY22" fmla="*/ 442093 h 590550"/>
              <a:gd name="connsiteX23" fmla="*/ 28099 w 590550"/>
              <a:gd name="connsiteY23" fmla="*/ 518779 h 590550"/>
              <a:gd name="connsiteX24" fmla="*/ 19050 w 590550"/>
              <a:gd name="connsiteY24" fmla="*/ 540620 h 590550"/>
              <a:gd name="connsiteX25" fmla="*/ 49940 w 590550"/>
              <a:gd name="connsiteY25" fmla="*/ 571500 h 590550"/>
              <a:gd name="connsiteX26" fmla="*/ 71780 w 590550"/>
              <a:gd name="connsiteY26" fmla="*/ 562451 h 590550"/>
              <a:gd name="connsiteX27" fmla="*/ 148457 w 590550"/>
              <a:gd name="connsiteY27" fmla="*/ 485775 h 590550"/>
              <a:gd name="connsiteX28" fmla="*/ 447675 w 590550"/>
              <a:gd name="connsiteY28" fmla="*/ 438150 h 590550"/>
              <a:gd name="connsiteX29" fmla="*/ 457200 w 590550"/>
              <a:gd name="connsiteY29" fmla="*/ 447675 h 590550"/>
              <a:gd name="connsiteX30" fmla="*/ 447675 w 590550"/>
              <a:gd name="connsiteY30" fmla="*/ 457200 h 590550"/>
              <a:gd name="connsiteX31" fmla="*/ 438150 w 590550"/>
              <a:gd name="connsiteY31" fmla="*/ 447675 h 590550"/>
              <a:gd name="connsiteX32" fmla="*/ 447675 w 590550"/>
              <a:gd name="connsiteY32" fmla="*/ 438150 h 590550"/>
              <a:gd name="connsiteX33" fmla="*/ 147447 w 590550"/>
              <a:gd name="connsiteY33" fmla="*/ 418471 h 590550"/>
              <a:gd name="connsiteX34" fmla="*/ 127768 w 590550"/>
              <a:gd name="connsiteY34" fmla="*/ 438150 h 590550"/>
              <a:gd name="connsiteX35" fmla="*/ 152400 w 590550"/>
              <a:gd name="connsiteY35" fmla="*/ 462782 h 590550"/>
              <a:gd name="connsiteX36" fmla="*/ 172079 w 590550"/>
              <a:gd name="connsiteY36" fmla="*/ 443103 h 590550"/>
              <a:gd name="connsiteX37" fmla="*/ 147447 w 590550"/>
              <a:gd name="connsiteY37" fmla="*/ 418471 h 590550"/>
              <a:gd name="connsiteX38" fmla="*/ 447674 w 590550"/>
              <a:gd name="connsiteY38" fmla="*/ 407079 h 590550"/>
              <a:gd name="connsiteX39" fmla="*/ 426119 w 590550"/>
              <a:gd name="connsiteY39" fmla="*/ 426110 h 590550"/>
              <a:gd name="connsiteX40" fmla="*/ 407012 w 590550"/>
              <a:gd name="connsiteY40" fmla="*/ 447675 h 590550"/>
              <a:gd name="connsiteX41" fmla="*/ 426119 w 590550"/>
              <a:gd name="connsiteY41" fmla="*/ 469239 h 590550"/>
              <a:gd name="connsiteX42" fmla="*/ 447674 w 590550"/>
              <a:gd name="connsiteY42" fmla="*/ 488337 h 590550"/>
              <a:gd name="connsiteX43" fmla="*/ 469229 w 590550"/>
              <a:gd name="connsiteY43" fmla="*/ 469239 h 590550"/>
              <a:gd name="connsiteX44" fmla="*/ 488337 w 590550"/>
              <a:gd name="connsiteY44" fmla="*/ 447675 h 590550"/>
              <a:gd name="connsiteX45" fmla="*/ 469229 w 590550"/>
              <a:gd name="connsiteY45" fmla="*/ 426110 h 590550"/>
              <a:gd name="connsiteX46" fmla="*/ 447674 w 590550"/>
              <a:gd name="connsiteY46" fmla="*/ 407079 h 590550"/>
              <a:gd name="connsiteX47" fmla="*/ 502929 w 590550"/>
              <a:gd name="connsiteY47" fmla="*/ 380962 h 590550"/>
              <a:gd name="connsiteX48" fmla="*/ 463943 w 590550"/>
              <a:gd name="connsiteY48" fmla="*/ 395783 h 590550"/>
              <a:gd name="connsiteX49" fmla="*/ 482707 w 590550"/>
              <a:gd name="connsiteY49" fmla="*/ 412642 h 590550"/>
              <a:gd name="connsiteX50" fmla="*/ 499614 w 590550"/>
              <a:gd name="connsiteY50" fmla="*/ 431463 h 590550"/>
              <a:gd name="connsiteX51" fmla="*/ 511673 w 590550"/>
              <a:gd name="connsiteY51" fmla="*/ 383676 h 590550"/>
              <a:gd name="connsiteX52" fmla="*/ 502929 w 590550"/>
              <a:gd name="connsiteY52" fmla="*/ 380962 h 590550"/>
              <a:gd name="connsiteX53" fmla="*/ 392420 w 590550"/>
              <a:gd name="connsiteY53" fmla="*/ 380962 h 590550"/>
              <a:gd name="connsiteX54" fmla="*/ 383676 w 590550"/>
              <a:gd name="connsiteY54" fmla="*/ 383676 h 590550"/>
              <a:gd name="connsiteX55" fmla="*/ 395734 w 590550"/>
              <a:gd name="connsiteY55" fmla="*/ 431463 h 590550"/>
              <a:gd name="connsiteX56" fmla="*/ 412641 w 590550"/>
              <a:gd name="connsiteY56" fmla="*/ 412642 h 590550"/>
              <a:gd name="connsiteX57" fmla="*/ 431406 w 590550"/>
              <a:gd name="connsiteY57" fmla="*/ 395783 h 590550"/>
              <a:gd name="connsiteX58" fmla="*/ 392420 w 590550"/>
              <a:gd name="connsiteY58" fmla="*/ 380962 h 590550"/>
              <a:gd name="connsiteX59" fmla="*/ 510436 w 590550"/>
              <a:gd name="connsiteY59" fmla="*/ 362623 h 590550"/>
              <a:gd name="connsiteX60" fmla="*/ 525141 w 590550"/>
              <a:gd name="connsiteY60" fmla="*/ 370208 h 590550"/>
              <a:gd name="connsiteX61" fmla="*/ 511644 w 590550"/>
              <a:gd name="connsiteY61" fmla="*/ 447675 h 590550"/>
              <a:gd name="connsiteX62" fmla="*/ 525141 w 590550"/>
              <a:gd name="connsiteY62" fmla="*/ 525142 h 590550"/>
              <a:gd name="connsiteX63" fmla="*/ 503138 w 590550"/>
              <a:gd name="connsiteY63" fmla="*/ 533390 h 590550"/>
              <a:gd name="connsiteX64" fmla="*/ 447674 w 590550"/>
              <a:gd name="connsiteY64" fmla="*/ 511664 h 590550"/>
              <a:gd name="connsiteX65" fmla="*/ 392210 w 590550"/>
              <a:gd name="connsiteY65" fmla="*/ 533390 h 590550"/>
              <a:gd name="connsiteX66" fmla="*/ 370207 w 590550"/>
              <a:gd name="connsiteY66" fmla="*/ 525142 h 590550"/>
              <a:gd name="connsiteX67" fmla="*/ 383704 w 590550"/>
              <a:gd name="connsiteY67" fmla="*/ 447675 h 590550"/>
              <a:gd name="connsiteX68" fmla="*/ 370207 w 590550"/>
              <a:gd name="connsiteY68" fmla="*/ 370208 h 590550"/>
              <a:gd name="connsiteX69" fmla="*/ 447674 w 590550"/>
              <a:gd name="connsiteY69" fmla="*/ 383705 h 590550"/>
              <a:gd name="connsiteX70" fmla="*/ 510436 w 590550"/>
              <a:gd name="connsiteY70" fmla="*/ 362623 h 590550"/>
              <a:gd name="connsiteX71" fmla="*/ 447675 w 590550"/>
              <a:gd name="connsiteY71" fmla="*/ 323850 h 590550"/>
              <a:gd name="connsiteX72" fmla="*/ 323850 w 590550"/>
              <a:gd name="connsiteY72" fmla="*/ 447675 h 590550"/>
              <a:gd name="connsiteX73" fmla="*/ 447675 w 590550"/>
              <a:gd name="connsiteY73" fmla="*/ 571500 h 590550"/>
              <a:gd name="connsiteX74" fmla="*/ 571500 w 590550"/>
              <a:gd name="connsiteY74" fmla="*/ 447675 h 590550"/>
              <a:gd name="connsiteX75" fmla="*/ 447675 w 590550"/>
              <a:gd name="connsiteY75" fmla="*/ 323850 h 590550"/>
              <a:gd name="connsiteX76" fmla="*/ 304800 w 590550"/>
              <a:gd name="connsiteY76" fmla="*/ 314325 h 590550"/>
              <a:gd name="connsiteX77" fmla="*/ 323850 w 590550"/>
              <a:gd name="connsiteY77" fmla="*/ 314325 h 590550"/>
              <a:gd name="connsiteX78" fmla="*/ 323850 w 590550"/>
              <a:gd name="connsiteY78" fmla="*/ 333375 h 590550"/>
              <a:gd name="connsiteX79" fmla="*/ 304800 w 590550"/>
              <a:gd name="connsiteY79" fmla="*/ 333375 h 590550"/>
              <a:gd name="connsiteX80" fmla="*/ 266700 w 590550"/>
              <a:gd name="connsiteY80" fmla="*/ 314325 h 590550"/>
              <a:gd name="connsiteX81" fmla="*/ 285750 w 590550"/>
              <a:gd name="connsiteY81" fmla="*/ 314325 h 590550"/>
              <a:gd name="connsiteX82" fmla="*/ 285750 w 590550"/>
              <a:gd name="connsiteY82" fmla="*/ 333375 h 590550"/>
              <a:gd name="connsiteX83" fmla="*/ 266700 w 590550"/>
              <a:gd name="connsiteY83" fmla="*/ 333375 h 590550"/>
              <a:gd name="connsiteX84" fmla="*/ 228600 w 590550"/>
              <a:gd name="connsiteY84" fmla="*/ 314325 h 590550"/>
              <a:gd name="connsiteX85" fmla="*/ 247650 w 590550"/>
              <a:gd name="connsiteY85" fmla="*/ 314325 h 590550"/>
              <a:gd name="connsiteX86" fmla="*/ 247650 w 590550"/>
              <a:gd name="connsiteY86" fmla="*/ 333375 h 590550"/>
              <a:gd name="connsiteX87" fmla="*/ 228600 w 590550"/>
              <a:gd name="connsiteY87" fmla="*/ 333375 h 590550"/>
              <a:gd name="connsiteX88" fmla="*/ 190500 w 590550"/>
              <a:gd name="connsiteY88" fmla="*/ 314325 h 590550"/>
              <a:gd name="connsiteX89" fmla="*/ 209550 w 590550"/>
              <a:gd name="connsiteY89" fmla="*/ 314325 h 590550"/>
              <a:gd name="connsiteX90" fmla="*/ 209550 w 590550"/>
              <a:gd name="connsiteY90" fmla="*/ 333375 h 590550"/>
              <a:gd name="connsiteX91" fmla="*/ 190500 w 590550"/>
              <a:gd name="connsiteY91" fmla="*/ 333375 h 590550"/>
              <a:gd name="connsiteX92" fmla="*/ 372513 w 590550"/>
              <a:gd name="connsiteY92" fmla="*/ 280702 h 590550"/>
              <a:gd name="connsiteX93" fmla="*/ 380905 w 590550"/>
              <a:gd name="connsiteY93" fmla="*/ 321450 h 590550"/>
              <a:gd name="connsiteX94" fmla="*/ 399393 w 590550"/>
              <a:gd name="connsiteY94" fmla="*/ 313373 h 590550"/>
              <a:gd name="connsiteX95" fmla="*/ 393897 w 590550"/>
              <a:gd name="connsiteY95" fmla="*/ 284845 h 590550"/>
              <a:gd name="connsiteX96" fmla="*/ 372513 w 590550"/>
              <a:gd name="connsiteY96" fmla="*/ 280702 h 590550"/>
              <a:gd name="connsiteX97" fmla="*/ 266700 w 590550"/>
              <a:gd name="connsiteY97" fmla="*/ 228600 h 590550"/>
              <a:gd name="connsiteX98" fmla="*/ 171450 w 590550"/>
              <a:gd name="connsiteY98" fmla="*/ 323850 h 590550"/>
              <a:gd name="connsiteX99" fmla="*/ 266700 w 590550"/>
              <a:gd name="connsiteY99" fmla="*/ 419100 h 590550"/>
              <a:gd name="connsiteX100" fmla="*/ 310477 w 590550"/>
              <a:gd name="connsiteY100" fmla="*/ 408184 h 590550"/>
              <a:gd name="connsiteX101" fmla="*/ 361226 w 590550"/>
              <a:gd name="connsiteY101" fmla="*/ 334185 h 590550"/>
              <a:gd name="connsiteX102" fmla="*/ 361950 w 590550"/>
              <a:gd name="connsiteY102" fmla="*/ 323850 h 590550"/>
              <a:gd name="connsiteX103" fmla="*/ 345300 w 590550"/>
              <a:gd name="connsiteY103" fmla="*/ 270300 h 590550"/>
              <a:gd name="connsiteX104" fmla="*/ 300457 w 590550"/>
              <a:gd name="connsiteY104" fmla="*/ 234906 h 590550"/>
              <a:gd name="connsiteX105" fmla="*/ 266700 w 590550"/>
              <a:gd name="connsiteY105" fmla="*/ 228600 h 590550"/>
              <a:gd name="connsiteX106" fmla="*/ 266700 w 590550"/>
              <a:gd name="connsiteY106" fmla="*/ 190500 h 590550"/>
              <a:gd name="connsiteX107" fmla="*/ 133350 w 590550"/>
              <a:gd name="connsiteY107" fmla="*/ 323850 h 590550"/>
              <a:gd name="connsiteX108" fmla="*/ 266700 w 590550"/>
              <a:gd name="connsiteY108" fmla="*/ 457200 h 590550"/>
              <a:gd name="connsiteX109" fmla="*/ 304981 w 590550"/>
              <a:gd name="connsiteY109" fmla="*/ 451333 h 590550"/>
              <a:gd name="connsiteX110" fmla="*/ 304800 w 590550"/>
              <a:gd name="connsiteY110" fmla="*/ 447675 h 590550"/>
              <a:gd name="connsiteX111" fmla="*/ 305867 w 590550"/>
              <a:gd name="connsiteY111" fmla="*/ 430968 h 590550"/>
              <a:gd name="connsiteX112" fmla="*/ 266700 w 590550"/>
              <a:gd name="connsiteY112" fmla="*/ 438150 h 590550"/>
              <a:gd name="connsiteX113" fmla="*/ 152400 w 590550"/>
              <a:gd name="connsiteY113" fmla="*/ 323850 h 590550"/>
              <a:gd name="connsiteX114" fmla="*/ 266700 w 590550"/>
              <a:gd name="connsiteY114" fmla="*/ 209550 h 590550"/>
              <a:gd name="connsiteX115" fmla="*/ 284016 w 590550"/>
              <a:gd name="connsiteY115" fmla="*/ 211007 h 590550"/>
              <a:gd name="connsiteX116" fmla="*/ 275206 w 590550"/>
              <a:gd name="connsiteY116" fmla="*/ 190976 h 590550"/>
              <a:gd name="connsiteX117" fmla="*/ 266700 w 590550"/>
              <a:gd name="connsiteY117" fmla="*/ 190500 h 590550"/>
              <a:gd name="connsiteX118" fmla="*/ 381000 w 590550"/>
              <a:gd name="connsiteY118" fmla="*/ 142875 h 590550"/>
              <a:gd name="connsiteX119" fmla="*/ 381000 w 590550"/>
              <a:gd name="connsiteY119" fmla="*/ 200025 h 590550"/>
              <a:gd name="connsiteX120" fmla="*/ 400050 w 590550"/>
              <a:gd name="connsiteY120" fmla="*/ 200025 h 590550"/>
              <a:gd name="connsiteX121" fmla="*/ 400050 w 590550"/>
              <a:gd name="connsiteY121" fmla="*/ 142875 h 590550"/>
              <a:gd name="connsiteX122" fmla="*/ 419100 w 590550"/>
              <a:gd name="connsiteY122" fmla="*/ 123825 h 590550"/>
              <a:gd name="connsiteX123" fmla="*/ 419100 w 590550"/>
              <a:gd name="connsiteY123" fmla="*/ 200025 h 590550"/>
              <a:gd name="connsiteX124" fmla="*/ 438150 w 590550"/>
              <a:gd name="connsiteY124" fmla="*/ 200025 h 590550"/>
              <a:gd name="connsiteX125" fmla="*/ 438150 w 590550"/>
              <a:gd name="connsiteY125" fmla="*/ 123825 h 590550"/>
              <a:gd name="connsiteX126" fmla="*/ 342900 w 590550"/>
              <a:gd name="connsiteY126" fmla="*/ 104775 h 590550"/>
              <a:gd name="connsiteX127" fmla="*/ 342900 w 590550"/>
              <a:gd name="connsiteY127" fmla="*/ 200025 h 590550"/>
              <a:gd name="connsiteX128" fmla="*/ 361950 w 590550"/>
              <a:gd name="connsiteY128" fmla="*/ 200025 h 590550"/>
              <a:gd name="connsiteX129" fmla="*/ 361950 w 590550"/>
              <a:gd name="connsiteY129" fmla="*/ 104775 h 590550"/>
              <a:gd name="connsiteX130" fmla="*/ 457200 w 590550"/>
              <a:gd name="connsiteY130" fmla="*/ 85725 h 590550"/>
              <a:gd name="connsiteX131" fmla="*/ 457200 w 590550"/>
              <a:gd name="connsiteY131" fmla="*/ 200025 h 590550"/>
              <a:gd name="connsiteX132" fmla="*/ 476250 w 590550"/>
              <a:gd name="connsiteY132" fmla="*/ 200025 h 590550"/>
              <a:gd name="connsiteX133" fmla="*/ 476250 w 590550"/>
              <a:gd name="connsiteY133" fmla="*/ 85725 h 590550"/>
              <a:gd name="connsiteX134" fmla="*/ 123825 w 590550"/>
              <a:gd name="connsiteY134" fmla="*/ 76200 h 590550"/>
              <a:gd name="connsiteX135" fmla="*/ 76200 w 590550"/>
              <a:gd name="connsiteY135" fmla="*/ 123825 h 590550"/>
              <a:gd name="connsiteX136" fmla="*/ 123825 w 590550"/>
              <a:gd name="connsiteY136" fmla="*/ 171450 h 590550"/>
              <a:gd name="connsiteX137" fmla="*/ 171450 w 590550"/>
              <a:gd name="connsiteY137" fmla="*/ 123825 h 590550"/>
              <a:gd name="connsiteX138" fmla="*/ 123825 w 590550"/>
              <a:gd name="connsiteY138" fmla="*/ 76200 h 590550"/>
              <a:gd name="connsiteX139" fmla="*/ 438150 w 590550"/>
              <a:gd name="connsiteY139" fmla="*/ 66675 h 590550"/>
              <a:gd name="connsiteX140" fmla="*/ 495300 w 590550"/>
              <a:gd name="connsiteY140" fmla="*/ 66675 h 590550"/>
              <a:gd name="connsiteX141" fmla="*/ 495300 w 590550"/>
              <a:gd name="connsiteY141" fmla="*/ 219075 h 590550"/>
              <a:gd name="connsiteX142" fmla="*/ 323850 w 590550"/>
              <a:gd name="connsiteY142" fmla="*/ 219075 h 590550"/>
              <a:gd name="connsiteX143" fmla="*/ 323850 w 590550"/>
              <a:gd name="connsiteY143" fmla="*/ 85725 h 590550"/>
              <a:gd name="connsiteX144" fmla="*/ 381000 w 590550"/>
              <a:gd name="connsiteY144" fmla="*/ 85725 h 590550"/>
              <a:gd name="connsiteX145" fmla="*/ 381000 w 590550"/>
              <a:gd name="connsiteY145" fmla="*/ 123825 h 590550"/>
              <a:gd name="connsiteX146" fmla="*/ 400050 w 590550"/>
              <a:gd name="connsiteY146" fmla="*/ 123825 h 590550"/>
              <a:gd name="connsiteX147" fmla="*/ 400050 w 590550"/>
              <a:gd name="connsiteY147" fmla="*/ 104775 h 590550"/>
              <a:gd name="connsiteX148" fmla="*/ 438150 w 590550"/>
              <a:gd name="connsiteY148" fmla="*/ 104775 h 590550"/>
              <a:gd name="connsiteX149" fmla="*/ 123825 w 590550"/>
              <a:gd name="connsiteY149" fmla="*/ 57150 h 590550"/>
              <a:gd name="connsiteX150" fmla="*/ 190500 w 590550"/>
              <a:gd name="connsiteY150" fmla="*/ 123825 h 590550"/>
              <a:gd name="connsiteX151" fmla="*/ 123825 w 590550"/>
              <a:gd name="connsiteY151" fmla="*/ 190500 h 590550"/>
              <a:gd name="connsiteX152" fmla="*/ 57150 w 590550"/>
              <a:gd name="connsiteY152" fmla="*/ 123825 h 590550"/>
              <a:gd name="connsiteX153" fmla="*/ 123825 w 590550"/>
              <a:gd name="connsiteY153" fmla="*/ 57150 h 590550"/>
              <a:gd name="connsiteX154" fmla="*/ 409575 w 590550"/>
              <a:gd name="connsiteY154" fmla="*/ 19050 h 590550"/>
              <a:gd name="connsiteX155" fmla="*/ 285750 w 590550"/>
              <a:gd name="connsiteY155" fmla="*/ 142875 h 590550"/>
              <a:gd name="connsiteX156" fmla="*/ 409575 w 590550"/>
              <a:gd name="connsiteY156" fmla="*/ 266700 h 590550"/>
              <a:gd name="connsiteX157" fmla="*/ 533400 w 590550"/>
              <a:gd name="connsiteY157" fmla="*/ 142875 h 590550"/>
              <a:gd name="connsiteX158" fmla="*/ 409575 w 590550"/>
              <a:gd name="connsiteY158" fmla="*/ 19050 h 590550"/>
              <a:gd name="connsiteX159" fmla="*/ 102689 w 590550"/>
              <a:gd name="connsiteY159" fmla="*/ 19050 h 590550"/>
              <a:gd name="connsiteX160" fmla="*/ 96860 w 590550"/>
              <a:gd name="connsiteY160" fmla="*/ 42405 h 590550"/>
              <a:gd name="connsiteX161" fmla="*/ 85239 w 590550"/>
              <a:gd name="connsiteY161" fmla="*/ 47130 h 590550"/>
              <a:gd name="connsiteX162" fmla="*/ 64684 w 590550"/>
              <a:gd name="connsiteY162" fmla="*/ 34785 h 590550"/>
              <a:gd name="connsiteX163" fmla="*/ 34795 w 590550"/>
              <a:gd name="connsiteY163" fmla="*/ 64684 h 590550"/>
              <a:gd name="connsiteX164" fmla="*/ 47139 w 590550"/>
              <a:gd name="connsiteY164" fmla="*/ 85249 h 590550"/>
              <a:gd name="connsiteX165" fmla="*/ 42348 w 590550"/>
              <a:gd name="connsiteY165" fmla="*/ 96869 h 590550"/>
              <a:gd name="connsiteX166" fmla="*/ 19050 w 590550"/>
              <a:gd name="connsiteY166" fmla="*/ 102689 h 590550"/>
              <a:gd name="connsiteX167" fmla="*/ 19050 w 590550"/>
              <a:gd name="connsiteY167" fmla="*/ 144961 h 590550"/>
              <a:gd name="connsiteX168" fmla="*/ 42377 w 590550"/>
              <a:gd name="connsiteY168" fmla="*/ 150781 h 590550"/>
              <a:gd name="connsiteX169" fmla="*/ 47139 w 590550"/>
              <a:gd name="connsiteY169" fmla="*/ 162401 h 590550"/>
              <a:gd name="connsiteX170" fmla="*/ 34795 w 590550"/>
              <a:gd name="connsiteY170" fmla="*/ 182966 h 590550"/>
              <a:gd name="connsiteX171" fmla="*/ 64684 w 590550"/>
              <a:gd name="connsiteY171" fmla="*/ 212865 h 590550"/>
              <a:gd name="connsiteX172" fmla="*/ 85239 w 590550"/>
              <a:gd name="connsiteY172" fmla="*/ 200520 h 590550"/>
              <a:gd name="connsiteX173" fmla="*/ 96117 w 590550"/>
              <a:gd name="connsiteY173" fmla="*/ 204940 h 590550"/>
              <a:gd name="connsiteX174" fmla="*/ 98050 w 590550"/>
              <a:gd name="connsiteY174" fmla="*/ 210036 h 590550"/>
              <a:gd name="connsiteX175" fmla="*/ 102689 w 590550"/>
              <a:gd name="connsiteY175" fmla="*/ 228600 h 590550"/>
              <a:gd name="connsiteX176" fmla="*/ 147923 w 590550"/>
              <a:gd name="connsiteY176" fmla="*/ 228600 h 590550"/>
              <a:gd name="connsiteX177" fmla="*/ 212455 w 590550"/>
              <a:gd name="connsiteY177" fmla="*/ 181594 h 590550"/>
              <a:gd name="connsiteX178" fmla="*/ 200454 w 590550"/>
              <a:gd name="connsiteY178" fmla="*/ 162506 h 590550"/>
              <a:gd name="connsiteX179" fmla="*/ 204949 w 590550"/>
              <a:gd name="connsiteY179" fmla="*/ 151552 h 590550"/>
              <a:gd name="connsiteX180" fmla="*/ 210036 w 590550"/>
              <a:gd name="connsiteY180" fmla="*/ 149600 h 590550"/>
              <a:gd name="connsiteX181" fmla="*/ 228600 w 590550"/>
              <a:gd name="connsiteY181" fmla="*/ 144961 h 590550"/>
              <a:gd name="connsiteX182" fmla="*/ 228600 w 590550"/>
              <a:gd name="connsiteY182" fmla="*/ 102689 h 590550"/>
              <a:gd name="connsiteX183" fmla="*/ 205302 w 590550"/>
              <a:gd name="connsiteY183" fmla="*/ 96869 h 590550"/>
              <a:gd name="connsiteX184" fmla="*/ 200511 w 590550"/>
              <a:gd name="connsiteY184" fmla="*/ 85249 h 590550"/>
              <a:gd name="connsiteX185" fmla="*/ 212855 w 590550"/>
              <a:gd name="connsiteY185" fmla="*/ 64684 h 590550"/>
              <a:gd name="connsiteX186" fmla="*/ 182966 w 590550"/>
              <a:gd name="connsiteY186" fmla="*/ 34785 h 590550"/>
              <a:gd name="connsiteX187" fmla="*/ 162411 w 590550"/>
              <a:gd name="connsiteY187" fmla="*/ 47130 h 590550"/>
              <a:gd name="connsiteX188" fmla="*/ 151533 w 590550"/>
              <a:gd name="connsiteY188" fmla="*/ 42710 h 590550"/>
              <a:gd name="connsiteX189" fmla="*/ 149600 w 590550"/>
              <a:gd name="connsiteY189" fmla="*/ 37614 h 590550"/>
              <a:gd name="connsiteX190" fmla="*/ 144961 w 590550"/>
              <a:gd name="connsiteY190" fmla="*/ 19050 h 590550"/>
              <a:gd name="connsiteX191" fmla="*/ 87811 w 590550"/>
              <a:gd name="connsiteY191" fmla="*/ 0 h 590550"/>
              <a:gd name="connsiteX192" fmla="*/ 159839 w 590550"/>
              <a:gd name="connsiteY192" fmla="*/ 0 h 590550"/>
              <a:gd name="connsiteX193" fmla="*/ 165583 w 590550"/>
              <a:gd name="connsiteY193" fmla="*/ 23003 h 590550"/>
              <a:gd name="connsiteX194" fmla="*/ 185909 w 590550"/>
              <a:gd name="connsiteY194" fmla="*/ 10801 h 590550"/>
              <a:gd name="connsiteX195" fmla="*/ 236839 w 590550"/>
              <a:gd name="connsiteY195" fmla="*/ 61722 h 590550"/>
              <a:gd name="connsiteX196" fmla="*/ 224638 w 590550"/>
              <a:gd name="connsiteY196" fmla="*/ 82067 h 590550"/>
              <a:gd name="connsiteX197" fmla="*/ 247650 w 590550"/>
              <a:gd name="connsiteY197" fmla="*/ 87811 h 590550"/>
              <a:gd name="connsiteX198" fmla="*/ 247650 w 590550"/>
              <a:gd name="connsiteY198" fmla="*/ 159839 h 590550"/>
              <a:gd name="connsiteX199" fmla="*/ 224857 w 590550"/>
              <a:gd name="connsiteY199" fmla="*/ 165535 h 590550"/>
              <a:gd name="connsiteX200" fmla="*/ 231296 w 590550"/>
              <a:gd name="connsiteY200" fmla="*/ 175774 h 590550"/>
              <a:gd name="connsiteX201" fmla="*/ 266700 w 590550"/>
              <a:gd name="connsiteY201" fmla="*/ 171450 h 590550"/>
              <a:gd name="connsiteX202" fmla="*/ 269596 w 590550"/>
              <a:gd name="connsiteY202" fmla="*/ 171536 h 590550"/>
              <a:gd name="connsiteX203" fmla="*/ 266700 w 590550"/>
              <a:gd name="connsiteY203" fmla="*/ 142875 h 590550"/>
              <a:gd name="connsiteX204" fmla="*/ 409575 w 590550"/>
              <a:gd name="connsiteY204" fmla="*/ 0 h 590550"/>
              <a:gd name="connsiteX205" fmla="*/ 552450 w 590550"/>
              <a:gd name="connsiteY205" fmla="*/ 142875 h 590550"/>
              <a:gd name="connsiteX206" fmla="*/ 413957 w 590550"/>
              <a:gd name="connsiteY206" fmla="*/ 285531 h 590550"/>
              <a:gd name="connsiteX207" fmla="*/ 418109 w 590550"/>
              <a:gd name="connsiteY207" fmla="*/ 307915 h 590550"/>
              <a:gd name="connsiteX208" fmla="*/ 447675 w 590550"/>
              <a:gd name="connsiteY208" fmla="*/ 304800 h 590550"/>
              <a:gd name="connsiteX209" fmla="*/ 590550 w 590550"/>
              <a:gd name="connsiteY209" fmla="*/ 447675 h 590550"/>
              <a:gd name="connsiteX210" fmla="*/ 447675 w 590550"/>
              <a:gd name="connsiteY210" fmla="*/ 590550 h 590550"/>
              <a:gd name="connsiteX211" fmla="*/ 306829 w 590550"/>
              <a:gd name="connsiteY211" fmla="*/ 470697 h 590550"/>
              <a:gd name="connsiteX212" fmla="*/ 266700 w 590550"/>
              <a:gd name="connsiteY212" fmla="*/ 476250 h 590550"/>
              <a:gd name="connsiteX213" fmla="*/ 188004 w 590550"/>
              <a:gd name="connsiteY213" fmla="*/ 454114 h 590550"/>
              <a:gd name="connsiteX214" fmla="*/ 165868 w 590550"/>
              <a:gd name="connsiteY214" fmla="*/ 476250 h 590550"/>
              <a:gd name="connsiteX215" fmla="*/ 175393 w 590550"/>
              <a:gd name="connsiteY215" fmla="*/ 485775 h 590550"/>
              <a:gd name="connsiteX216" fmla="*/ 85249 w 590550"/>
              <a:gd name="connsiteY216" fmla="*/ 575929 h 590550"/>
              <a:gd name="connsiteX217" fmla="*/ 49940 w 590550"/>
              <a:gd name="connsiteY217" fmla="*/ 590550 h 590550"/>
              <a:gd name="connsiteX218" fmla="*/ 0 w 590550"/>
              <a:gd name="connsiteY218" fmla="*/ 540620 h 590550"/>
              <a:gd name="connsiteX219" fmla="*/ 14630 w 590550"/>
              <a:gd name="connsiteY219" fmla="*/ 505301 h 590550"/>
              <a:gd name="connsiteX220" fmla="*/ 104775 w 590550"/>
              <a:gd name="connsiteY220" fmla="*/ 415157 h 590550"/>
              <a:gd name="connsiteX221" fmla="*/ 114300 w 590550"/>
              <a:gd name="connsiteY221" fmla="*/ 424682 h 590550"/>
              <a:gd name="connsiteX222" fmla="*/ 136436 w 590550"/>
              <a:gd name="connsiteY222" fmla="*/ 402536 h 590550"/>
              <a:gd name="connsiteX223" fmla="*/ 114300 w 590550"/>
              <a:gd name="connsiteY223" fmla="*/ 323850 h 590550"/>
              <a:gd name="connsiteX224" fmla="*/ 134922 w 590550"/>
              <a:gd name="connsiteY224" fmla="*/ 247650 h 590550"/>
              <a:gd name="connsiteX225" fmla="*/ 87811 w 590550"/>
              <a:gd name="connsiteY225" fmla="*/ 247650 h 590550"/>
              <a:gd name="connsiteX226" fmla="*/ 82058 w 590550"/>
              <a:gd name="connsiteY226" fmla="*/ 224647 h 590550"/>
              <a:gd name="connsiteX227" fmla="*/ 61732 w 590550"/>
              <a:gd name="connsiteY227" fmla="*/ 236849 h 590550"/>
              <a:gd name="connsiteX228" fmla="*/ 10801 w 590550"/>
              <a:gd name="connsiteY228" fmla="*/ 185928 h 590550"/>
              <a:gd name="connsiteX229" fmla="*/ 23012 w 590550"/>
              <a:gd name="connsiteY229" fmla="*/ 165583 h 590550"/>
              <a:gd name="connsiteX230" fmla="*/ 0 w 590550"/>
              <a:gd name="connsiteY230" fmla="*/ 159839 h 590550"/>
              <a:gd name="connsiteX231" fmla="*/ 0 w 590550"/>
              <a:gd name="connsiteY231" fmla="*/ 87811 h 590550"/>
              <a:gd name="connsiteX232" fmla="*/ 23003 w 590550"/>
              <a:gd name="connsiteY232" fmla="*/ 82067 h 590550"/>
              <a:gd name="connsiteX233" fmla="*/ 10801 w 590550"/>
              <a:gd name="connsiteY233" fmla="*/ 61722 h 590550"/>
              <a:gd name="connsiteX234" fmla="*/ 61732 w 590550"/>
              <a:gd name="connsiteY234" fmla="*/ 10811 h 590550"/>
              <a:gd name="connsiteX235" fmla="*/ 82067 w 590550"/>
              <a:gd name="connsiteY235" fmla="*/ 23012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590550" h="590550">
                <a:moveTo>
                  <a:pt x="53679" y="523399"/>
                </a:moveTo>
                <a:lnTo>
                  <a:pt x="67150" y="536870"/>
                </a:lnTo>
                <a:lnTo>
                  <a:pt x="54359" y="549660"/>
                </a:lnTo>
                <a:lnTo>
                  <a:pt x="40889" y="536190"/>
                </a:lnTo>
                <a:close/>
                <a:moveTo>
                  <a:pt x="80615" y="496450"/>
                </a:moveTo>
                <a:lnTo>
                  <a:pt x="94086" y="509921"/>
                </a:lnTo>
                <a:lnTo>
                  <a:pt x="80615" y="523391"/>
                </a:lnTo>
                <a:lnTo>
                  <a:pt x="67145" y="509921"/>
                </a:lnTo>
                <a:close/>
                <a:moveTo>
                  <a:pt x="107561" y="469510"/>
                </a:moveTo>
                <a:lnTo>
                  <a:pt x="121032" y="482981"/>
                </a:lnTo>
                <a:lnTo>
                  <a:pt x="107561" y="496451"/>
                </a:lnTo>
                <a:lnTo>
                  <a:pt x="94091" y="482981"/>
                </a:lnTo>
                <a:close/>
                <a:moveTo>
                  <a:pt x="499605" y="463886"/>
                </a:moveTo>
                <a:cubicBezTo>
                  <a:pt x="494309" y="470401"/>
                  <a:pt x="488651" y="476755"/>
                  <a:pt x="482698" y="482708"/>
                </a:cubicBezTo>
                <a:cubicBezTo>
                  <a:pt x="476735" y="488661"/>
                  <a:pt x="470363" y="494290"/>
                  <a:pt x="463838" y="499586"/>
                </a:cubicBezTo>
                <a:cubicBezTo>
                  <a:pt x="487165" y="514035"/>
                  <a:pt x="505834" y="517541"/>
                  <a:pt x="511673" y="511673"/>
                </a:cubicBezTo>
                <a:cubicBezTo>
                  <a:pt x="517512" y="505825"/>
                  <a:pt x="514025" y="487184"/>
                  <a:pt x="499605" y="463886"/>
                </a:cubicBezTo>
                <a:close/>
                <a:moveTo>
                  <a:pt x="395734" y="463886"/>
                </a:moveTo>
                <a:cubicBezTo>
                  <a:pt x="381314" y="487184"/>
                  <a:pt x="377837" y="505834"/>
                  <a:pt x="383676" y="511673"/>
                </a:cubicBezTo>
                <a:cubicBezTo>
                  <a:pt x="389524" y="517503"/>
                  <a:pt x="408184" y="514016"/>
                  <a:pt x="431491" y="499586"/>
                </a:cubicBezTo>
                <a:cubicBezTo>
                  <a:pt x="424976" y="494290"/>
                  <a:pt x="418604" y="488670"/>
                  <a:pt x="412641" y="482708"/>
                </a:cubicBezTo>
                <a:cubicBezTo>
                  <a:pt x="406688" y="476755"/>
                  <a:pt x="401030" y="470401"/>
                  <a:pt x="395734" y="463886"/>
                </a:cubicBezTo>
                <a:close/>
                <a:moveTo>
                  <a:pt x="104775" y="442093"/>
                </a:moveTo>
                <a:lnTo>
                  <a:pt x="28099" y="518779"/>
                </a:lnTo>
                <a:cubicBezTo>
                  <a:pt x="22260" y="524608"/>
                  <a:pt x="19050" y="532362"/>
                  <a:pt x="19050" y="540620"/>
                </a:cubicBezTo>
                <a:cubicBezTo>
                  <a:pt x="19050" y="557651"/>
                  <a:pt x="32909" y="571500"/>
                  <a:pt x="49940" y="571500"/>
                </a:cubicBezTo>
                <a:cubicBezTo>
                  <a:pt x="58179" y="571500"/>
                  <a:pt x="65942" y="568290"/>
                  <a:pt x="71780" y="562451"/>
                </a:cubicBezTo>
                <a:lnTo>
                  <a:pt x="148457" y="485775"/>
                </a:lnTo>
                <a:close/>
                <a:moveTo>
                  <a:pt x="447675" y="438150"/>
                </a:moveTo>
                <a:cubicBezTo>
                  <a:pt x="452936" y="438150"/>
                  <a:pt x="457200" y="442414"/>
                  <a:pt x="457200" y="447675"/>
                </a:cubicBezTo>
                <a:cubicBezTo>
                  <a:pt x="457200" y="452936"/>
                  <a:pt x="452936" y="457200"/>
                  <a:pt x="447675" y="457200"/>
                </a:cubicBezTo>
                <a:cubicBezTo>
                  <a:pt x="442414" y="457200"/>
                  <a:pt x="438150" y="452936"/>
                  <a:pt x="438150" y="447675"/>
                </a:cubicBezTo>
                <a:cubicBezTo>
                  <a:pt x="438150" y="442414"/>
                  <a:pt x="442414" y="438150"/>
                  <a:pt x="447675" y="438150"/>
                </a:cubicBezTo>
                <a:close/>
                <a:moveTo>
                  <a:pt x="147447" y="418471"/>
                </a:moveTo>
                <a:lnTo>
                  <a:pt x="127768" y="438150"/>
                </a:lnTo>
                <a:lnTo>
                  <a:pt x="152400" y="462782"/>
                </a:lnTo>
                <a:lnTo>
                  <a:pt x="172079" y="443103"/>
                </a:lnTo>
                <a:cubicBezTo>
                  <a:pt x="162954" y="435854"/>
                  <a:pt x="154696" y="427596"/>
                  <a:pt x="147447" y="418471"/>
                </a:cubicBezTo>
                <a:close/>
                <a:moveTo>
                  <a:pt x="447674" y="407079"/>
                </a:moveTo>
                <a:cubicBezTo>
                  <a:pt x="440654" y="412537"/>
                  <a:pt x="433415" y="418814"/>
                  <a:pt x="426119" y="426110"/>
                </a:cubicBezTo>
                <a:cubicBezTo>
                  <a:pt x="418823" y="433406"/>
                  <a:pt x="412470" y="440655"/>
                  <a:pt x="407012" y="447675"/>
                </a:cubicBezTo>
                <a:cubicBezTo>
                  <a:pt x="412470" y="454695"/>
                  <a:pt x="418823" y="461943"/>
                  <a:pt x="426119" y="469239"/>
                </a:cubicBezTo>
                <a:cubicBezTo>
                  <a:pt x="433415" y="476526"/>
                  <a:pt x="440654" y="482879"/>
                  <a:pt x="447674" y="488337"/>
                </a:cubicBezTo>
                <a:cubicBezTo>
                  <a:pt x="454694" y="482879"/>
                  <a:pt x="461933" y="476536"/>
                  <a:pt x="469229" y="469239"/>
                </a:cubicBezTo>
                <a:cubicBezTo>
                  <a:pt x="476525" y="461943"/>
                  <a:pt x="482879" y="454695"/>
                  <a:pt x="488337" y="447675"/>
                </a:cubicBezTo>
                <a:cubicBezTo>
                  <a:pt x="482879" y="440655"/>
                  <a:pt x="476525" y="433406"/>
                  <a:pt x="469229" y="426110"/>
                </a:cubicBezTo>
                <a:cubicBezTo>
                  <a:pt x="461933" y="418814"/>
                  <a:pt x="454694" y="412537"/>
                  <a:pt x="447674" y="407079"/>
                </a:cubicBezTo>
                <a:close/>
                <a:moveTo>
                  <a:pt x="502929" y="380962"/>
                </a:moveTo>
                <a:cubicBezTo>
                  <a:pt x="493994" y="380962"/>
                  <a:pt x="480059" y="385829"/>
                  <a:pt x="463943" y="395783"/>
                </a:cubicBezTo>
                <a:cubicBezTo>
                  <a:pt x="470439" y="401059"/>
                  <a:pt x="476773" y="406708"/>
                  <a:pt x="482707" y="412642"/>
                </a:cubicBezTo>
                <a:cubicBezTo>
                  <a:pt x="488660" y="418595"/>
                  <a:pt x="494318" y="424948"/>
                  <a:pt x="499614" y="431463"/>
                </a:cubicBezTo>
                <a:cubicBezTo>
                  <a:pt x="514025" y="408165"/>
                  <a:pt x="517512" y="389525"/>
                  <a:pt x="511673" y="383676"/>
                </a:cubicBezTo>
                <a:cubicBezTo>
                  <a:pt x="509882" y="381895"/>
                  <a:pt x="506891" y="380962"/>
                  <a:pt x="502929" y="380962"/>
                </a:cubicBezTo>
                <a:close/>
                <a:moveTo>
                  <a:pt x="392420" y="380962"/>
                </a:moveTo>
                <a:cubicBezTo>
                  <a:pt x="388457" y="380962"/>
                  <a:pt x="385467" y="381886"/>
                  <a:pt x="383676" y="383676"/>
                </a:cubicBezTo>
                <a:cubicBezTo>
                  <a:pt x="377837" y="389525"/>
                  <a:pt x="381323" y="408165"/>
                  <a:pt x="395734" y="431463"/>
                </a:cubicBezTo>
                <a:cubicBezTo>
                  <a:pt x="401030" y="424948"/>
                  <a:pt x="406688" y="418595"/>
                  <a:pt x="412641" y="412642"/>
                </a:cubicBezTo>
                <a:cubicBezTo>
                  <a:pt x="418585" y="406708"/>
                  <a:pt x="424910" y="401069"/>
                  <a:pt x="431406" y="395783"/>
                </a:cubicBezTo>
                <a:cubicBezTo>
                  <a:pt x="415299" y="385829"/>
                  <a:pt x="401354" y="380962"/>
                  <a:pt x="392420" y="380962"/>
                </a:cubicBezTo>
                <a:close/>
                <a:moveTo>
                  <a:pt x="510436" y="362623"/>
                </a:moveTo>
                <a:cubicBezTo>
                  <a:pt x="516104" y="363704"/>
                  <a:pt x="521088" y="366155"/>
                  <a:pt x="525141" y="370208"/>
                </a:cubicBezTo>
                <a:cubicBezTo>
                  <a:pt x="541334" y="386410"/>
                  <a:pt x="531932" y="417528"/>
                  <a:pt x="511644" y="447675"/>
                </a:cubicBezTo>
                <a:cubicBezTo>
                  <a:pt x="531932" y="477821"/>
                  <a:pt x="541343" y="508940"/>
                  <a:pt x="525141" y="525142"/>
                </a:cubicBezTo>
                <a:cubicBezTo>
                  <a:pt x="519426" y="530847"/>
                  <a:pt x="511863" y="533390"/>
                  <a:pt x="503138" y="533390"/>
                </a:cubicBezTo>
                <a:cubicBezTo>
                  <a:pt x="487117" y="533390"/>
                  <a:pt x="467191" y="524799"/>
                  <a:pt x="447674" y="511664"/>
                </a:cubicBezTo>
                <a:cubicBezTo>
                  <a:pt x="428158" y="524799"/>
                  <a:pt x="408231" y="533390"/>
                  <a:pt x="392210" y="533390"/>
                </a:cubicBezTo>
                <a:cubicBezTo>
                  <a:pt x="383485" y="533390"/>
                  <a:pt x="375922" y="530857"/>
                  <a:pt x="370207" y="525142"/>
                </a:cubicBezTo>
                <a:cubicBezTo>
                  <a:pt x="354005" y="508940"/>
                  <a:pt x="363416" y="477821"/>
                  <a:pt x="383704" y="447675"/>
                </a:cubicBezTo>
                <a:cubicBezTo>
                  <a:pt x="363416" y="417528"/>
                  <a:pt x="354005" y="386410"/>
                  <a:pt x="370207" y="370208"/>
                </a:cubicBezTo>
                <a:cubicBezTo>
                  <a:pt x="386409" y="354006"/>
                  <a:pt x="417537" y="363417"/>
                  <a:pt x="447674" y="383705"/>
                </a:cubicBezTo>
                <a:cubicBezTo>
                  <a:pt x="470277" y="368482"/>
                  <a:pt x="493432" y="359382"/>
                  <a:pt x="510436" y="362623"/>
                </a:cubicBezTo>
                <a:close/>
                <a:moveTo>
                  <a:pt x="447675" y="323850"/>
                </a:moveTo>
                <a:cubicBezTo>
                  <a:pt x="379400" y="323850"/>
                  <a:pt x="323850" y="379400"/>
                  <a:pt x="323850" y="447675"/>
                </a:cubicBezTo>
                <a:cubicBezTo>
                  <a:pt x="323850" y="515950"/>
                  <a:pt x="379400" y="571500"/>
                  <a:pt x="447675" y="571500"/>
                </a:cubicBezTo>
                <a:cubicBezTo>
                  <a:pt x="515950" y="571500"/>
                  <a:pt x="571500" y="515950"/>
                  <a:pt x="571500" y="447675"/>
                </a:cubicBezTo>
                <a:cubicBezTo>
                  <a:pt x="571500" y="379400"/>
                  <a:pt x="515950" y="323850"/>
                  <a:pt x="447675" y="323850"/>
                </a:cubicBezTo>
                <a:close/>
                <a:moveTo>
                  <a:pt x="304800" y="314325"/>
                </a:moveTo>
                <a:lnTo>
                  <a:pt x="323850" y="314325"/>
                </a:lnTo>
                <a:lnTo>
                  <a:pt x="323850" y="333375"/>
                </a:lnTo>
                <a:lnTo>
                  <a:pt x="304800" y="333375"/>
                </a:lnTo>
                <a:close/>
                <a:moveTo>
                  <a:pt x="266700" y="314325"/>
                </a:moveTo>
                <a:lnTo>
                  <a:pt x="285750" y="314325"/>
                </a:lnTo>
                <a:lnTo>
                  <a:pt x="285750" y="333375"/>
                </a:lnTo>
                <a:lnTo>
                  <a:pt x="266700" y="333375"/>
                </a:lnTo>
                <a:close/>
                <a:moveTo>
                  <a:pt x="228600" y="314325"/>
                </a:moveTo>
                <a:lnTo>
                  <a:pt x="247650" y="314325"/>
                </a:lnTo>
                <a:lnTo>
                  <a:pt x="247650" y="333375"/>
                </a:lnTo>
                <a:lnTo>
                  <a:pt x="228600" y="333375"/>
                </a:lnTo>
                <a:close/>
                <a:moveTo>
                  <a:pt x="190500" y="314325"/>
                </a:moveTo>
                <a:lnTo>
                  <a:pt x="209550" y="314325"/>
                </a:lnTo>
                <a:lnTo>
                  <a:pt x="209550" y="333375"/>
                </a:lnTo>
                <a:lnTo>
                  <a:pt x="190500" y="333375"/>
                </a:lnTo>
                <a:close/>
                <a:moveTo>
                  <a:pt x="372513" y="280702"/>
                </a:moveTo>
                <a:cubicBezTo>
                  <a:pt x="377809" y="293580"/>
                  <a:pt x="380609" y="307343"/>
                  <a:pt x="380905" y="321450"/>
                </a:cubicBezTo>
                <a:cubicBezTo>
                  <a:pt x="386820" y="318306"/>
                  <a:pt x="393030" y="315668"/>
                  <a:pt x="399393" y="313373"/>
                </a:cubicBezTo>
                <a:cubicBezTo>
                  <a:pt x="398621" y="303762"/>
                  <a:pt x="396783" y="294218"/>
                  <a:pt x="393897" y="284845"/>
                </a:cubicBezTo>
                <a:cubicBezTo>
                  <a:pt x="386572" y="284036"/>
                  <a:pt x="379466" y="282569"/>
                  <a:pt x="372513" y="280702"/>
                </a:cubicBezTo>
                <a:close/>
                <a:moveTo>
                  <a:pt x="266700" y="228600"/>
                </a:moveTo>
                <a:cubicBezTo>
                  <a:pt x="214179" y="228600"/>
                  <a:pt x="171450" y="271329"/>
                  <a:pt x="171450" y="323850"/>
                </a:cubicBezTo>
                <a:cubicBezTo>
                  <a:pt x="171450" y="376371"/>
                  <a:pt x="214179" y="419100"/>
                  <a:pt x="266700" y="419100"/>
                </a:cubicBezTo>
                <a:cubicBezTo>
                  <a:pt x="281921" y="419100"/>
                  <a:pt x="296932" y="415233"/>
                  <a:pt x="310477" y="408184"/>
                </a:cubicBezTo>
                <a:cubicBezTo>
                  <a:pt x="319078" y="378343"/>
                  <a:pt x="337147" y="352568"/>
                  <a:pt x="361226" y="334185"/>
                </a:cubicBezTo>
                <a:cubicBezTo>
                  <a:pt x="361664" y="330479"/>
                  <a:pt x="361950" y="327041"/>
                  <a:pt x="361950" y="323850"/>
                </a:cubicBezTo>
                <a:cubicBezTo>
                  <a:pt x="361950" y="304657"/>
                  <a:pt x="356168" y="286207"/>
                  <a:pt x="345300" y="270300"/>
                </a:cubicBezTo>
                <a:cubicBezTo>
                  <a:pt x="328070" y="261576"/>
                  <a:pt x="312811" y="249536"/>
                  <a:pt x="300457" y="234906"/>
                </a:cubicBezTo>
                <a:cubicBezTo>
                  <a:pt x="289598" y="230772"/>
                  <a:pt x="278263" y="228600"/>
                  <a:pt x="266700" y="228600"/>
                </a:cubicBezTo>
                <a:close/>
                <a:moveTo>
                  <a:pt x="266700" y="190500"/>
                </a:moveTo>
                <a:cubicBezTo>
                  <a:pt x="193167" y="190500"/>
                  <a:pt x="133350" y="250317"/>
                  <a:pt x="133350" y="323850"/>
                </a:cubicBezTo>
                <a:cubicBezTo>
                  <a:pt x="133350" y="397383"/>
                  <a:pt x="193167" y="457200"/>
                  <a:pt x="266700" y="457200"/>
                </a:cubicBezTo>
                <a:cubicBezTo>
                  <a:pt x="279559" y="457200"/>
                  <a:pt x="292398" y="455152"/>
                  <a:pt x="304981" y="451333"/>
                </a:cubicBezTo>
                <a:cubicBezTo>
                  <a:pt x="304952" y="450104"/>
                  <a:pt x="304800" y="448913"/>
                  <a:pt x="304800" y="447675"/>
                </a:cubicBezTo>
                <a:cubicBezTo>
                  <a:pt x="304800" y="442017"/>
                  <a:pt x="305219" y="436455"/>
                  <a:pt x="305867" y="430968"/>
                </a:cubicBezTo>
                <a:cubicBezTo>
                  <a:pt x="293322" y="435569"/>
                  <a:pt x="280092" y="438150"/>
                  <a:pt x="266700" y="438150"/>
                </a:cubicBezTo>
                <a:cubicBezTo>
                  <a:pt x="203673" y="438150"/>
                  <a:pt x="152400" y="386877"/>
                  <a:pt x="152400" y="323850"/>
                </a:cubicBezTo>
                <a:cubicBezTo>
                  <a:pt x="152400" y="260823"/>
                  <a:pt x="203673" y="209550"/>
                  <a:pt x="266700" y="209550"/>
                </a:cubicBezTo>
                <a:cubicBezTo>
                  <a:pt x="272539" y="209550"/>
                  <a:pt x="278301" y="210122"/>
                  <a:pt x="284016" y="211007"/>
                </a:cubicBezTo>
                <a:cubicBezTo>
                  <a:pt x="280540" y="204626"/>
                  <a:pt x="277692" y="197891"/>
                  <a:pt x="275206" y="190976"/>
                </a:cubicBezTo>
                <a:cubicBezTo>
                  <a:pt x="272358" y="190786"/>
                  <a:pt x="269424" y="190500"/>
                  <a:pt x="266700" y="190500"/>
                </a:cubicBezTo>
                <a:close/>
                <a:moveTo>
                  <a:pt x="381000" y="142875"/>
                </a:moveTo>
                <a:lnTo>
                  <a:pt x="381000" y="200025"/>
                </a:lnTo>
                <a:lnTo>
                  <a:pt x="400050" y="200025"/>
                </a:lnTo>
                <a:lnTo>
                  <a:pt x="400050" y="142875"/>
                </a:lnTo>
                <a:close/>
                <a:moveTo>
                  <a:pt x="419100" y="123825"/>
                </a:moveTo>
                <a:lnTo>
                  <a:pt x="419100" y="200025"/>
                </a:lnTo>
                <a:lnTo>
                  <a:pt x="438150" y="200025"/>
                </a:lnTo>
                <a:lnTo>
                  <a:pt x="438150" y="123825"/>
                </a:lnTo>
                <a:close/>
                <a:moveTo>
                  <a:pt x="342900" y="104775"/>
                </a:moveTo>
                <a:lnTo>
                  <a:pt x="342900" y="200025"/>
                </a:lnTo>
                <a:lnTo>
                  <a:pt x="361950" y="200025"/>
                </a:lnTo>
                <a:lnTo>
                  <a:pt x="361950" y="104775"/>
                </a:lnTo>
                <a:close/>
                <a:moveTo>
                  <a:pt x="457200" y="85725"/>
                </a:moveTo>
                <a:lnTo>
                  <a:pt x="457200" y="200025"/>
                </a:lnTo>
                <a:lnTo>
                  <a:pt x="476250" y="200025"/>
                </a:lnTo>
                <a:lnTo>
                  <a:pt x="476250" y="85725"/>
                </a:lnTo>
                <a:close/>
                <a:moveTo>
                  <a:pt x="123825" y="76200"/>
                </a:moveTo>
                <a:cubicBezTo>
                  <a:pt x="97565" y="76200"/>
                  <a:pt x="76200" y="97565"/>
                  <a:pt x="76200" y="123825"/>
                </a:cubicBezTo>
                <a:cubicBezTo>
                  <a:pt x="76200" y="150085"/>
                  <a:pt x="97565" y="171450"/>
                  <a:pt x="123825" y="171450"/>
                </a:cubicBezTo>
                <a:cubicBezTo>
                  <a:pt x="150085" y="171450"/>
                  <a:pt x="171450" y="150085"/>
                  <a:pt x="171450" y="123825"/>
                </a:cubicBezTo>
                <a:cubicBezTo>
                  <a:pt x="171450" y="97565"/>
                  <a:pt x="150085" y="76200"/>
                  <a:pt x="123825" y="76200"/>
                </a:cubicBezTo>
                <a:close/>
                <a:moveTo>
                  <a:pt x="438150" y="66675"/>
                </a:moveTo>
                <a:lnTo>
                  <a:pt x="495300" y="66675"/>
                </a:lnTo>
                <a:lnTo>
                  <a:pt x="495300" y="219075"/>
                </a:lnTo>
                <a:lnTo>
                  <a:pt x="323850" y="219075"/>
                </a:lnTo>
                <a:lnTo>
                  <a:pt x="323850" y="85725"/>
                </a:lnTo>
                <a:lnTo>
                  <a:pt x="381000" y="85725"/>
                </a:lnTo>
                <a:lnTo>
                  <a:pt x="381000" y="123825"/>
                </a:lnTo>
                <a:lnTo>
                  <a:pt x="400050" y="123825"/>
                </a:lnTo>
                <a:lnTo>
                  <a:pt x="400050" y="104775"/>
                </a:lnTo>
                <a:lnTo>
                  <a:pt x="438150" y="104775"/>
                </a:lnTo>
                <a:close/>
                <a:moveTo>
                  <a:pt x="123825" y="57150"/>
                </a:moveTo>
                <a:cubicBezTo>
                  <a:pt x="160592" y="57150"/>
                  <a:pt x="190500" y="87068"/>
                  <a:pt x="190500" y="123825"/>
                </a:cubicBezTo>
                <a:cubicBezTo>
                  <a:pt x="190500" y="160582"/>
                  <a:pt x="160592" y="190500"/>
                  <a:pt x="123825" y="190500"/>
                </a:cubicBezTo>
                <a:cubicBezTo>
                  <a:pt x="87059" y="190500"/>
                  <a:pt x="57150" y="160582"/>
                  <a:pt x="57150" y="123825"/>
                </a:cubicBezTo>
                <a:cubicBezTo>
                  <a:pt x="57150" y="87068"/>
                  <a:pt x="87059" y="57150"/>
                  <a:pt x="123825" y="57150"/>
                </a:cubicBezTo>
                <a:close/>
                <a:moveTo>
                  <a:pt x="409575" y="19050"/>
                </a:moveTo>
                <a:cubicBezTo>
                  <a:pt x="341300" y="19050"/>
                  <a:pt x="285750" y="74600"/>
                  <a:pt x="285750" y="142875"/>
                </a:cubicBezTo>
                <a:cubicBezTo>
                  <a:pt x="285750" y="211150"/>
                  <a:pt x="341300" y="266700"/>
                  <a:pt x="409575" y="266700"/>
                </a:cubicBezTo>
                <a:cubicBezTo>
                  <a:pt x="477850" y="266700"/>
                  <a:pt x="533400" y="211150"/>
                  <a:pt x="533400" y="142875"/>
                </a:cubicBezTo>
                <a:cubicBezTo>
                  <a:pt x="533400" y="74600"/>
                  <a:pt x="477850" y="19050"/>
                  <a:pt x="409575" y="19050"/>
                </a:cubicBezTo>
                <a:close/>
                <a:moveTo>
                  <a:pt x="102689" y="19050"/>
                </a:moveTo>
                <a:lnTo>
                  <a:pt x="96860" y="42405"/>
                </a:lnTo>
                <a:lnTo>
                  <a:pt x="85239" y="47130"/>
                </a:lnTo>
                <a:lnTo>
                  <a:pt x="64684" y="34785"/>
                </a:lnTo>
                <a:lnTo>
                  <a:pt x="34795" y="64684"/>
                </a:lnTo>
                <a:lnTo>
                  <a:pt x="47139" y="85249"/>
                </a:lnTo>
                <a:lnTo>
                  <a:pt x="42348" y="96869"/>
                </a:lnTo>
                <a:lnTo>
                  <a:pt x="19050" y="102689"/>
                </a:lnTo>
                <a:lnTo>
                  <a:pt x="19050" y="144961"/>
                </a:lnTo>
                <a:lnTo>
                  <a:pt x="42377" y="150781"/>
                </a:lnTo>
                <a:lnTo>
                  <a:pt x="47139" y="162401"/>
                </a:lnTo>
                <a:lnTo>
                  <a:pt x="34795" y="182966"/>
                </a:lnTo>
                <a:lnTo>
                  <a:pt x="64684" y="212865"/>
                </a:lnTo>
                <a:lnTo>
                  <a:pt x="85239" y="200520"/>
                </a:lnTo>
                <a:lnTo>
                  <a:pt x="96117" y="204940"/>
                </a:lnTo>
                <a:lnTo>
                  <a:pt x="98050" y="210036"/>
                </a:lnTo>
                <a:lnTo>
                  <a:pt x="102689" y="228600"/>
                </a:lnTo>
                <a:lnTo>
                  <a:pt x="147923" y="228600"/>
                </a:lnTo>
                <a:cubicBezTo>
                  <a:pt x="164744" y="207674"/>
                  <a:pt x="186976" y="191357"/>
                  <a:pt x="212455" y="181594"/>
                </a:cubicBezTo>
                <a:lnTo>
                  <a:pt x="200454" y="162506"/>
                </a:lnTo>
                <a:lnTo>
                  <a:pt x="204949" y="151552"/>
                </a:lnTo>
                <a:lnTo>
                  <a:pt x="210036" y="149600"/>
                </a:lnTo>
                <a:lnTo>
                  <a:pt x="228600" y="144961"/>
                </a:lnTo>
                <a:lnTo>
                  <a:pt x="228600" y="102689"/>
                </a:lnTo>
                <a:lnTo>
                  <a:pt x="205302" y="96869"/>
                </a:lnTo>
                <a:lnTo>
                  <a:pt x="200511" y="85249"/>
                </a:lnTo>
                <a:lnTo>
                  <a:pt x="212855" y="64684"/>
                </a:lnTo>
                <a:lnTo>
                  <a:pt x="182966" y="34785"/>
                </a:lnTo>
                <a:lnTo>
                  <a:pt x="162411" y="47130"/>
                </a:lnTo>
                <a:lnTo>
                  <a:pt x="151533" y="42710"/>
                </a:lnTo>
                <a:lnTo>
                  <a:pt x="149600" y="37614"/>
                </a:lnTo>
                <a:lnTo>
                  <a:pt x="144961" y="19050"/>
                </a:lnTo>
                <a:close/>
                <a:moveTo>
                  <a:pt x="87811" y="0"/>
                </a:moveTo>
                <a:lnTo>
                  <a:pt x="159839" y="0"/>
                </a:lnTo>
                <a:lnTo>
                  <a:pt x="165583" y="23003"/>
                </a:lnTo>
                <a:lnTo>
                  <a:pt x="185909" y="10801"/>
                </a:lnTo>
                <a:lnTo>
                  <a:pt x="236839" y="61722"/>
                </a:lnTo>
                <a:lnTo>
                  <a:pt x="224638" y="82067"/>
                </a:lnTo>
                <a:lnTo>
                  <a:pt x="247650" y="87811"/>
                </a:lnTo>
                <a:lnTo>
                  <a:pt x="247650" y="159839"/>
                </a:lnTo>
                <a:lnTo>
                  <a:pt x="224857" y="165535"/>
                </a:lnTo>
                <a:lnTo>
                  <a:pt x="231296" y="175774"/>
                </a:lnTo>
                <a:cubicBezTo>
                  <a:pt x="242678" y="173050"/>
                  <a:pt x="254498" y="171450"/>
                  <a:pt x="266700" y="171450"/>
                </a:cubicBezTo>
                <a:cubicBezTo>
                  <a:pt x="267653" y="171450"/>
                  <a:pt x="268634" y="171517"/>
                  <a:pt x="269596" y="171536"/>
                </a:cubicBezTo>
                <a:cubicBezTo>
                  <a:pt x="267700" y="162268"/>
                  <a:pt x="266700" y="152686"/>
                  <a:pt x="266700" y="142875"/>
                </a:cubicBezTo>
                <a:cubicBezTo>
                  <a:pt x="266700" y="64094"/>
                  <a:pt x="330794" y="0"/>
                  <a:pt x="409575" y="0"/>
                </a:cubicBezTo>
                <a:cubicBezTo>
                  <a:pt x="488356" y="0"/>
                  <a:pt x="552450" y="64094"/>
                  <a:pt x="552450" y="142875"/>
                </a:cubicBezTo>
                <a:cubicBezTo>
                  <a:pt x="552450" y="220180"/>
                  <a:pt x="490699" y="283188"/>
                  <a:pt x="413957" y="285531"/>
                </a:cubicBezTo>
                <a:cubicBezTo>
                  <a:pt x="415890" y="292922"/>
                  <a:pt x="417309" y="300390"/>
                  <a:pt x="418109" y="307915"/>
                </a:cubicBezTo>
                <a:cubicBezTo>
                  <a:pt x="427653" y="305895"/>
                  <a:pt x="437540" y="304800"/>
                  <a:pt x="447675" y="304800"/>
                </a:cubicBezTo>
                <a:cubicBezTo>
                  <a:pt x="526456" y="304800"/>
                  <a:pt x="590550" y="368894"/>
                  <a:pt x="590550" y="447675"/>
                </a:cubicBezTo>
                <a:cubicBezTo>
                  <a:pt x="590550" y="526456"/>
                  <a:pt x="526456" y="590550"/>
                  <a:pt x="447675" y="590550"/>
                </a:cubicBezTo>
                <a:cubicBezTo>
                  <a:pt x="376752" y="590550"/>
                  <a:pt x="317897" y="538544"/>
                  <a:pt x="306829" y="470697"/>
                </a:cubicBezTo>
                <a:cubicBezTo>
                  <a:pt x="293627" y="474345"/>
                  <a:pt x="280178" y="476250"/>
                  <a:pt x="266700" y="476250"/>
                </a:cubicBezTo>
                <a:cubicBezTo>
                  <a:pt x="237887" y="476250"/>
                  <a:pt x="211007" y="468068"/>
                  <a:pt x="188004" y="454114"/>
                </a:cubicBezTo>
                <a:lnTo>
                  <a:pt x="165868" y="476250"/>
                </a:lnTo>
                <a:lnTo>
                  <a:pt x="175393" y="485775"/>
                </a:lnTo>
                <a:lnTo>
                  <a:pt x="85249" y="575929"/>
                </a:lnTo>
                <a:cubicBezTo>
                  <a:pt x="75809" y="585359"/>
                  <a:pt x="63265" y="590550"/>
                  <a:pt x="49940" y="590550"/>
                </a:cubicBezTo>
                <a:cubicBezTo>
                  <a:pt x="22403" y="590550"/>
                  <a:pt x="0" y="568147"/>
                  <a:pt x="0" y="540620"/>
                </a:cubicBezTo>
                <a:cubicBezTo>
                  <a:pt x="0" y="527266"/>
                  <a:pt x="5191" y="514731"/>
                  <a:pt x="14630" y="505301"/>
                </a:cubicBezTo>
                <a:lnTo>
                  <a:pt x="104775" y="415157"/>
                </a:lnTo>
                <a:lnTo>
                  <a:pt x="114300" y="424682"/>
                </a:lnTo>
                <a:lnTo>
                  <a:pt x="136436" y="402536"/>
                </a:lnTo>
                <a:cubicBezTo>
                  <a:pt x="122482" y="379533"/>
                  <a:pt x="114300" y="352663"/>
                  <a:pt x="114300" y="323850"/>
                </a:cubicBezTo>
                <a:cubicBezTo>
                  <a:pt x="114300" y="296075"/>
                  <a:pt x="121891" y="270100"/>
                  <a:pt x="134922" y="247650"/>
                </a:cubicBezTo>
                <a:lnTo>
                  <a:pt x="87811" y="247650"/>
                </a:lnTo>
                <a:lnTo>
                  <a:pt x="82058" y="224647"/>
                </a:lnTo>
                <a:lnTo>
                  <a:pt x="61732" y="236849"/>
                </a:lnTo>
                <a:lnTo>
                  <a:pt x="10801" y="185928"/>
                </a:lnTo>
                <a:lnTo>
                  <a:pt x="23012" y="165583"/>
                </a:lnTo>
                <a:lnTo>
                  <a:pt x="0" y="159839"/>
                </a:lnTo>
                <a:lnTo>
                  <a:pt x="0" y="87811"/>
                </a:lnTo>
                <a:lnTo>
                  <a:pt x="23003" y="82067"/>
                </a:lnTo>
                <a:lnTo>
                  <a:pt x="10801" y="61722"/>
                </a:lnTo>
                <a:lnTo>
                  <a:pt x="61732" y="10811"/>
                </a:lnTo>
                <a:lnTo>
                  <a:pt x="82067" y="23012"/>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8B5BF4D3-E067-B00A-5BC3-96B18B148CFB}"/>
              </a:ext>
            </a:extLst>
          </p:cNvPr>
          <p:cNvSpPr>
            <a:spLocks noChangeAspect="1"/>
          </p:cNvSpPr>
          <p:nvPr/>
        </p:nvSpPr>
        <p:spPr>
          <a:xfrm>
            <a:off x="8019204" y="3056133"/>
            <a:ext cx="450648" cy="450572"/>
          </a:xfrm>
          <a:custGeom>
            <a:avLst/>
            <a:gdLst>
              <a:gd name="connsiteX0" fmla="*/ 2470080 w 3708628"/>
              <a:gd name="connsiteY0" fmla="*/ 3075137 h 3707999"/>
              <a:gd name="connsiteX1" fmla="*/ 2531869 w 3708628"/>
              <a:gd name="connsiteY1" fmla="*/ 3322294 h 3707999"/>
              <a:gd name="connsiteX2" fmla="*/ 2412037 w 3708628"/>
              <a:gd name="connsiteY2" fmla="*/ 3352253 h 3707999"/>
              <a:gd name="connsiteX3" fmla="*/ 2350248 w 3708628"/>
              <a:gd name="connsiteY3" fmla="*/ 3105095 h 3707999"/>
              <a:gd name="connsiteX4" fmla="*/ 2561464 w 3708628"/>
              <a:gd name="connsiteY4" fmla="*/ 2911221 h 3707999"/>
              <a:gd name="connsiteX5" fmla="*/ 2808620 w 3708628"/>
              <a:gd name="connsiteY5" fmla="*/ 3034798 h 3707999"/>
              <a:gd name="connsiteX6" fmla="*/ 2753354 w 3708628"/>
              <a:gd name="connsiteY6" fmla="*/ 3145333 h 3707999"/>
              <a:gd name="connsiteX7" fmla="*/ 2506196 w 3708628"/>
              <a:gd name="connsiteY7" fmla="*/ 3021755 h 3707999"/>
              <a:gd name="connsiteX8" fmla="*/ 500884 w 3708628"/>
              <a:gd name="connsiteY8" fmla="*/ 2904721 h 3707999"/>
              <a:gd name="connsiteX9" fmla="*/ 566382 w 3708628"/>
              <a:gd name="connsiteY9" fmla="*/ 3578239 h 3707999"/>
              <a:gd name="connsiteX10" fmla="*/ 927240 w 3708628"/>
              <a:gd name="connsiteY10" fmla="*/ 3584419 h 3707999"/>
              <a:gd name="connsiteX11" fmla="*/ 755400 w 3708628"/>
              <a:gd name="connsiteY11" fmla="*/ 2904721 h 3707999"/>
              <a:gd name="connsiteX12" fmla="*/ 865450 w 3708628"/>
              <a:gd name="connsiteY12" fmla="*/ 2533976 h 3707999"/>
              <a:gd name="connsiteX13" fmla="*/ 1112614 w 3708628"/>
              <a:gd name="connsiteY13" fmla="*/ 2533976 h 3707999"/>
              <a:gd name="connsiteX14" fmla="*/ 1112614 w 3708628"/>
              <a:gd name="connsiteY14" fmla="*/ 2657556 h 3707999"/>
              <a:gd name="connsiteX15" fmla="*/ 865450 w 3708628"/>
              <a:gd name="connsiteY15" fmla="*/ 2657556 h 3707999"/>
              <a:gd name="connsiteX16" fmla="*/ 3255061 w 3708628"/>
              <a:gd name="connsiteY16" fmla="*/ 2287112 h 3707999"/>
              <a:gd name="connsiteX17" fmla="*/ 3214734 w 3708628"/>
              <a:gd name="connsiteY17" fmla="*/ 2297193 h 3707999"/>
              <a:gd name="connsiteX18" fmla="*/ 3113644 w 3708628"/>
              <a:gd name="connsiteY18" fmla="*/ 2364548 h 3707999"/>
              <a:gd name="connsiteX19" fmla="*/ 3045056 w 3708628"/>
              <a:gd name="connsiteY19" fmla="*/ 2364548 h 3707999"/>
              <a:gd name="connsiteX20" fmla="*/ 2944029 w 3708628"/>
              <a:gd name="connsiteY20" fmla="*/ 2297193 h 3707999"/>
              <a:gd name="connsiteX21" fmla="*/ 2866049 w 3708628"/>
              <a:gd name="connsiteY21" fmla="*/ 2304918 h 3707999"/>
              <a:gd name="connsiteX22" fmla="*/ 2839663 w 3708628"/>
              <a:gd name="connsiteY22" fmla="*/ 2331302 h 3707999"/>
              <a:gd name="connsiteX23" fmla="*/ 2839663 w 3708628"/>
              <a:gd name="connsiteY23" fmla="*/ 2418676 h 3707999"/>
              <a:gd name="connsiteX24" fmla="*/ 3079289 w 3708628"/>
              <a:gd name="connsiteY24" fmla="*/ 2658053 h 3707999"/>
              <a:gd name="connsiteX25" fmla="*/ 3318975 w 3708628"/>
              <a:gd name="connsiteY25" fmla="*/ 2418429 h 3707999"/>
              <a:gd name="connsiteX26" fmla="*/ 3319024 w 3708628"/>
              <a:gd name="connsiteY26" fmla="*/ 2418380 h 3707999"/>
              <a:gd name="connsiteX27" fmla="*/ 3318975 w 3708628"/>
              <a:gd name="connsiteY27" fmla="*/ 2330993 h 3707999"/>
              <a:gd name="connsiteX28" fmla="*/ 3292651 w 3708628"/>
              <a:gd name="connsiteY28" fmla="*/ 2304609 h 3707999"/>
              <a:gd name="connsiteX29" fmla="*/ 3292651 w 3708628"/>
              <a:gd name="connsiteY29" fmla="*/ 2304856 h 3707999"/>
              <a:gd name="connsiteX30" fmla="*/ 3255061 w 3708628"/>
              <a:gd name="connsiteY30" fmla="*/ 2287112 h 3707999"/>
              <a:gd name="connsiteX31" fmla="*/ 865450 w 3708628"/>
              <a:gd name="connsiteY31" fmla="*/ 2286813 h 3707999"/>
              <a:gd name="connsiteX32" fmla="*/ 1112614 w 3708628"/>
              <a:gd name="connsiteY32" fmla="*/ 2286813 h 3707999"/>
              <a:gd name="connsiteX33" fmla="*/ 1112614 w 3708628"/>
              <a:gd name="connsiteY33" fmla="*/ 2410394 h 3707999"/>
              <a:gd name="connsiteX34" fmla="*/ 865450 w 3708628"/>
              <a:gd name="connsiteY34" fmla="*/ 2410394 h 3707999"/>
              <a:gd name="connsiteX35" fmla="*/ 2163055 w 3708628"/>
              <a:gd name="connsiteY35" fmla="*/ 2225021 h 3707999"/>
              <a:gd name="connsiteX36" fmla="*/ 2163055 w 3708628"/>
              <a:gd name="connsiteY36" fmla="*/ 2719348 h 3707999"/>
              <a:gd name="connsiteX37" fmla="*/ 2286637 w 3708628"/>
              <a:gd name="connsiteY37" fmla="*/ 2595766 h 3707999"/>
              <a:gd name="connsiteX38" fmla="*/ 2286637 w 3708628"/>
              <a:gd name="connsiteY38" fmla="*/ 2348603 h 3707999"/>
              <a:gd name="connsiteX39" fmla="*/ 2163055 w 3708628"/>
              <a:gd name="connsiteY39" fmla="*/ 2225021 h 3707999"/>
              <a:gd name="connsiteX40" fmla="*/ 371124 w 3708628"/>
              <a:gd name="connsiteY40" fmla="*/ 2169410 h 3707999"/>
              <a:gd name="connsiteX41" fmla="*/ 129830 w 3708628"/>
              <a:gd name="connsiteY41" fmla="*/ 2410703 h 3707999"/>
              <a:gd name="connsiteX42" fmla="*/ 371124 w 3708628"/>
              <a:gd name="connsiteY42" fmla="*/ 2774959 h 3707999"/>
              <a:gd name="connsiteX43" fmla="*/ 2891438 w 3708628"/>
              <a:gd name="connsiteY43" fmla="*/ 2164045 h 3707999"/>
              <a:gd name="connsiteX44" fmla="*/ 3012493 w 3708628"/>
              <a:gd name="connsiteY44" fmla="*/ 2194127 h 3707999"/>
              <a:gd name="connsiteX45" fmla="*/ 3079289 w 3708628"/>
              <a:gd name="connsiteY45" fmla="*/ 2238678 h 3707999"/>
              <a:gd name="connsiteX46" fmla="*/ 3146084 w 3708628"/>
              <a:gd name="connsiteY46" fmla="*/ 2194127 h 3707999"/>
              <a:gd name="connsiteX47" fmla="*/ 3379963 w 3708628"/>
              <a:gd name="connsiteY47" fmla="*/ 2217237 h 3707999"/>
              <a:gd name="connsiteX48" fmla="*/ 3406286 w 3708628"/>
              <a:gd name="connsiteY48" fmla="*/ 2243684 h 3707999"/>
              <a:gd name="connsiteX49" fmla="*/ 3406286 w 3708628"/>
              <a:gd name="connsiteY49" fmla="*/ 2505801 h 3707999"/>
              <a:gd name="connsiteX50" fmla="*/ 3122913 w 3708628"/>
              <a:gd name="connsiteY50" fmla="*/ 2789112 h 3707999"/>
              <a:gd name="connsiteX51" fmla="*/ 3035541 w 3708628"/>
              <a:gd name="connsiteY51" fmla="*/ 2789112 h 3707999"/>
              <a:gd name="connsiteX52" fmla="*/ 2752168 w 3708628"/>
              <a:gd name="connsiteY52" fmla="*/ 2505801 h 3707999"/>
              <a:gd name="connsiteX53" fmla="*/ 2752168 w 3708628"/>
              <a:gd name="connsiteY53" fmla="*/ 2243684 h 3707999"/>
              <a:gd name="connsiteX54" fmla="*/ 2778614 w 3708628"/>
              <a:gd name="connsiteY54" fmla="*/ 2217237 h 3707999"/>
              <a:gd name="connsiteX55" fmla="*/ 2891438 w 3708628"/>
              <a:gd name="connsiteY55" fmla="*/ 2164045 h 3707999"/>
              <a:gd name="connsiteX56" fmla="*/ 494705 w 3708628"/>
              <a:gd name="connsiteY56" fmla="*/ 2163231 h 3707999"/>
              <a:gd name="connsiteX57" fmla="*/ 494705 w 3708628"/>
              <a:gd name="connsiteY57" fmla="*/ 2781138 h 3707999"/>
              <a:gd name="connsiteX58" fmla="*/ 618287 w 3708628"/>
              <a:gd name="connsiteY58" fmla="*/ 2781138 h 3707999"/>
              <a:gd name="connsiteX59" fmla="*/ 618287 w 3708628"/>
              <a:gd name="connsiteY59" fmla="*/ 2163231 h 3707999"/>
              <a:gd name="connsiteX60" fmla="*/ 1730520 w 3708628"/>
              <a:gd name="connsiteY60" fmla="*/ 1981195 h 3707999"/>
              <a:gd name="connsiteX61" fmla="*/ 1441278 w 3708628"/>
              <a:gd name="connsiteY61" fmla="*/ 2077589 h 3707999"/>
              <a:gd name="connsiteX62" fmla="*/ 913709 w 3708628"/>
              <a:gd name="connsiteY62" fmla="*/ 2163231 h 3707999"/>
              <a:gd name="connsiteX63" fmla="*/ 741869 w 3708628"/>
              <a:gd name="connsiteY63" fmla="*/ 2163231 h 3707999"/>
              <a:gd name="connsiteX64" fmla="*/ 741869 w 3708628"/>
              <a:gd name="connsiteY64" fmla="*/ 2781138 h 3707999"/>
              <a:gd name="connsiteX65" fmla="*/ 913709 w 3708628"/>
              <a:gd name="connsiteY65" fmla="*/ 2781138 h 3707999"/>
              <a:gd name="connsiteX66" fmla="*/ 1441278 w 3708628"/>
              <a:gd name="connsiteY66" fmla="*/ 2866781 h 3707999"/>
              <a:gd name="connsiteX67" fmla="*/ 1730520 w 3708628"/>
              <a:gd name="connsiteY67" fmla="*/ 2963175 h 3707999"/>
              <a:gd name="connsiteX68" fmla="*/ 2039474 w 3708628"/>
              <a:gd name="connsiteY68" fmla="*/ 1878191 h 3707999"/>
              <a:gd name="connsiteX69" fmla="*/ 1854102 w 3708628"/>
              <a:gd name="connsiteY69" fmla="*/ 1939981 h 3707999"/>
              <a:gd name="connsiteX70" fmla="*/ 1854102 w 3708628"/>
              <a:gd name="connsiteY70" fmla="*/ 3004389 h 3707999"/>
              <a:gd name="connsiteX71" fmla="*/ 2039474 w 3708628"/>
              <a:gd name="connsiteY71" fmla="*/ 3066179 h 3707999"/>
              <a:gd name="connsiteX72" fmla="*/ 2753359 w 3708628"/>
              <a:gd name="connsiteY72" fmla="*/ 1860802 h 3707999"/>
              <a:gd name="connsiteX73" fmla="*/ 2808625 w 3708628"/>
              <a:gd name="connsiteY73" fmla="*/ 1971336 h 3707999"/>
              <a:gd name="connsiteX74" fmla="*/ 2561469 w 3708628"/>
              <a:gd name="connsiteY74" fmla="*/ 2094913 h 3707999"/>
              <a:gd name="connsiteX75" fmla="*/ 2506201 w 3708628"/>
              <a:gd name="connsiteY75" fmla="*/ 1984379 h 3707999"/>
              <a:gd name="connsiteX76" fmla="*/ 2412123 w 3708628"/>
              <a:gd name="connsiteY76" fmla="*/ 1653966 h 3707999"/>
              <a:gd name="connsiteX77" fmla="*/ 2531947 w 3708628"/>
              <a:gd name="connsiteY77" fmla="*/ 1683953 h 3707999"/>
              <a:gd name="connsiteX78" fmla="*/ 2470097 w 3708628"/>
              <a:gd name="connsiteY78" fmla="*/ 1931094 h 3707999"/>
              <a:gd name="connsiteX79" fmla="*/ 2350274 w 3708628"/>
              <a:gd name="connsiteY79" fmla="*/ 1901108 h 3707999"/>
              <a:gd name="connsiteX80" fmla="*/ 803658 w 3708628"/>
              <a:gd name="connsiteY80" fmla="*/ 1174578 h 3707999"/>
              <a:gd name="connsiteX81" fmla="*/ 803658 w 3708628"/>
              <a:gd name="connsiteY81" fmla="*/ 1730696 h 3707999"/>
              <a:gd name="connsiteX82" fmla="*/ 927240 w 3708628"/>
              <a:gd name="connsiteY82" fmla="*/ 1730696 h 3707999"/>
              <a:gd name="connsiteX83" fmla="*/ 927240 w 3708628"/>
              <a:gd name="connsiteY83" fmla="*/ 1174578 h 3707999"/>
              <a:gd name="connsiteX84" fmla="*/ 1297986 w 3708628"/>
              <a:gd name="connsiteY84" fmla="*/ 803833 h 3707999"/>
              <a:gd name="connsiteX85" fmla="*/ 1236194 w 3708628"/>
              <a:gd name="connsiteY85" fmla="*/ 865624 h 3707999"/>
              <a:gd name="connsiteX86" fmla="*/ 1236194 w 3708628"/>
              <a:gd name="connsiteY86" fmla="*/ 1050996 h 3707999"/>
              <a:gd name="connsiteX87" fmla="*/ 1050822 w 3708628"/>
              <a:gd name="connsiteY87" fmla="*/ 1236369 h 3707999"/>
              <a:gd name="connsiteX88" fmla="*/ 1050822 w 3708628"/>
              <a:gd name="connsiteY88" fmla="*/ 1668904 h 3707999"/>
              <a:gd name="connsiteX89" fmla="*/ 1606939 w 3708628"/>
              <a:gd name="connsiteY89" fmla="*/ 1668904 h 3707999"/>
              <a:gd name="connsiteX90" fmla="*/ 1668730 w 3708628"/>
              <a:gd name="connsiteY90" fmla="*/ 1607113 h 3707999"/>
              <a:gd name="connsiteX91" fmla="*/ 1668730 w 3708628"/>
              <a:gd name="connsiteY91" fmla="*/ 1298161 h 3707999"/>
              <a:gd name="connsiteX92" fmla="*/ 1606939 w 3708628"/>
              <a:gd name="connsiteY92" fmla="*/ 1236369 h 3707999"/>
              <a:gd name="connsiteX93" fmla="*/ 1545149 w 3708628"/>
              <a:gd name="connsiteY93" fmla="*/ 1236369 h 3707999"/>
              <a:gd name="connsiteX94" fmla="*/ 1359777 w 3708628"/>
              <a:gd name="connsiteY94" fmla="*/ 1050996 h 3707999"/>
              <a:gd name="connsiteX95" fmla="*/ 1359777 w 3708628"/>
              <a:gd name="connsiteY95" fmla="*/ 865624 h 3707999"/>
              <a:gd name="connsiteX96" fmla="*/ 1297986 w 3708628"/>
              <a:gd name="connsiteY96" fmla="*/ 803833 h 3707999"/>
              <a:gd name="connsiteX97" fmla="*/ 2780964 w 3708628"/>
              <a:gd name="connsiteY97" fmla="*/ 733948 h 3707999"/>
              <a:gd name="connsiteX98" fmla="*/ 2780964 w 3708628"/>
              <a:gd name="connsiteY98" fmla="*/ 997301 h 3707999"/>
              <a:gd name="connsiteX99" fmla="*/ 2978695 w 3708628"/>
              <a:gd name="connsiteY99" fmla="*/ 865624 h 3707999"/>
              <a:gd name="connsiteX100" fmla="*/ 1297986 w 3708628"/>
              <a:gd name="connsiteY100" fmla="*/ 680253 h 3707999"/>
              <a:gd name="connsiteX101" fmla="*/ 1483357 w 3708628"/>
              <a:gd name="connsiteY101" fmla="*/ 865624 h 3707999"/>
              <a:gd name="connsiteX102" fmla="*/ 1483357 w 3708628"/>
              <a:gd name="connsiteY102" fmla="*/ 1050996 h 3707999"/>
              <a:gd name="connsiteX103" fmla="*/ 1545149 w 3708628"/>
              <a:gd name="connsiteY103" fmla="*/ 1112788 h 3707999"/>
              <a:gd name="connsiteX104" fmla="*/ 1606939 w 3708628"/>
              <a:gd name="connsiteY104" fmla="*/ 1112788 h 3707999"/>
              <a:gd name="connsiteX105" fmla="*/ 1792312 w 3708628"/>
              <a:gd name="connsiteY105" fmla="*/ 1298161 h 3707999"/>
              <a:gd name="connsiteX106" fmla="*/ 1792312 w 3708628"/>
              <a:gd name="connsiteY106" fmla="*/ 1607113 h 3707999"/>
              <a:gd name="connsiteX107" fmla="*/ 1606939 w 3708628"/>
              <a:gd name="connsiteY107" fmla="*/ 1792486 h 3707999"/>
              <a:gd name="connsiteX108" fmla="*/ 1050822 w 3708628"/>
              <a:gd name="connsiteY108" fmla="*/ 1792486 h 3707999"/>
              <a:gd name="connsiteX109" fmla="*/ 989030 w 3708628"/>
              <a:gd name="connsiteY109" fmla="*/ 1854276 h 3707999"/>
              <a:gd name="connsiteX110" fmla="*/ 741867 w 3708628"/>
              <a:gd name="connsiteY110" fmla="*/ 1854276 h 3707999"/>
              <a:gd name="connsiteX111" fmla="*/ 680077 w 3708628"/>
              <a:gd name="connsiteY111" fmla="*/ 1792486 h 3707999"/>
              <a:gd name="connsiteX112" fmla="*/ 680077 w 3708628"/>
              <a:gd name="connsiteY112" fmla="*/ 1112788 h 3707999"/>
              <a:gd name="connsiteX113" fmla="*/ 741867 w 3708628"/>
              <a:gd name="connsiteY113" fmla="*/ 1050996 h 3707999"/>
              <a:gd name="connsiteX114" fmla="*/ 989030 w 3708628"/>
              <a:gd name="connsiteY114" fmla="*/ 1050996 h 3707999"/>
              <a:gd name="connsiteX115" fmla="*/ 1050822 w 3708628"/>
              <a:gd name="connsiteY115" fmla="*/ 1112788 h 3707999"/>
              <a:gd name="connsiteX116" fmla="*/ 1112614 w 3708628"/>
              <a:gd name="connsiteY116" fmla="*/ 1050996 h 3707999"/>
              <a:gd name="connsiteX117" fmla="*/ 1112614 w 3708628"/>
              <a:gd name="connsiteY117" fmla="*/ 865624 h 3707999"/>
              <a:gd name="connsiteX118" fmla="*/ 1297986 w 3708628"/>
              <a:gd name="connsiteY118" fmla="*/ 680253 h 3707999"/>
              <a:gd name="connsiteX119" fmla="*/ 2730764 w 3708628"/>
              <a:gd name="connsiteY119" fmla="*/ 557743 h 3707999"/>
              <a:gd name="connsiteX120" fmla="*/ 2753465 w 3708628"/>
              <a:gd name="connsiteY120" fmla="*/ 567051 h 3707999"/>
              <a:gd name="connsiteX121" fmla="*/ 3124212 w 3708628"/>
              <a:gd name="connsiteY121" fmla="*/ 814214 h 3707999"/>
              <a:gd name="connsiteX122" fmla="*/ 3141341 w 3708628"/>
              <a:gd name="connsiteY122" fmla="*/ 831342 h 3707999"/>
              <a:gd name="connsiteX123" fmla="*/ 3124212 w 3708628"/>
              <a:gd name="connsiteY123" fmla="*/ 917034 h 3707999"/>
              <a:gd name="connsiteX124" fmla="*/ 2753465 w 3708628"/>
              <a:gd name="connsiteY124" fmla="*/ 1164198 h 3707999"/>
              <a:gd name="connsiteX125" fmla="*/ 2690006 w 3708628"/>
              <a:gd name="connsiteY125" fmla="*/ 1167286 h 3707999"/>
              <a:gd name="connsiteX126" fmla="*/ 2657382 w 3708628"/>
              <a:gd name="connsiteY126" fmla="*/ 1112788 h 3707999"/>
              <a:gd name="connsiteX127" fmla="*/ 2657382 w 3708628"/>
              <a:gd name="connsiteY127" fmla="*/ 618461 h 3707999"/>
              <a:gd name="connsiteX128" fmla="*/ 2667774 w 3708628"/>
              <a:gd name="connsiteY128" fmla="*/ 584161 h 3707999"/>
              <a:gd name="connsiteX129" fmla="*/ 2707077 w 3708628"/>
              <a:gd name="connsiteY129" fmla="*/ 557856 h 3707999"/>
              <a:gd name="connsiteX130" fmla="*/ 2730764 w 3708628"/>
              <a:gd name="connsiteY130" fmla="*/ 557743 h 3707999"/>
              <a:gd name="connsiteX131" fmla="*/ 2842754 w 3708628"/>
              <a:gd name="connsiteY131" fmla="*/ 433088 h 3707999"/>
              <a:gd name="connsiteX132" fmla="*/ 2410218 w 3708628"/>
              <a:gd name="connsiteY132" fmla="*/ 865625 h 3707999"/>
              <a:gd name="connsiteX133" fmla="*/ 2842754 w 3708628"/>
              <a:gd name="connsiteY133" fmla="*/ 1298161 h 3707999"/>
              <a:gd name="connsiteX134" fmla="*/ 3275290 w 3708628"/>
              <a:gd name="connsiteY134" fmla="*/ 865625 h 3707999"/>
              <a:gd name="connsiteX135" fmla="*/ 2842754 w 3708628"/>
              <a:gd name="connsiteY135" fmla="*/ 433088 h 3707999"/>
              <a:gd name="connsiteX136" fmla="*/ 2842754 w 3708628"/>
              <a:gd name="connsiteY136" fmla="*/ 309508 h 3707999"/>
              <a:gd name="connsiteX137" fmla="*/ 3398872 w 3708628"/>
              <a:gd name="connsiteY137" fmla="*/ 865625 h 3707999"/>
              <a:gd name="connsiteX138" fmla="*/ 2842754 w 3708628"/>
              <a:gd name="connsiteY138" fmla="*/ 1421743 h 3707999"/>
              <a:gd name="connsiteX139" fmla="*/ 2286637 w 3708628"/>
              <a:gd name="connsiteY139" fmla="*/ 865625 h 3707999"/>
              <a:gd name="connsiteX140" fmla="*/ 2842754 w 3708628"/>
              <a:gd name="connsiteY140" fmla="*/ 309508 h 3707999"/>
              <a:gd name="connsiteX141" fmla="*/ 2822473 w 3708628"/>
              <a:gd name="connsiteY141" fmla="*/ 122776 h 3707999"/>
              <a:gd name="connsiteX142" fmla="*/ 2269829 w 3708628"/>
              <a:gd name="connsiteY142" fmla="*/ 395150 h 3707999"/>
              <a:gd name="connsiteX143" fmla="*/ 1684796 w 3708628"/>
              <a:gd name="connsiteY143" fmla="*/ 592509 h 3707999"/>
              <a:gd name="connsiteX144" fmla="*/ 1555881 w 3708628"/>
              <a:gd name="connsiteY144" fmla="*/ 565847 h 3707999"/>
              <a:gd name="connsiteX145" fmla="*/ 441937 w 3708628"/>
              <a:gd name="connsiteY145" fmla="*/ 1409384 h 3707999"/>
              <a:gd name="connsiteX146" fmla="*/ 566691 w 3708628"/>
              <a:gd name="connsiteY146" fmla="*/ 2039649 h 3707999"/>
              <a:gd name="connsiteX147" fmla="*/ 913709 w 3708628"/>
              <a:gd name="connsiteY147" fmla="*/ 2039649 h 3707999"/>
              <a:gd name="connsiteX148" fmla="*/ 1402041 w 3708628"/>
              <a:gd name="connsiteY148" fmla="*/ 1960372 h 3707999"/>
              <a:gd name="connsiteX149" fmla="*/ 2081739 w 3708628"/>
              <a:gd name="connsiteY149" fmla="*/ 1733846 h 3707999"/>
              <a:gd name="connsiteX150" fmla="*/ 2101276 w 3708628"/>
              <a:gd name="connsiteY150" fmla="*/ 1730684 h 3707999"/>
              <a:gd name="connsiteX151" fmla="*/ 2163055 w 3708628"/>
              <a:gd name="connsiteY151" fmla="*/ 1792486 h 3707999"/>
              <a:gd name="connsiteX152" fmla="*/ 2163055 w 3708628"/>
              <a:gd name="connsiteY152" fmla="*/ 2101441 h 3707999"/>
              <a:gd name="connsiteX153" fmla="*/ 2410219 w 3708628"/>
              <a:gd name="connsiteY153" fmla="*/ 2348603 h 3707999"/>
              <a:gd name="connsiteX154" fmla="*/ 2410219 w 3708628"/>
              <a:gd name="connsiteY154" fmla="*/ 2595766 h 3707999"/>
              <a:gd name="connsiteX155" fmla="*/ 2163055 w 3708628"/>
              <a:gd name="connsiteY155" fmla="*/ 2842929 h 3707999"/>
              <a:gd name="connsiteX156" fmla="*/ 2163055 w 3708628"/>
              <a:gd name="connsiteY156" fmla="*/ 3151883 h 3707999"/>
              <a:gd name="connsiteX157" fmla="*/ 2101265 w 3708628"/>
              <a:gd name="connsiteY157" fmla="*/ 3213674 h 3707999"/>
              <a:gd name="connsiteX158" fmla="*/ 2081925 w 3708628"/>
              <a:gd name="connsiteY158" fmla="*/ 3210461 h 3707999"/>
              <a:gd name="connsiteX159" fmla="*/ 1402225 w 3708628"/>
              <a:gd name="connsiteY159" fmla="*/ 2983935 h 3707999"/>
              <a:gd name="connsiteX160" fmla="*/ 1270178 w 3708628"/>
              <a:gd name="connsiteY160" fmla="*/ 2946862 h 3707999"/>
              <a:gd name="connsiteX161" fmla="*/ 2251528 w 3708628"/>
              <a:gd name="connsiteY161" fmla="*/ 3580427 h 3707999"/>
              <a:gd name="connsiteX162" fmla="*/ 3580227 w 3708628"/>
              <a:gd name="connsiteY162" fmla="*/ 2449384 h 3707999"/>
              <a:gd name="connsiteX163" fmla="*/ 3396461 w 3708628"/>
              <a:gd name="connsiteY163" fmla="*/ 1695043 h 3707999"/>
              <a:gd name="connsiteX164" fmla="*/ 3418398 w 3708628"/>
              <a:gd name="connsiteY164" fmla="*/ 1331960 h 3707999"/>
              <a:gd name="connsiteX165" fmla="*/ 3312518 w 3708628"/>
              <a:gd name="connsiteY165" fmla="*/ 289271 h 3707999"/>
              <a:gd name="connsiteX166" fmla="*/ 2911437 w 3708628"/>
              <a:gd name="connsiteY166" fmla="*/ 125460 h 3707999"/>
              <a:gd name="connsiteX167" fmla="*/ 2822473 w 3708628"/>
              <a:gd name="connsiteY167" fmla="*/ 122776 h 3707999"/>
              <a:gd name="connsiteX168" fmla="*/ 2806042 w 3708628"/>
              <a:gd name="connsiteY168" fmla="*/ 851 h 3707999"/>
              <a:gd name="connsiteX169" fmla="*/ 2892928 w 3708628"/>
              <a:gd name="connsiteY169" fmla="*/ 1367 h 3707999"/>
              <a:gd name="connsiteX170" fmla="*/ 3699235 w 3708628"/>
              <a:gd name="connsiteY170" fmla="*/ 739758 h 3707999"/>
              <a:gd name="connsiteX171" fmla="*/ 3514604 w 3708628"/>
              <a:gd name="connsiteY171" fmla="*/ 1410124 h 3707999"/>
              <a:gd name="connsiteX172" fmla="*/ 3501567 w 3708628"/>
              <a:gd name="connsiteY172" fmla="*/ 1629545 h 3707999"/>
              <a:gd name="connsiteX173" fmla="*/ 3703808 w 3708628"/>
              <a:gd name="connsiteY173" fmla="*/ 2459332 h 3707999"/>
              <a:gd name="connsiteX174" fmla="*/ 2474172 w 3708628"/>
              <a:gd name="connsiteY174" fmla="*/ 3702501 h 3707999"/>
              <a:gd name="connsiteX175" fmla="*/ 2350591 w 3708628"/>
              <a:gd name="connsiteY175" fmla="*/ 3707999 h 3707999"/>
              <a:gd name="connsiteX176" fmla="*/ 1118173 w 3708628"/>
              <a:gd name="connsiteY176" fmla="*/ 2919425 h 3707999"/>
              <a:gd name="connsiteX177" fmla="*/ 913893 w 3708628"/>
              <a:gd name="connsiteY177" fmla="*/ 2904721 h 3707999"/>
              <a:gd name="connsiteX178" fmla="*/ 882999 w 3708628"/>
              <a:gd name="connsiteY178" fmla="*/ 2904721 h 3707999"/>
              <a:gd name="connsiteX179" fmla="*/ 1048227 w 3708628"/>
              <a:gd name="connsiteY179" fmla="*/ 3559702 h 3707999"/>
              <a:gd name="connsiteX180" fmla="*/ 1021039 w 3708628"/>
              <a:gd name="connsiteY180" fmla="*/ 3664746 h 3707999"/>
              <a:gd name="connsiteX181" fmla="*/ 927240 w 3708628"/>
              <a:gd name="connsiteY181" fmla="*/ 3707999 h 3707999"/>
              <a:gd name="connsiteX182" fmla="*/ 566691 w 3708628"/>
              <a:gd name="connsiteY182" fmla="*/ 3707999 h 3707999"/>
              <a:gd name="connsiteX183" fmla="*/ 443111 w 3708628"/>
              <a:gd name="connsiteY183" fmla="*/ 3584419 h 3707999"/>
              <a:gd name="connsiteX184" fmla="*/ 376438 w 3708628"/>
              <a:gd name="connsiteY184" fmla="*/ 2900580 h 3707999"/>
              <a:gd name="connsiteX185" fmla="*/ 46 w 3708628"/>
              <a:gd name="connsiteY185" fmla="*/ 2478314 h 3707999"/>
              <a:gd name="connsiteX186" fmla="*/ 425870 w 3708628"/>
              <a:gd name="connsiteY186" fmla="*/ 2040020 h 3707999"/>
              <a:gd name="connsiteX187" fmla="*/ 319466 w 3708628"/>
              <a:gd name="connsiteY187" fmla="*/ 1393256 h 3707999"/>
              <a:gd name="connsiteX188" fmla="*/ 1279447 w 3708628"/>
              <a:gd name="connsiteY188" fmla="*/ 442050 h 3707999"/>
              <a:gd name="connsiteX189" fmla="*/ 1718161 w 3708628"/>
              <a:gd name="connsiteY189" fmla="*/ 473439 h 3707999"/>
              <a:gd name="connsiteX190" fmla="*/ 2174363 w 3708628"/>
              <a:gd name="connsiteY190" fmla="*/ 316675 h 3707999"/>
              <a:gd name="connsiteX191" fmla="*/ 2717882 w 3708628"/>
              <a:gd name="connsiteY191" fmla="*/ 9256 h 3707999"/>
              <a:gd name="connsiteX192" fmla="*/ 2806042 w 3708628"/>
              <a:gd name="connsiteY192" fmla="*/ 851 h 370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3708628" h="3707999">
                <a:moveTo>
                  <a:pt x="2470080" y="3075137"/>
                </a:moveTo>
                <a:lnTo>
                  <a:pt x="2531869" y="3322294"/>
                </a:lnTo>
                <a:lnTo>
                  <a:pt x="2412037" y="3352253"/>
                </a:lnTo>
                <a:lnTo>
                  <a:pt x="2350248" y="3105095"/>
                </a:lnTo>
                <a:close/>
                <a:moveTo>
                  <a:pt x="2561464" y="2911221"/>
                </a:moveTo>
                <a:lnTo>
                  <a:pt x="2808620" y="3034798"/>
                </a:lnTo>
                <a:lnTo>
                  <a:pt x="2753354" y="3145333"/>
                </a:lnTo>
                <a:lnTo>
                  <a:pt x="2506196" y="3021755"/>
                </a:lnTo>
                <a:close/>
                <a:moveTo>
                  <a:pt x="500884" y="2904721"/>
                </a:moveTo>
                <a:lnTo>
                  <a:pt x="566382" y="3578239"/>
                </a:lnTo>
                <a:lnTo>
                  <a:pt x="927240" y="3584419"/>
                </a:lnTo>
                <a:lnTo>
                  <a:pt x="755400" y="2904721"/>
                </a:lnTo>
                <a:close/>
                <a:moveTo>
                  <a:pt x="865450" y="2533976"/>
                </a:moveTo>
                <a:lnTo>
                  <a:pt x="1112614" y="2533976"/>
                </a:lnTo>
                <a:lnTo>
                  <a:pt x="1112614" y="2657556"/>
                </a:lnTo>
                <a:lnTo>
                  <a:pt x="865450" y="2657556"/>
                </a:lnTo>
                <a:close/>
                <a:moveTo>
                  <a:pt x="3255061" y="2287112"/>
                </a:moveTo>
                <a:cubicBezTo>
                  <a:pt x="3241245" y="2285752"/>
                  <a:pt x="3226974" y="2289031"/>
                  <a:pt x="3214734" y="2297193"/>
                </a:cubicBezTo>
                <a:lnTo>
                  <a:pt x="3113644" y="2364548"/>
                </a:lnTo>
                <a:cubicBezTo>
                  <a:pt x="3092882" y="2378401"/>
                  <a:pt x="3065819" y="2378401"/>
                  <a:pt x="3045056" y="2364548"/>
                </a:cubicBezTo>
                <a:lnTo>
                  <a:pt x="2944029" y="2297193"/>
                </a:lnTo>
                <a:cubicBezTo>
                  <a:pt x="2919516" y="2280850"/>
                  <a:pt x="2886879" y="2284082"/>
                  <a:pt x="2866049" y="2304918"/>
                </a:cubicBezTo>
                <a:lnTo>
                  <a:pt x="2839663" y="2331302"/>
                </a:lnTo>
                <a:cubicBezTo>
                  <a:pt x="2815541" y="2355433"/>
                  <a:pt x="2815541" y="2394547"/>
                  <a:pt x="2839663" y="2418676"/>
                </a:cubicBezTo>
                <a:lnTo>
                  <a:pt x="3079289" y="2658053"/>
                </a:lnTo>
                <a:lnTo>
                  <a:pt x="3318975" y="2418429"/>
                </a:lnTo>
                <a:cubicBezTo>
                  <a:pt x="3318993" y="2418411"/>
                  <a:pt x="3319005" y="2418399"/>
                  <a:pt x="3319024" y="2418380"/>
                </a:cubicBezTo>
                <a:cubicBezTo>
                  <a:pt x="3343141" y="2394238"/>
                  <a:pt x="3343115" y="2355112"/>
                  <a:pt x="3318975" y="2330993"/>
                </a:cubicBezTo>
                <a:lnTo>
                  <a:pt x="3292651" y="2304609"/>
                </a:lnTo>
                <a:lnTo>
                  <a:pt x="3292651" y="2304856"/>
                </a:lnTo>
                <a:cubicBezTo>
                  <a:pt x="3282234" y="2294467"/>
                  <a:pt x="3268876" y="2288470"/>
                  <a:pt x="3255061" y="2287112"/>
                </a:cubicBezTo>
                <a:close/>
                <a:moveTo>
                  <a:pt x="865450" y="2286813"/>
                </a:moveTo>
                <a:lnTo>
                  <a:pt x="1112614" y="2286813"/>
                </a:lnTo>
                <a:lnTo>
                  <a:pt x="1112614" y="2410394"/>
                </a:lnTo>
                <a:lnTo>
                  <a:pt x="865450" y="2410394"/>
                </a:lnTo>
                <a:close/>
                <a:moveTo>
                  <a:pt x="2163055" y="2225021"/>
                </a:moveTo>
                <a:lnTo>
                  <a:pt x="2163055" y="2719348"/>
                </a:lnTo>
                <a:cubicBezTo>
                  <a:pt x="2231310" y="2719348"/>
                  <a:pt x="2286637" y="2664021"/>
                  <a:pt x="2286637" y="2595766"/>
                </a:cubicBezTo>
                <a:lnTo>
                  <a:pt x="2286637" y="2348603"/>
                </a:lnTo>
                <a:cubicBezTo>
                  <a:pt x="2286637" y="2280348"/>
                  <a:pt x="2231310" y="2225021"/>
                  <a:pt x="2163055" y="2225021"/>
                </a:cubicBezTo>
                <a:close/>
                <a:moveTo>
                  <a:pt x="371124" y="2169410"/>
                </a:moveTo>
                <a:cubicBezTo>
                  <a:pt x="249540" y="2194095"/>
                  <a:pt x="154518" y="2289124"/>
                  <a:pt x="129830" y="2410703"/>
                </a:cubicBezTo>
                <a:cubicBezTo>
                  <a:pt x="95875" y="2577921"/>
                  <a:pt x="203906" y="2741006"/>
                  <a:pt x="371124" y="2774959"/>
                </a:cubicBezTo>
                <a:close/>
                <a:moveTo>
                  <a:pt x="2891438" y="2164045"/>
                </a:moveTo>
                <a:cubicBezTo>
                  <a:pt x="2932890" y="2159949"/>
                  <a:pt x="2975712" y="2169733"/>
                  <a:pt x="3012493" y="2194127"/>
                </a:cubicBezTo>
                <a:lnTo>
                  <a:pt x="3079289" y="2238678"/>
                </a:lnTo>
                <a:lnTo>
                  <a:pt x="3146084" y="2194127"/>
                </a:lnTo>
                <a:cubicBezTo>
                  <a:pt x="3219658" y="2145386"/>
                  <a:pt x="3317350" y="2155038"/>
                  <a:pt x="3379963" y="2217237"/>
                </a:cubicBezTo>
                <a:lnTo>
                  <a:pt x="3406286" y="2243684"/>
                </a:lnTo>
                <a:cubicBezTo>
                  <a:pt x="3478649" y="2316070"/>
                  <a:pt x="3478649" y="2433413"/>
                  <a:pt x="3406286" y="2505801"/>
                </a:cubicBezTo>
                <a:lnTo>
                  <a:pt x="3122913" y="2789112"/>
                </a:lnTo>
                <a:cubicBezTo>
                  <a:pt x="3098784" y="2813236"/>
                  <a:pt x="3059670" y="2813236"/>
                  <a:pt x="3035541" y="2789112"/>
                </a:cubicBezTo>
                <a:lnTo>
                  <a:pt x="2752168" y="2505801"/>
                </a:lnTo>
                <a:cubicBezTo>
                  <a:pt x="2679805" y="2433413"/>
                  <a:pt x="2679805" y="2316070"/>
                  <a:pt x="2752168" y="2243684"/>
                </a:cubicBezTo>
                <a:lnTo>
                  <a:pt x="2778614" y="2217237"/>
                </a:lnTo>
                <a:cubicBezTo>
                  <a:pt x="2809909" y="2186116"/>
                  <a:pt x="2849988" y="2168141"/>
                  <a:pt x="2891438" y="2164045"/>
                </a:cubicBezTo>
                <a:close/>
                <a:moveTo>
                  <a:pt x="494705" y="2163231"/>
                </a:moveTo>
                <a:lnTo>
                  <a:pt x="494705" y="2781138"/>
                </a:lnTo>
                <a:lnTo>
                  <a:pt x="618287" y="2781138"/>
                </a:lnTo>
                <a:lnTo>
                  <a:pt x="618287" y="2163231"/>
                </a:lnTo>
                <a:close/>
                <a:moveTo>
                  <a:pt x="1730520" y="1981195"/>
                </a:moveTo>
                <a:lnTo>
                  <a:pt x="1441278" y="2077589"/>
                </a:lnTo>
                <a:cubicBezTo>
                  <a:pt x="1271187" y="2134374"/>
                  <a:pt x="1093031" y="2163293"/>
                  <a:pt x="913709" y="2163231"/>
                </a:cubicBezTo>
                <a:lnTo>
                  <a:pt x="741869" y="2163231"/>
                </a:lnTo>
                <a:lnTo>
                  <a:pt x="741869" y="2781138"/>
                </a:lnTo>
                <a:lnTo>
                  <a:pt x="913709" y="2781138"/>
                </a:lnTo>
                <a:cubicBezTo>
                  <a:pt x="1093031" y="2781076"/>
                  <a:pt x="1271187" y="2809994"/>
                  <a:pt x="1441278" y="2866781"/>
                </a:cubicBezTo>
                <a:lnTo>
                  <a:pt x="1730520" y="2963175"/>
                </a:lnTo>
                <a:close/>
                <a:moveTo>
                  <a:pt x="2039474" y="1878191"/>
                </a:moveTo>
                <a:lnTo>
                  <a:pt x="1854102" y="1939981"/>
                </a:lnTo>
                <a:lnTo>
                  <a:pt x="1854102" y="3004389"/>
                </a:lnTo>
                <a:lnTo>
                  <a:pt x="2039474" y="3066179"/>
                </a:lnTo>
                <a:close/>
                <a:moveTo>
                  <a:pt x="2753359" y="1860802"/>
                </a:moveTo>
                <a:lnTo>
                  <a:pt x="2808625" y="1971336"/>
                </a:lnTo>
                <a:lnTo>
                  <a:pt x="2561469" y="2094913"/>
                </a:lnTo>
                <a:lnTo>
                  <a:pt x="2506201" y="1984379"/>
                </a:lnTo>
                <a:close/>
                <a:moveTo>
                  <a:pt x="2412123" y="1653966"/>
                </a:moveTo>
                <a:lnTo>
                  <a:pt x="2531947" y="1683953"/>
                </a:lnTo>
                <a:lnTo>
                  <a:pt x="2470097" y="1931094"/>
                </a:lnTo>
                <a:lnTo>
                  <a:pt x="2350274" y="1901108"/>
                </a:lnTo>
                <a:close/>
                <a:moveTo>
                  <a:pt x="803658" y="1174578"/>
                </a:moveTo>
                <a:lnTo>
                  <a:pt x="803658" y="1730696"/>
                </a:lnTo>
                <a:lnTo>
                  <a:pt x="927240" y="1730696"/>
                </a:lnTo>
                <a:lnTo>
                  <a:pt x="927240" y="1174578"/>
                </a:lnTo>
                <a:close/>
                <a:moveTo>
                  <a:pt x="1297986" y="803833"/>
                </a:moveTo>
                <a:cubicBezTo>
                  <a:pt x="1263859" y="803833"/>
                  <a:pt x="1236194" y="831498"/>
                  <a:pt x="1236194" y="865624"/>
                </a:cubicBezTo>
                <a:lnTo>
                  <a:pt x="1236194" y="1050996"/>
                </a:lnTo>
                <a:cubicBezTo>
                  <a:pt x="1236194" y="1153378"/>
                  <a:pt x="1153204" y="1236369"/>
                  <a:pt x="1050822" y="1236369"/>
                </a:cubicBezTo>
                <a:lnTo>
                  <a:pt x="1050822" y="1668904"/>
                </a:lnTo>
                <a:lnTo>
                  <a:pt x="1606939" y="1668904"/>
                </a:lnTo>
                <a:cubicBezTo>
                  <a:pt x="1641067" y="1668904"/>
                  <a:pt x="1668730" y="1641241"/>
                  <a:pt x="1668730" y="1607113"/>
                </a:cubicBezTo>
                <a:lnTo>
                  <a:pt x="1668730" y="1298161"/>
                </a:lnTo>
                <a:cubicBezTo>
                  <a:pt x="1668730" y="1264033"/>
                  <a:pt x="1641067" y="1236369"/>
                  <a:pt x="1606939" y="1236369"/>
                </a:cubicBezTo>
                <a:lnTo>
                  <a:pt x="1545149" y="1236369"/>
                </a:lnTo>
                <a:cubicBezTo>
                  <a:pt x="1442768" y="1236369"/>
                  <a:pt x="1359777" y="1153378"/>
                  <a:pt x="1359777" y="1050996"/>
                </a:cubicBezTo>
                <a:lnTo>
                  <a:pt x="1359777" y="865624"/>
                </a:lnTo>
                <a:cubicBezTo>
                  <a:pt x="1359777" y="831498"/>
                  <a:pt x="1332112" y="803833"/>
                  <a:pt x="1297986" y="803833"/>
                </a:cubicBezTo>
                <a:close/>
                <a:moveTo>
                  <a:pt x="2780964" y="733948"/>
                </a:moveTo>
                <a:lnTo>
                  <a:pt x="2780964" y="997301"/>
                </a:lnTo>
                <a:lnTo>
                  <a:pt x="2978695" y="865624"/>
                </a:lnTo>
                <a:close/>
                <a:moveTo>
                  <a:pt x="1297986" y="680253"/>
                </a:moveTo>
                <a:cubicBezTo>
                  <a:pt x="1400367" y="680253"/>
                  <a:pt x="1483357" y="763243"/>
                  <a:pt x="1483357" y="865624"/>
                </a:cubicBezTo>
                <a:lnTo>
                  <a:pt x="1483357" y="1050996"/>
                </a:lnTo>
                <a:cubicBezTo>
                  <a:pt x="1483357" y="1085124"/>
                  <a:pt x="1511022" y="1112788"/>
                  <a:pt x="1545149" y="1112788"/>
                </a:cubicBezTo>
                <a:lnTo>
                  <a:pt x="1606939" y="1112788"/>
                </a:lnTo>
                <a:cubicBezTo>
                  <a:pt x="1709320" y="1112788"/>
                  <a:pt x="1792312" y="1195778"/>
                  <a:pt x="1792312" y="1298161"/>
                </a:cubicBezTo>
                <a:lnTo>
                  <a:pt x="1792312" y="1607113"/>
                </a:lnTo>
                <a:cubicBezTo>
                  <a:pt x="1792312" y="1709494"/>
                  <a:pt x="1709320" y="1792486"/>
                  <a:pt x="1606939" y="1792486"/>
                </a:cubicBezTo>
                <a:lnTo>
                  <a:pt x="1050822" y="1792486"/>
                </a:lnTo>
                <a:cubicBezTo>
                  <a:pt x="1050822" y="1826613"/>
                  <a:pt x="1023159" y="1854276"/>
                  <a:pt x="989030" y="1854276"/>
                </a:cubicBezTo>
                <a:lnTo>
                  <a:pt x="741867" y="1854276"/>
                </a:lnTo>
                <a:cubicBezTo>
                  <a:pt x="707740" y="1854276"/>
                  <a:pt x="680077" y="1826613"/>
                  <a:pt x="680077" y="1792486"/>
                </a:cubicBezTo>
                <a:lnTo>
                  <a:pt x="680077" y="1112788"/>
                </a:lnTo>
                <a:cubicBezTo>
                  <a:pt x="680077" y="1078661"/>
                  <a:pt x="707740" y="1050996"/>
                  <a:pt x="741867" y="1050996"/>
                </a:cubicBezTo>
                <a:lnTo>
                  <a:pt x="989030" y="1050996"/>
                </a:lnTo>
                <a:cubicBezTo>
                  <a:pt x="1023159" y="1050996"/>
                  <a:pt x="1050822" y="1078661"/>
                  <a:pt x="1050822" y="1112788"/>
                </a:cubicBezTo>
                <a:cubicBezTo>
                  <a:pt x="1084949" y="1112788"/>
                  <a:pt x="1112614" y="1085124"/>
                  <a:pt x="1112614" y="1050996"/>
                </a:cubicBezTo>
                <a:lnTo>
                  <a:pt x="1112614" y="865624"/>
                </a:lnTo>
                <a:cubicBezTo>
                  <a:pt x="1112614" y="763243"/>
                  <a:pt x="1195604" y="680253"/>
                  <a:pt x="1297986" y="680253"/>
                </a:cubicBezTo>
                <a:close/>
                <a:moveTo>
                  <a:pt x="2730764" y="557743"/>
                </a:moveTo>
                <a:cubicBezTo>
                  <a:pt x="2738648" y="559245"/>
                  <a:pt x="2746369" y="562317"/>
                  <a:pt x="2753465" y="567051"/>
                </a:cubicBezTo>
                <a:lnTo>
                  <a:pt x="3124212" y="814214"/>
                </a:lnTo>
                <a:cubicBezTo>
                  <a:pt x="3130997" y="818737"/>
                  <a:pt x="3136817" y="824558"/>
                  <a:pt x="3141341" y="831342"/>
                </a:cubicBezTo>
                <a:cubicBezTo>
                  <a:pt x="3160273" y="859735"/>
                  <a:pt x="3152604" y="898101"/>
                  <a:pt x="3124212" y="917034"/>
                </a:cubicBezTo>
                <a:lnTo>
                  <a:pt x="2753465" y="1164198"/>
                </a:lnTo>
                <a:cubicBezTo>
                  <a:pt x="2734502" y="1176859"/>
                  <a:pt x="2710108" y="1178045"/>
                  <a:pt x="2690006" y="1167286"/>
                </a:cubicBezTo>
                <a:cubicBezTo>
                  <a:pt x="2669913" y="1156529"/>
                  <a:pt x="2657375" y="1135582"/>
                  <a:pt x="2657382" y="1112788"/>
                </a:cubicBezTo>
                <a:lnTo>
                  <a:pt x="2657382" y="618461"/>
                </a:lnTo>
                <a:cubicBezTo>
                  <a:pt x="2657382" y="606251"/>
                  <a:pt x="2660995" y="594313"/>
                  <a:pt x="2667774" y="584161"/>
                </a:cubicBezTo>
                <a:cubicBezTo>
                  <a:pt x="2677244" y="569965"/>
                  <a:pt x="2691570" y="560953"/>
                  <a:pt x="2707077" y="557856"/>
                </a:cubicBezTo>
                <a:cubicBezTo>
                  <a:pt x="2714831" y="556309"/>
                  <a:pt x="2722880" y="556241"/>
                  <a:pt x="2730764" y="557743"/>
                </a:cubicBezTo>
                <a:close/>
                <a:moveTo>
                  <a:pt x="2842754" y="433088"/>
                </a:moveTo>
                <a:cubicBezTo>
                  <a:pt x="2603982" y="433360"/>
                  <a:pt x="2410490" y="626853"/>
                  <a:pt x="2410218" y="865625"/>
                </a:cubicBezTo>
                <a:cubicBezTo>
                  <a:pt x="2410218" y="1104509"/>
                  <a:pt x="2603871" y="1298161"/>
                  <a:pt x="2842754" y="1298161"/>
                </a:cubicBezTo>
                <a:cubicBezTo>
                  <a:pt x="3081638" y="1298161"/>
                  <a:pt x="3275290" y="1104509"/>
                  <a:pt x="3275290" y="865625"/>
                </a:cubicBezTo>
                <a:cubicBezTo>
                  <a:pt x="3275290" y="626741"/>
                  <a:pt x="3081638" y="433088"/>
                  <a:pt x="2842754" y="433088"/>
                </a:cubicBezTo>
                <a:close/>
                <a:moveTo>
                  <a:pt x="2842754" y="309508"/>
                </a:moveTo>
                <a:cubicBezTo>
                  <a:pt x="3149891" y="309508"/>
                  <a:pt x="3398872" y="558487"/>
                  <a:pt x="3398872" y="865625"/>
                </a:cubicBezTo>
                <a:cubicBezTo>
                  <a:pt x="3398872" y="1172762"/>
                  <a:pt x="3149891" y="1421743"/>
                  <a:pt x="2842754" y="1421743"/>
                </a:cubicBezTo>
                <a:cubicBezTo>
                  <a:pt x="2535758" y="1421403"/>
                  <a:pt x="2286977" y="1172620"/>
                  <a:pt x="2286637" y="865625"/>
                </a:cubicBezTo>
                <a:cubicBezTo>
                  <a:pt x="2286637" y="558487"/>
                  <a:pt x="2535616" y="309508"/>
                  <a:pt x="2842754" y="309508"/>
                </a:cubicBezTo>
                <a:close/>
                <a:moveTo>
                  <a:pt x="2822473" y="122776"/>
                </a:moveTo>
                <a:cubicBezTo>
                  <a:pt x="2615023" y="128927"/>
                  <a:pt x="2411303" y="221700"/>
                  <a:pt x="2269829" y="395150"/>
                </a:cubicBezTo>
                <a:cubicBezTo>
                  <a:pt x="2130961" y="570777"/>
                  <a:pt x="1901674" y="648127"/>
                  <a:pt x="1684796" y="592509"/>
                </a:cubicBezTo>
                <a:cubicBezTo>
                  <a:pt x="1642462" y="580762"/>
                  <a:pt x="1599394" y="571858"/>
                  <a:pt x="1555881" y="565847"/>
                </a:cubicBezTo>
                <a:cubicBezTo>
                  <a:pt x="1015335" y="491176"/>
                  <a:pt x="516611" y="868838"/>
                  <a:pt x="441937" y="1409384"/>
                </a:cubicBezTo>
                <a:cubicBezTo>
                  <a:pt x="411662" y="1627518"/>
                  <a:pt x="455601" y="1849494"/>
                  <a:pt x="566691" y="2039649"/>
                </a:cubicBezTo>
                <a:lnTo>
                  <a:pt x="913709" y="2039649"/>
                </a:lnTo>
                <a:cubicBezTo>
                  <a:pt x="1079691" y="2039667"/>
                  <a:pt x="1244585" y="2012900"/>
                  <a:pt x="1402041" y="1960372"/>
                </a:cubicBezTo>
                <a:lnTo>
                  <a:pt x="2081739" y="1733846"/>
                </a:lnTo>
                <a:cubicBezTo>
                  <a:pt x="2088041" y="1731746"/>
                  <a:pt x="2094641" y="1730677"/>
                  <a:pt x="2101276" y="1730684"/>
                </a:cubicBezTo>
                <a:cubicBezTo>
                  <a:pt x="2135404" y="1730689"/>
                  <a:pt x="2163062" y="1758358"/>
                  <a:pt x="2163055" y="1792486"/>
                </a:cubicBezTo>
                <a:lnTo>
                  <a:pt x="2163055" y="2101441"/>
                </a:lnTo>
                <a:cubicBezTo>
                  <a:pt x="2299558" y="2101441"/>
                  <a:pt x="2410219" y="2212102"/>
                  <a:pt x="2410219" y="2348603"/>
                </a:cubicBezTo>
                <a:lnTo>
                  <a:pt x="2410219" y="2595766"/>
                </a:lnTo>
                <a:cubicBezTo>
                  <a:pt x="2410219" y="2732267"/>
                  <a:pt x="2299558" y="2842929"/>
                  <a:pt x="2163055" y="2842929"/>
                </a:cubicBezTo>
                <a:lnTo>
                  <a:pt x="2163055" y="3151883"/>
                </a:lnTo>
                <a:cubicBezTo>
                  <a:pt x="2163055" y="3186009"/>
                  <a:pt x="2135392" y="3213674"/>
                  <a:pt x="2101265" y="3213674"/>
                </a:cubicBezTo>
                <a:cubicBezTo>
                  <a:pt x="2094690" y="3213630"/>
                  <a:pt x="2088160" y="3212544"/>
                  <a:pt x="2081925" y="3210461"/>
                </a:cubicBezTo>
                <a:lnTo>
                  <a:pt x="1402225" y="2983935"/>
                </a:lnTo>
                <a:cubicBezTo>
                  <a:pt x="1358663" y="2969477"/>
                  <a:pt x="1314544" y="2957428"/>
                  <a:pt x="1270178" y="2946862"/>
                </a:cubicBezTo>
                <a:cubicBezTo>
                  <a:pt x="1470276" y="3309326"/>
                  <a:pt x="1838826" y="3547269"/>
                  <a:pt x="2251528" y="3580427"/>
                </a:cubicBezTo>
                <a:cubicBezTo>
                  <a:pt x="2930768" y="3635013"/>
                  <a:pt x="3525647" y="3128624"/>
                  <a:pt x="3580227" y="2449384"/>
                </a:cubicBezTo>
                <a:cubicBezTo>
                  <a:pt x="3602262" y="2184672"/>
                  <a:pt x="3537777" y="1919960"/>
                  <a:pt x="3396461" y="1695043"/>
                </a:cubicBezTo>
                <a:cubicBezTo>
                  <a:pt x="3325240" y="1581811"/>
                  <a:pt x="3334065" y="1435794"/>
                  <a:pt x="3418398" y="1331960"/>
                </a:cubicBezTo>
                <a:cubicBezTo>
                  <a:pt x="3677089" y="1014794"/>
                  <a:pt x="3629684" y="547964"/>
                  <a:pt x="3312518" y="289271"/>
                </a:cubicBezTo>
                <a:cubicBezTo>
                  <a:pt x="3193582" y="192260"/>
                  <a:pt x="3053599" y="138296"/>
                  <a:pt x="2911437" y="125460"/>
                </a:cubicBezTo>
                <a:cubicBezTo>
                  <a:pt x="2881820" y="122786"/>
                  <a:pt x="2852108" y="121897"/>
                  <a:pt x="2822473" y="122776"/>
                </a:cubicBezTo>
                <a:close/>
                <a:moveTo>
                  <a:pt x="2806042" y="851"/>
                </a:moveTo>
                <a:cubicBezTo>
                  <a:pt x="2835244" y="-444"/>
                  <a:pt x="2864233" y="-251"/>
                  <a:pt x="2892928" y="1367"/>
                </a:cubicBezTo>
                <a:cubicBezTo>
                  <a:pt x="3294652" y="24025"/>
                  <a:pt x="3638620" y="326130"/>
                  <a:pt x="3699235" y="739758"/>
                </a:cubicBezTo>
                <a:cubicBezTo>
                  <a:pt x="3734939" y="979246"/>
                  <a:pt x="3667890" y="1222682"/>
                  <a:pt x="3514604" y="1410124"/>
                </a:cubicBezTo>
                <a:cubicBezTo>
                  <a:pt x="3463659" y="1472904"/>
                  <a:pt x="3458412" y="1561173"/>
                  <a:pt x="3501567" y="1629545"/>
                </a:cubicBezTo>
                <a:cubicBezTo>
                  <a:pt x="3657063" y="1876942"/>
                  <a:pt x="3728036" y="2168131"/>
                  <a:pt x="3703808" y="2459332"/>
                </a:cubicBezTo>
                <a:cubicBezTo>
                  <a:pt x="3646269" y="3115531"/>
                  <a:pt x="3129698" y="3637786"/>
                  <a:pt x="2474172" y="3702501"/>
                </a:cubicBezTo>
                <a:cubicBezTo>
                  <a:pt x="2432568" y="3706165"/>
                  <a:pt x="2391373" y="3707999"/>
                  <a:pt x="2350591" y="3707999"/>
                </a:cubicBezTo>
                <a:cubicBezTo>
                  <a:pt x="1821118" y="3708099"/>
                  <a:pt x="1339947" y="3400213"/>
                  <a:pt x="1118173" y="2919425"/>
                </a:cubicBezTo>
                <a:cubicBezTo>
                  <a:pt x="1050482" y="2910010"/>
                  <a:pt x="982241" y="2905091"/>
                  <a:pt x="913893" y="2904721"/>
                </a:cubicBezTo>
                <a:lnTo>
                  <a:pt x="882999" y="2904721"/>
                </a:lnTo>
                <a:lnTo>
                  <a:pt x="1048227" y="3559702"/>
                </a:lnTo>
                <a:cubicBezTo>
                  <a:pt x="1055432" y="3597024"/>
                  <a:pt x="1045447" y="3635606"/>
                  <a:pt x="1021039" y="3664746"/>
                </a:cubicBezTo>
                <a:cubicBezTo>
                  <a:pt x="997583" y="3692163"/>
                  <a:pt x="963320" y="3707969"/>
                  <a:pt x="927240" y="3707999"/>
                </a:cubicBezTo>
                <a:lnTo>
                  <a:pt x="566691" y="3707999"/>
                </a:lnTo>
                <a:cubicBezTo>
                  <a:pt x="498438" y="3707999"/>
                  <a:pt x="443111" y="3652672"/>
                  <a:pt x="443111" y="3584419"/>
                </a:cubicBezTo>
                <a:lnTo>
                  <a:pt x="376438" y="2900580"/>
                </a:lnTo>
                <a:cubicBezTo>
                  <a:pt x="163472" y="2872916"/>
                  <a:pt x="3144" y="2693044"/>
                  <a:pt x="46" y="2478314"/>
                </a:cubicBezTo>
                <a:cubicBezTo>
                  <a:pt x="-3396" y="2239690"/>
                  <a:pt x="187252" y="2043461"/>
                  <a:pt x="425870" y="2040020"/>
                </a:cubicBezTo>
                <a:cubicBezTo>
                  <a:pt x="325829" y="1840146"/>
                  <a:pt x="288729" y="1614646"/>
                  <a:pt x="319466" y="1393256"/>
                </a:cubicBezTo>
                <a:cubicBezTo>
                  <a:pt x="391065" y="897347"/>
                  <a:pt x="782904" y="509092"/>
                  <a:pt x="1279447" y="442050"/>
                </a:cubicBezTo>
                <a:cubicBezTo>
                  <a:pt x="1426319" y="423125"/>
                  <a:pt x="1575488" y="433800"/>
                  <a:pt x="1718161" y="473439"/>
                </a:cubicBezTo>
                <a:cubicBezTo>
                  <a:pt x="1887839" y="515790"/>
                  <a:pt x="2066558" y="454378"/>
                  <a:pt x="2174363" y="316675"/>
                </a:cubicBezTo>
                <a:cubicBezTo>
                  <a:pt x="2310945" y="150109"/>
                  <a:pt x="2504752" y="40487"/>
                  <a:pt x="2717882" y="9256"/>
                </a:cubicBezTo>
                <a:cubicBezTo>
                  <a:pt x="2747427" y="4927"/>
                  <a:pt x="2776841" y="2145"/>
                  <a:pt x="2806042" y="851"/>
                </a:cubicBezTo>
                <a:close/>
              </a:path>
            </a:pathLst>
          </a:custGeom>
          <a:solidFill>
            <a:schemeClr val="accent2"/>
          </a:solidFill>
          <a:ln>
            <a:noFill/>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82"/>
        <p:cNvGrpSpPr/>
        <p:nvPr/>
      </p:nvGrpSpPr>
      <p:grpSpPr>
        <a:xfrm>
          <a:off x="0" y="0"/>
          <a:ext cx="0" cy="0"/>
          <a:chOff x="0" y="0"/>
          <a:chExt cx="0" cy="0"/>
        </a:xfrm>
      </p:grpSpPr>
      <p:sp>
        <p:nvSpPr>
          <p:cNvPr id="883" name="Google Shape;883;p143"/>
          <p:cNvSpPr txBox="1">
            <a:spLocks noGrp="1"/>
          </p:cNvSpPr>
          <p:nvPr>
            <p:ph type="title"/>
          </p:nvPr>
        </p:nvSpPr>
        <p:spPr>
          <a:xfrm>
            <a:off x="992390" y="4396228"/>
            <a:ext cx="6785798" cy="830997"/>
          </a:xfrm>
          <a:prstGeom prst="rect">
            <a:avLst/>
          </a:prstGeom>
          <a:noFill/>
          <a:ln>
            <a:noFill/>
          </a:ln>
          <a:effectLst>
            <a:outerShdw blurRad="190500" algn="tl" rotWithShape="0">
              <a:srgbClr val="000000">
                <a:alpha val="27058"/>
              </a:srgbClr>
            </a:outerShdw>
          </a:effectLst>
        </p:spPr>
        <p:txBody>
          <a:bodyPr spcFirstLastPara="1" wrap="square" lIns="0" tIns="0" rIns="0" bIns="0" anchor="ctr" anchorCtr="0">
            <a:spAutoFit/>
          </a:bodyPr>
          <a:lstStyle/>
          <a:p>
            <a:pPr marL="0" lvl="0" indent="0" algn="l" rtl="0">
              <a:lnSpc>
                <a:spcPct val="90000"/>
              </a:lnSpc>
              <a:spcBef>
                <a:spcPts val="0"/>
              </a:spcBef>
              <a:spcAft>
                <a:spcPts val="0"/>
              </a:spcAft>
              <a:buSzPts val="6000"/>
              <a:buNone/>
            </a:pPr>
            <a:r>
              <a:rPr lang="en-US"/>
              <a:t>Data Analytics</a:t>
            </a:r>
            <a:endParaRPr/>
          </a:p>
        </p:txBody>
      </p:sp>
      <p:sp>
        <p:nvSpPr>
          <p:cNvPr id="884" name="Google Shape;884;p14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6</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8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2A5D67-13DD-1DF7-B9C9-89F7BE0FAE0C}"/>
              </a:ext>
            </a:extLst>
          </p:cNvPr>
          <p:cNvGraphicFramePr>
            <a:graphicFrameLocks noChangeAspect="1"/>
          </p:cNvGraphicFramePr>
          <p:nvPr>
            <p:custDataLst>
              <p:tags r:id="rId1"/>
            </p:custDataLst>
            <p:extLst>
              <p:ext uri="{D42A27DB-BD31-4B8C-83A1-F6EECF244321}">
                <p14:modId xmlns:p14="http://schemas.microsoft.com/office/powerpoint/2010/main" val="1060449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89" name="Google Shape;889;p144"/>
          <p:cNvSpPr txBox="1">
            <a:spLocks noGrp="1"/>
          </p:cNvSpPr>
          <p:nvPr>
            <p:ph type="title"/>
          </p:nvPr>
        </p:nvSpPr>
        <p:spPr>
          <a:xfrm>
            <a:off x="539400" y="562841"/>
            <a:ext cx="5205071" cy="92333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None/>
            </a:pPr>
            <a:r>
              <a:rPr lang="en-US" sz="3000" dirty="0">
                <a:latin typeface="Franklin Gothic" panose="020B0604020202020204" charset="0"/>
              </a:rPr>
              <a:t>Infomineo has a unique</a:t>
            </a:r>
            <a:br>
              <a:rPr lang="en-US" sz="3000" dirty="0">
                <a:latin typeface="Franklin Gothic" panose="020B0604020202020204" charset="0"/>
              </a:rPr>
            </a:br>
            <a:r>
              <a:rPr lang="en-US" sz="3000" dirty="0">
                <a:latin typeface="Franklin Gothic" panose="020B0604020202020204" charset="0"/>
              </a:rPr>
              <a:t>approach to Data Analytics</a:t>
            </a:r>
            <a:endParaRPr dirty="0">
              <a:latin typeface="Franklin Gothic" panose="020B0604020202020204" charset="0"/>
            </a:endParaRPr>
          </a:p>
        </p:txBody>
      </p:sp>
      <p:sp>
        <p:nvSpPr>
          <p:cNvPr id="890" name="Google Shape;890;p144"/>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7</a:t>
            </a:fld>
            <a:endParaRPr/>
          </a:p>
        </p:txBody>
      </p:sp>
      <p:sp>
        <p:nvSpPr>
          <p:cNvPr id="891" name="Google Shape;891;p144"/>
          <p:cNvSpPr txBox="1"/>
          <p:nvPr/>
        </p:nvSpPr>
        <p:spPr>
          <a:xfrm>
            <a:off x="550863" y="2343394"/>
            <a:ext cx="5193608" cy="4185761"/>
          </a:xfrm>
          <a:prstGeom prst="rect">
            <a:avLst/>
          </a:prstGeom>
          <a:noFill/>
          <a:ln>
            <a:noFill/>
          </a:ln>
        </p:spPr>
        <p:txBody>
          <a:bodyPr spcFirstLastPara="1" wrap="square" lIns="0" tIns="0" rIns="0" bIns="0" anchor="t" anchorCtr="0">
            <a:spAutoFit/>
          </a:bodyPr>
          <a:lstStyle/>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Most Data Analytics companies provide </a:t>
            </a:r>
            <a:r>
              <a:rPr lang="en-US" sz="1600" b="1" i="0" u="none" strike="noStrike" cap="none" dirty="0">
                <a:solidFill>
                  <a:schemeClr val="dk1"/>
                </a:solidFill>
                <a:latin typeface="Calibri"/>
                <a:ea typeface="Calibri"/>
                <a:cs typeface="Calibri"/>
                <a:sym typeface="Calibri"/>
              </a:rPr>
              <a:t>standard models </a:t>
            </a:r>
            <a:r>
              <a:rPr lang="en-US" sz="1600" b="0" i="0" u="none" strike="noStrike" cap="none" dirty="0">
                <a:solidFill>
                  <a:schemeClr val="dk1"/>
                </a:solidFill>
                <a:latin typeface="Calibri"/>
                <a:ea typeface="Calibri"/>
                <a:cs typeface="Calibri"/>
                <a:sym typeface="Calibri"/>
              </a:rPr>
              <a:t>that they transpose from a client to another. Such models very often remain at Proof-Of-Concept stage, as integration with IT systems is not completed</a:t>
            </a:r>
            <a:endParaRPr sz="1400" b="0" i="0" u="none" strike="noStrike" cap="none" dirty="0">
              <a:solidFill>
                <a:srgbClr val="000000"/>
              </a:solidFill>
              <a:latin typeface="Calibri"/>
              <a:ea typeface="Calibri"/>
              <a:cs typeface="Calibri"/>
              <a:sym typeface="Calibri"/>
            </a:endParaRPr>
          </a:p>
          <a:p>
            <a:pPr marL="176213" marR="0" lvl="1" indent="-84773" algn="l" rtl="0">
              <a:lnSpc>
                <a:spcPct val="100000"/>
              </a:lnSpc>
              <a:spcBef>
                <a:spcPts val="0"/>
              </a:spcBef>
              <a:spcAft>
                <a:spcPts val="0"/>
              </a:spcAft>
              <a:buClr>
                <a:schemeClr val="dk2"/>
              </a:buClr>
              <a:buSzPts val="1440"/>
              <a:buFont typeface="Noto Sans Symbols"/>
              <a:buNone/>
            </a:pPr>
            <a:endParaRPr sz="1600" b="0" i="0" u="none" strike="noStrike" cap="none" dirty="0">
              <a:solidFill>
                <a:schemeClr val="dk1"/>
              </a:solidFill>
              <a:latin typeface="Calibri"/>
              <a:ea typeface="Calibri"/>
              <a:cs typeface="Calibri"/>
              <a:sym typeface="Calibri"/>
            </a:endParaRPr>
          </a:p>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Most Data Analytics providers are specialized in Data Visualization tools, e.g., Tableau, Power BI, etc.</a:t>
            </a:r>
            <a:endParaRPr sz="1400" b="0" i="0" u="none" strike="noStrike" cap="none" dirty="0">
              <a:solidFill>
                <a:srgbClr val="000000"/>
              </a:solidFill>
              <a:latin typeface="Calibri"/>
              <a:ea typeface="Calibri"/>
              <a:cs typeface="Calibri"/>
              <a:sym typeface="Calibri"/>
            </a:endParaRPr>
          </a:p>
          <a:p>
            <a:pPr marL="176213" marR="0" lvl="1" indent="-84773" algn="l" rtl="0">
              <a:lnSpc>
                <a:spcPct val="100000"/>
              </a:lnSpc>
              <a:spcBef>
                <a:spcPts val="0"/>
              </a:spcBef>
              <a:spcAft>
                <a:spcPts val="0"/>
              </a:spcAft>
              <a:buClr>
                <a:schemeClr val="dk2"/>
              </a:buClr>
              <a:buSzPts val="1440"/>
              <a:buFont typeface="Noto Sans Symbols"/>
              <a:buNone/>
            </a:pPr>
            <a:endParaRPr sz="1600" b="0" i="0" u="none" strike="noStrike" cap="none" dirty="0">
              <a:solidFill>
                <a:schemeClr val="dk1"/>
              </a:solidFill>
              <a:latin typeface="Calibri"/>
              <a:ea typeface="Calibri"/>
              <a:cs typeface="Calibri"/>
              <a:sym typeface="Calibri"/>
            </a:endParaRPr>
          </a:p>
          <a:p>
            <a:pPr marL="176213" marR="0" lvl="1" indent="-84773" algn="l" rtl="0">
              <a:lnSpc>
                <a:spcPct val="100000"/>
              </a:lnSpc>
              <a:spcBef>
                <a:spcPts val="0"/>
              </a:spcBef>
              <a:spcAft>
                <a:spcPts val="0"/>
              </a:spcAft>
              <a:buClr>
                <a:schemeClr val="dk2"/>
              </a:buClr>
              <a:buSzPts val="1440"/>
              <a:buFont typeface="Noto Sans Symbols"/>
              <a:buNone/>
            </a:pPr>
            <a:endParaRPr sz="1600" b="0" i="0" u="none" strike="noStrike" cap="none" dirty="0">
              <a:solidFill>
                <a:schemeClr val="dk1"/>
              </a:solidFill>
              <a:latin typeface="Calibri"/>
              <a:ea typeface="Calibri"/>
              <a:cs typeface="Calibri"/>
              <a:sym typeface="Calibri"/>
            </a:endParaRPr>
          </a:p>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Most providers work on a </a:t>
            </a:r>
            <a:r>
              <a:rPr lang="en-US" sz="1600" b="1" i="0" u="none" strike="noStrike" cap="none" dirty="0">
                <a:solidFill>
                  <a:schemeClr val="dk1"/>
                </a:solidFill>
                <a:latin typeface="Calibri"/>
                <a:ea typeface="Calibri"/>
                <a:cs typeface="Calibri"/>
                <a:sym typeface="Calibri"/>
              </a:rPr>
              <a:t>project basis – </a:t>
            </a:r>
            <a:r>
              <a:rPr lang="en-US" sz="1600" b="0" i="0" u="none" strike="noStrike" cap="none" dirty="0">
                <a:solidFill>
                  <a:schemeClr val="dk1"/>
                </a:solidFill>
                <a:latin typeface="Calibri"/>
                <a:ea typeface="Calibri"/>
                <a:cs typeface="Calibri"/>
                <a:sym typeface="Calibri"/>
              </a:rPr>
              <a:t>After project completion, the models can be hard for clients to maintain over time</a:t>
            </a:r>
            <a:endParaRPr sz="1400" b="0" i="0" u="none" strike="noStrike" cap="none" dirty="0">
              <a:solidFill>
                <a:srgbClr val="000000"/>
              </a:solidFill>
              <a:latin typeface="Calibri"/>
              <a:ea typeface="Calibri"/>
              <a:cs typeface="Calibri"/>
              <a:sym typeface="Calibri"/>
            </a:endParaRPr>
          </a:p>
          <a:p>
            <a:pPr marL="176213" marR="0" lvl="1" indent="-84773" algn="l" rtl="0">
              <a:lnSpc>
                <a:spcPct val="100000"/>
              </a:lnSpc>
              <a:spcBef>
                <a:spcPts val="0"/>
              </a:spcBef>
              <a:spcAft>
                <a:spcPts val="0"/>
              </a:spcAft>
              <a:buClr>
                <a:schemeClr val="dk2"/>
              </a:buClr>
              <a:buSzPts val="1440"/>
              <a:buFont typeface="Noto Sans Symbols"/>
              <a:buNone/>
            </a:pPr>
            <a:endParaRPr sz="1600" b="0" i="0" u="none" strike="noStrike" cap="none" dirty="0">
              <a:solidFill>
                <a:schemeClr val="dk1"/>
              </a:solidFill>
              <a:latin typeface="Calibri"/>
              <a:ea typeface="Calibri"/>
              <a:cs typeface="Calibri"/>
              <a:sym typeface="Calibri"/>
            </a:endParaRPr>
          </a:p>
          <a:p>
            <a:pPr marL="176213" marR="0" lvl="1" indent="-84773" algn="l" rtl="0">
              <a:lnSpc>
                <a:spcPct val="100000"/>
              </a:lnSpc>
              <a:spcBef>
                <a:spcPts val="0"/>
              </a:spcBef>
              <a:spcAft>
                <a:spcPts val="0"/>
              </a:spcAft>
              <a:buClr>
                <a:schemeClr val="dk2"/>
              </a:buClr>
              <a:buSzPts val="1440"/>
              <a:buFont typeface="Noto Sans Symbols"/>
              <a:buNone/>
            </a:pPr>
            <a:endParaRPr sz="1600" b="0" i="0" u="none" strike="noStrike" cap="none" dirty="0">
              <a:solidFill>
                <a:schemeClr val="dk1"/>
              </a:solidFill>
              <a:latin typeface="Calibri"/>
              <a:ea typeface="Calibri"/>
              <a:cs typeface="Calibri"/>
              <a:sym typeface="Calibri"/>
            </a:endParaRPr>
          </a:p>
          <a:p>
            <a:pPr marL="176213" marR="0" lvl="1" indent="-176213" algn="l" rtl="0">
              <a:lnSpc>
                <a:spcPct val="100000"/>
              </a:lnSpc>
              <a:spcBef>
                <a:spcPts val="0"/>
              </a:spcBef>
              <a:spcAft>
                <a:spcPts val="0"/>
              </a:spcAft>
              <a:buClr>
                <a:schemeClr val="dk2"/>
              </a:buClr>
              <a:buSzPts val="1440"/>
              <a:buFont typeface="Noto Sans Symbols"/>
              <a:buChar char="▪"/>
            </a:pPr>
            <a:r>
              <a:rPr lang="en-US" sz="1600" b="0" i="0" u="none" strike="noStrike" cap="none" dirty="0">
                <a:solidFill>
                  <a:schemeClr val="dk1"/>
                </a:solidFill>
                <a:latin typeface="Calibri"/>
                <a:ea typeface="Calibri"/>
                <a:cs typeface="Calibri"/>
                <a:sym typeface="Calibri"/>
              </a:rPr>
              <a:t>Some providers retain rights on the Intellectual Property they generate</a:t>
            </a:r>
            <a:br>
              <a:rPr lang="en-US" sz="1600" b="0" i="0" u="none" strike="noStrike" cap="none" dirty="0">
                <a:solidFill>
                  <a:schemeClr val="dk1"/>
                </a:solidFill>
                <a:latin typeface="Calibri"/>
                <a:ea typeface="Calibri"/>
                <a:cs typeface="Calibri"/>
                <a:sym typeface="Calibri"/>
              </a:rPr>
            </a:br>
            <a:endParaRPr sz="1600" b="0" i="0" u="none" strike="noStrike" cap="none" dirty="0">
              <a:solidFill>
                <a:schemeClr val="dk1"/>
              </a:solidFill>
              <a:latin typeface="Calibri"/>
              <a:ea typeface="Calibri"/>
              <a:cs typeface="Calibri"/>
              <a:sym typeface="Calibri"/>
            </a:endParaRPr>
          </a:p>
        </p:txBody>
      </p:sp>
      <p:sp>
        <p:nvSpPr>
          <p:cNvPr id="892" name="Google Shape;892;p144"/>
          <p:cNvSpPr txBox="1"/>
          <p:nvPr/>
        </p:nvSpPr>
        <p:spPr>
          <a:xfrm>
            <a:off x="550863" y="1857375"/>
            <a:ext cx="5193608"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2000"/>
              <a:buFont typeface="Arial"/>
              <a:buNone/>
            </a:pPr>
            <a:r>
              <a:rPr lang="en-US" sz="2000" b="1" i="0" u="none" strike="noStrike" cap="none">
                <a:solidFill>
                  <a:schemeClr val="accent1"/>
                </a:solidFill>
                <a:latin typeface="Calibri"/>
                <a:ea typeface="Calibri"/>
                <a:cs typeface="Calibri"/>
                <a:sym typeface="Calibri"/>
              </a:rPr>
              <a:t>Traditional model</a:t>
            </a:r>
            <a:endParaRPr sz="1400" b="1" i="0" u="none" strike="noStrike" cap="none">
              <a:solidFill>
                <a:srgbClr val="000000"/>
              </a:solidFill>
              <a:latin typeface="Calibri"/>
              <a:ea typeface="Calibri"/>
              <a:cs typeface="Calibri"/>
              <a:sym typeface="Calibri"/>
            </a:endParaRPr>
          </a:p>
        </p:txBody>
      </p:sp>
      <p:sp>
        <p:nvSpPr>
          <p:cNvPr id="893" name="Google Shape;893;p144"/>
          <p:cNvSpPr txBox="1"/>
          <p:nvPr/>
        </p:nvSpPr>
        <p:spPr>
          <a:xfrm>
            <a:off x="6238754" y="2343394"/>
            <a:ext cx="5402383" cy="3939540"/>
          </a:xfrm>
          <a:prstGeom prst="rect">
            <a:avLst/>
          </a:prstGeom>
          <a:noFill/>
          <a:ln>
            <a:noFill/>
          </a:ln>
        </p:spPr>
        <p:txBody>
          <a:bodyPr spcFirstLastPara="1" wrap="square" lIns="0" tIns="0" rIns="0" bIns="0" anchor="t" anchorCtr="0">
            <a:spAutoFit/>
          </a:bodyPr>
          <a:lstStyle/>
          <a:p>
            <a:pPr marL="176213" marR="0" lvl="1" indent="-176213" algn="l" rtl="0">
              <a:lnSpc>
                <a:spcPct val="100000"/>
              </a:lnSpc>
              <a:spcBef>
                <a:spcPts val="0"/>
              </a:spcBef>
              <a:spcAft>
                <a:spcPts val="0"/>
              </a:spcAft>
              <a:buClr>
                <a:schemeClr val="accent1"/>
              </a:buClr>
              <a:buSzPts val="1440"/>
              <a:buFont typeface="Noto Sans Symbols"/>
              <a:buChar char="▪"/>
            </a:pPr>
            <a:r>
              <a:rPr lang="en-US" sz="1600" b="0" i="0" u="none" strike="noStrike" cap="none" dirty="0">
                <a:solidFill>
                  <a:schemeClr val="lt1"/>
                </a:solidFill>
                <a:latin typeface="Calibri"/>
                <a:ea typeface="Calibri"/>
                <a:cs typeface="Calibri"/>
                <a:sym typeface="Calibri"/>
              </a:rPr>
              <a:t>We are </a:t>
            </a:r>
            <a:r>
              <a:rPr lang="en-US" sz="1600" b="1" i="0" u="none" strike="noStrike" cap="none" dirty="0">
                <a:solidFill>
                  <a:schemeClr val="lt1"/>
                </a:solidFill>
                <a:latin typeface="Calibri"/>
                <a:ea typeface="Calibri"/>
                <a:cs typeface="Calibri"/>
                <a:sym typeface="Calibri"/>
              </a:rPr>
              <a:t>problem solvers;</a:t>
            </a:r>
            <a:r>
              <a:rPr lang="en-US" sz="1600" b="0" i="0" u="none" strike="noStrike" cap="none" dirty="0">
                <a:solidFill>
                  <a:schemeClr val="lt1"/>
                </a:solidFill>
                <a:latin typeface="Calibri"/>
                <a:ea typeface="Calibri"/>
                <a:cs typeface="Calibri"/>
                <a:sym typeface="Calibri"/>
              </a:rPr>
              <a:t> we need to understand your question or challenge and will find the data and models that answer your questions. The output is co-constructed with our client and not a model taken off the shelf</a:t>
            </a:r>
            <a:endParaRPr sz="1400" b="0" i="0" u="none" strike="noStrike" cap="none" dirty="0">
              <a:solidFill>
                <a:srgbClr val="000000"/>
              </a:solidFill>
              <a:latin typeface="Calibri"/>
              <a:ea typeface="Calibri"/>
              <a:cs typeface="Calibri"/>
              <a:sym typeface="Calibri"/>
            </a:endParaRPr>
          </a:p>
          <a:p>
            <a:pPr marL="0" marR="0" lvl="1" indent="0" algn="l" rtl="0">
              <a:lnSpc>
                <a:spcPct val="100000"/>
              </a:lnSpc>
              <a:spcBef>
                <a:spcPts val="0"/>
              </a:spcBef>
              <a:spcAft>
                <a:spcPts val="0"/>
              </a:spcAft>
              <a:buClr>
                <a:srgbClr val="000000"/>
              </a:buClr>
              <a:buSzPts val="1600"/>
              <a:buFont typeface="Arial"/>
              <a:buNone/>
            </a:pPr>
            <a:endParaRPr sz="1600" b="0" i="0" u="none" strike="noStrike" cap="none" dirty="0">
              <a:solidFill>
                <a:schemeClr val="lt1"/>
              </a:solidFill>
              <a:latin typeface="Calibri"/>
              <a:ea typeface="Calibri"/>
              <a:cs typeface="Calibri"/>
              <a:sym typeface="Calibri"/>
            </a:endParaRPr>
          </a:p>
          <a:p>
            <a:pPr marL="176213" marR="0" lvl="1" indent="-176213" algn="l" rtl="0">
              <a:lnSpc>
                <a:spcPct val="100000"/>
              </a:lnSpc>
              <a:spcBef>
                <a:spcPts val="0"/>
              </a:spcBef>
              <a:spcAft>
                <a:spcPts val="0"/>
              </a:spcAft>
              <a:buClr>
                <a:schemeClr val="accent1"/>
              </a:buClr>
              <a:buSzPts val="1440"/>
              <a:buFont typeface="Noto Sans Symbols"/>
              <a:buChar char="▪"/>
            </a:pPr>
            <a:r>
              <a:rPr lang="en-US" sz="1600" b="0" i="0" u="none" strike="noStrike" cap="none" dirty="0">
                <a:solidFill>
                  <a:schemeClr val="lt1"/>
                </a:solidFill>
                <a:latin typeface="Calibri"/>
                <a:ea typeface="Calibri"/>
                <a:cs typeface="Calibri"/>
                <a:sym typeface="Calibri"/>
              </a:rPr>
              <a:t>We have a multi capabilities team that can provide you an </a:t>
            </a:r>
            <a:br>
              <a:rPr lang="en-US" sz="1600" b="0" i="0" u="none" strike="noStrike" cap="none" dirty="0">
                <a:solidFill>
                  <a:schemeClr val="lt1"/>
                </a:solidFill>
                <a:latin typeface="Calibri"/>
                <a:ea typeface="Calibri"/>
                <a:cs typeface="Calibri"/>
                <a:sym typeface="Calibri"/>
              </a:rPr>
            </a:br>
            <a:r>
              <a:rPr lang="en-US" sz="1600" b="0" i="0" u="none" strike="noStrike" cap="none" dirty="0">
                <a:solidFill>
                  <a:schemeClr val="lt1"/>
                </a:solidFill>
                <a:latin typeface="Calibri"/>
                <a:ea typeface="Calibri"/>
                <a:cs typeface="Calibri"/>
                <a:sym typeface="Calibri"/>
              </a:rPr>
              <a:t>end-to-end approach from cleaning the data to visualizing the model output</a:t>
            </a:r>
            <a:endParaRPr sz="1400" b="0" i="0" u="none" strike="noStrike" cap="none" dirty="0">
              <a:solidFill>
                <a:srgbClr val="000000"/>
              </a:solidFill>
              <a:latin typeface="Calibri"/>
              <a:ea typeface="Calibri"/>
              <a:cs typeface="Calibri"/>
              <a:sym typeface="Calibri"/>
            </a:endParaRPr>
          </a:p>
          <a:p>
            <a:pPr marL="176213" marR="0" lvl="1" indent="-84773" algn="l" rtl="0">
              <a:lnSpc>
                <a:spcPct val="100000"/>
              </a:lnSpc>
              <a:spcBef>
                <a:spcPts val="0"/>
              </a:spcBef>
              <a:spcAft>
                <a:spcPts val="0"/>
              </a:spcAft>
              <a:buClr>
                <a:schemeClr val="accent1"/>
              </a:buClr>
              <a:buSzPts val="1440"/>
              <a:buFont typeface="Noto Sans Symbols"/>
              <a:buNone/>
            </a:pPr>
            <a:endParaRPr sz="1600" b="0" i="0" u="none" strike="noStrike" cap="none" dirty="0">
              <a:solidFill>
                <a:schemeClr val="lt1"/>
              </a:solidFill>
              <a:latin typeface="Calibri"/>
              <a:ea typeface="Calibri"/>
              <a:cs typeface="Calibri"/>
              <a:sym typeface="Calibri"/>
            </a:endParaRPr>
          </a:p>
          <a:p>
            <a:pPr marL="176213" marR="0" lvl="1" indent="-176213" algn="l" rtl="0">
              <a:lnSpc>
                <a:spcPct val="100000"/>
              </a:lnSpc>
              <a:spcBef>
                <a:spcPts val="0"/>
              </a:spcBef>
              <a:spcAft>
                <a:spcPts val="0"/>
              </a:spcAft>
              <a:buClr>
                <a:schemeClr val="accent1"/>
              </a:buClr>
              <a:buSzPts val="1440"/>
              <a:buFont typeface="Noto Sans Symbols"/>
              <a:buChar char="▪"/>
            </a:pPr>
            <a:r>
              <a:rPr lang="en-US" sz="1600" b="0" i="0" u="none" strike="noStrike" cap="none" dirty="0">
                <a:solidFill>
                  <a:schemeClr val="lt1"/>
                </a:solidFill>
                <a:latin typeface="Calibri"/>
                <a:ea typeface="Calibri"/>
                <a:cs typeface="Calibri"/>
                <a:sym typeface="Calibri"/>
              </a:rPr>
              <a:t>We work on a </a:t>
            </a:r>
            <a:r>
              <a:rPr lang="en-US" sz="1600" b="1" i="0" u="none" strike="noStrike" cap="none" dirty="0">
                <a:solidFill>
                  <a:schemeClr val="lt1"/>
                </a:solidFill>
                <a:latin typeface="Calibri"/>
                <a:ea typeface="Calibri"/>
                <a:cs typeface="Calibri"/>
                <a:sym typeface="Calibri"/>
              </a:rPr>
              <a:t>retainer basis</a:t>
            </a:r>
            <a:r>
              <a:rPr lang="en-US" sz="1600" b="0" i="0" u="none" strike="noStrike" cap="none" dirty="0">
                <a:solidFill>
                  <a:schemeClr val="lt1"/>
                </a:solidFill>
                <a:latin typeface="Calibri"/>
                <a:ea typeface="Calibri"/>
                <a:cs typeface="Calibri"/>
                <a:sym typeface="Calibri"/>
              </a:rPr>
              <a:t>, we are an extension of your team, and make it easy to work with us, which 1/minimizes </a:t>
            </a:r>
            <a:br>
              <a:rPr lang="en-US" sz="1600" b="0" i="0" u="none" strike="noStrike" cap="none" dirty="0">
                <a:solidFill>
                  <a:schemeClr val="lt1"/>
                </a:solidFill>
                <a:latin typeface="Calibri"/>
                <a:ea typeface="Calibri"/>
                <a:cs typeface="Calibri"/>
                <a:sym typeface="Calibri"/>
              </a:rPr>
            </a:br>
            <a:r>
              <a:rPr lang="en-US" sz="1600" b="0" i="0" u="none" strike="noStrike" cap="none" dirty="0">
                <a:solidFill>
                  <a:schemeClr val="lt1"/>
                </a:solidFill>
                <a:latin typeface="Calibri"/>
                <a:ea typeface="Calibri"/>
                <a:cs typeface="Calibri"/>
                <a:sym typeface="Calibri"/>
              </a:rPr>
              <a:t>the time you spend on paperwork and 2/allows you to work with us on an iterative basis</a:t>
            </a:r>
            <a:endParaRPr sz="1400" b="0" i="0" u="none" strike="noStrike" cap="none" dirty="0">
              <a:solidFill>
                <a:srgbClr val="000000"/>
              </a:solidFill>
              <a:latin typeface="Calibri"/>
              <a:ea typeface="Calibri"/>
              <a:cs typeface="Calibri"/>
              <a:sym typeface="Calibri"/>
            </a:endParaRPr>
          </a:p>
          <a:p>
            <a:pPr marL="176213" marR="0" lvl="1" indent="-84773" algn="l" rtl="0">
              <a:lnSpc>
                <a:spcPct val="100000"/>
              </a:lnSpc>
              <a:spcBef>
                <a:spcPts val="0"/>
              </a:spcBef>
              <a:spcAft>
                <a:spcPts val="0"/>
              </a:spcAft>
              <a:buClr>
                <a:schemeClr val="accent1"/>
              </a:buClr>
              <a:buSzPts val="1440"/>
              <a:buFont typeface="Noto Sans Symbols"/>
              <a:buNone/>
            </a:pPr>
            <a:endParaRPr sz="1600" b="0" i="0" u="none" strike="noStrike" cap="none" dirty="0">
              <a:solidFill>
                <a:schemeClr val="lt1"/>
              </a:solidFill>
              <a:latin typeface="Calibri"/>
              <a:ea typeface="Calibri"/>
              <a:cs typeface="Calibri"/>
              <a:sym typeface="Calibri"/>
            </a:endParaRPr>
          </a:p>
          <a:p>
            <a:pPr marL="176213" marR="0" lvl="1" indent="-176213" algn="l" rtl="0">
              <a:lnSpc>
                <a:spcPct val="100000"/>
              </a:lnSpc>
              <a:spcBef>
                <a:spcPts val="0"/>
              </a:spcBef>
              <a:spcAft>
                <a:spcPts val="0"/>
              </a:spcAft>
              <a:buClr>
                <a:schemeClr val="accent1"/>
              </a:buClr>
              <a:buSzPts val="1440"/>
              <a:buFont typeface="Noto Sans Symbols"/>
              <a:buChar char="▪"/>
            </a:pPr>
            <a:r>
              <a:rPr lang="en-US" sz="1600" b="0" i="0" u="none" strike="noStrike" cap="none" dirty="0">
                <a:solidFill>
                  <a:schemeClr val="lt1"/>
                </a:solidFill>
                <a:latin typeface="Calibri"/>
                <a:ea typeface="Calibri"/>
                <a:cs typeface="Calibri"/>
                <a:sym typeface="Calibri"/>
              </a:rPr>
              <a:t>The output of our work will become a knowledge asset of our client, who will hold the Intellectual Property of it</a:t>
            </a:r>
            <a:endParaRPr sz="1600" b="0" i="0" u="none" strike="noStrike" cap="none" dirty="0">
              <a:solidFill>
                <a:schemeClr val="lt1"/>
              </a:solidFill>
              <a:latin typeface="Calibri"/>
              <a:ea typeface="Calibri"/>
              <a:cs typeface="Calibri"/>
              <a:sym typeface="Calibri"/>
            </a:endParaRPr>
          </a:p>
        </p:txBody>
      </p:sp>
      <p:sp>
        <p:nvSpPr>
          <p:cNvPr id="894" name="Google Shape;894;p144"/>
          <p:cNvSpPr txBox="1"/>
          <p:nvPr/>
        </p:nvSpPr>
        <p:spPr>
          <a:xfrm>
            <a:off x="6238754" y="1857375"/>
            <a:ext cx="5402383"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2000"/>
              <a:buFont typeface="Arial"/>
              <a:buNone/>
            </a:pPr>
            <a:r>
              <a:rPr lang="en-US" sz="2000" b="1" i="0" u="none" strike="noStrike" cap="none">
                <a:solidFill>
                  <a:schemeClr val="accent1"/>
                </a:solidFill>
                <a:latin typeface="Calibri"/>
                <a:ea typeface="Calibri"/>
                <a:cs typeface="Calibri"/>
                <a:sym typeface="Calibri"/>
              </a:rPr>
              <a:t>Infomineo model</a:t>
            </a:r>
            <a:endParaRPr sz="1400" b="1" i="0" u="none" strike="noStrike" cap="none">
              <a:solidFill>
                <a:srgbClr val="000000"/>
              </a:solidFill>
              <a:latin typeface="Calibri"/>
              <a:ea typeface="Calibri"/>
              <a:cs typeface="Calibri"/>
              <a:sym typeface="Calibri"/>
            </a:endParaRPr>
          </a:p>
        </p:txBody>
      </p:sp>
      <p:cxnSp>
        <p:nvCxnSpPr>
          <p:cNvPr id="895" name="Google Shape;895;p144"/>
          <p:cNvCxnSpPr/>
          <p:nvPr/>
        </p:nvCxnSpPr>
        <p:spPr>
          <a:xfrm>
            <a:off x="6096000" y="3471090"/>
            <a:ext cx="5545136" cy="0"/>
          </a:xfrm>
          <a:prstGeom prst="straightConnector1">
            <a:avLst/>
          </a:prstGeom>
          <a:noFill/>
          <a:ln w="9525" cap="flat" cmpd="sng">
            <a:solidFill>
              <a:schemeClr val="lt1"/>
            </a:solidFill>
            <a:prstDash val="dash"/>
            <a:round/>
            <a:headEnd type="none" w="sm" len="sm"/>
            <a:tailEnd type="none" w="sm" len="sm"/>
          </a:ln>
        </p:spPr>
      </p:cxnSp>
      <p:cxnSp>
        <p:nvCxnSpPr>
          <p:cNvPr id="896" name="Google Shape;896;p144"/>
          <p:cNvCxnSpPr/>
          <p:nvPr/>
        </p:nvCxnSpPr>
        <p:spPr>
          <a:xfrm>
            <a:off x="539400" y="3471090"/>
            <a:ext cx="5545136" cy="0"/>
          </a:xfrm>
          <a:prstGeom prst="straightConnector1">
            <a:avLst/>
          </a:prstGeom>
          <a:noFill/>
          <a:ln w="9525" cap="flat" cmpd="sng">
            <a:solidFill>
              <a:schemeClr val="dk1"/>
            </a:solidFill>
            <a:prstDash val="dash"/>
            <a:round/>
            <a:headEnd type="none" w="sm" len="sm"/>
            <a:tailEnd type="none" w="sm" len="sm"/>
          </a:ln>
        </p:spPr>
      </p:cxnSp>
      <p:cxnSp>
        <p:nvCxnSpPr>
          <p:cNvPr id="897" name="Google Shape;897;p144"/>
          <p:cNvCxnSpPr/>
          <p:nvPr/>
        </p:nvCxnSpPr>
        <p:spPr>
          <a:xfrm>
            <a:off x="6096000" y="4408640"/>
            <a:ext cx="5545136" cy="0"/>
          </a:xfrm>
          <a:prstGeom prst="straightConnector1">
            <a:avLst/>
          </a:prstGeom>
          <a:noFill/>
          <a:ln w="9525" cap="flat" cmpd="sng">
            <a:solidFill>
              <a:schemeClr val="lt1"/>
            </a:solidFill>
            <a:prstDash val="dash"/>
            <a:round/>
            <a:headEnd type="none" w="sm" len="sm"/>
            <a:tailEnd type="none" w="sm" len="sm"/>
          </a:ln>
        </p:spPr>
      </p:cxnSp>
      <p:cxnSp>
        <p:nvCxnSpPr>
          <p:cNvPr id="898" name="Google Shape;898;p144"/>
          <p:cNvCxnSpPr/>
          <p:nvPr/>
        </p:nvCxnSpPr>
        <p:spPr>
          <a:xfrm>
            <a:off x="539400" y="4408640"/>
            <a:ext cx="5545136" cy="0"/>
          </a:xfrm>
          <a:prstGeom prst="straightConnector1">
            <a:avLst/>
          </a:prstGeom>
          <a:noFill/>
          <a:ln w="9525" cap="flat" cmpd="sng">
            <a:solidFill>
              <a:schemeClr val="dk1"/>
            </a:solidFill>
            <a:prstDash val="dash"/>
            <a:round/>
            <a:headEnd type="none" w="sm" len="sm"/>
            <a:tailEnd type="none" w="sm" len="sm"/>
          </a:ln>
        </p:spPr>
      </p:cxnSp>
      <p:cxnSp>
        <p:nvCxnSpPr>
          <p:cNvPr id="899" name="Google Shape;899;p144"/>
          <p:cNvCxnSpPr/>
          <p:nvPr/>
        </p:nvCxnSpPr>
        <p:spPr>
          <a:xfrm>
            <a:off x="6096000" y="5623982"/>
            <a:ext cx="5545136" cy="0"/>
          </a:xfrm>
          <a:prstGeom prst="straightConnector1">
            <a:avLst/>
          </a:prstGeom>
          <a:noFill/>
          <a:ln w="9525" cap="flat" cmpd="sng">
            <a:solidFill>
              <a:schemeClr val="lt1"/>
            </a:solidFill>
            <a:prstDash val="dash"/>
            <a:round/>
            <a:headEnd type="none" w="sm" len="sm"/>
            <a:tailEnd type="none" w="sm" len="sm"/>
          </a:ln>
        </p:spPr>
      </p:cxnSp>
      <p:cxnSp>
        <p:nvCxnSpPr>
          <p:cNvPr id="900" name="Google Shape;900;p144"/>
          <p:cNvCxnSpPr/>
          <p:nvPr/>
        </p:nvCxnSpPr>
        <p:spPr>
          <a:xfrm>
            <a:off x="539400" y="5623982"/>
            <a:ext cx="5545136" cy="0"/>
          </a:xfrm>
          <a:prstGeom prst="straightConnector1">
            <a:avLst/>
          </a:prstGeom>
          <a:noFill/>
          <a:ln w="9525" cap="flat" cmpd="sng">
            <a:solidFill>
              <a:schemeClr val="dk1"/>
            </a:solidFill>
            <a:prstDash val="dash"/>
            <a:round/>
            <a:headEnd type="none" w="sm" len="sm"/>
            <a:tailEnd type="none" w="sm" len="sm"/>
          </a:ln>
        </p:spPr>
      </p:cxnSp>
      <p:sp>
        <p:nvSpPr>
          <p:cNvPr id="901" name="Google Shape;901;p144"/>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lt1"/>
                </a:solidFill>
                <a:latin typeface="Calibri"/>
                <a:ea typeface="Calibri"/>
                <a:cs typeface="Calibri"/>
                <a:sym typeface="Calibri"/>
              </a:rPr>
              <a:t>Analytics</a:t>
            </a:r>
            <a:endParaRPr sz="1400" b="0" i="0" u="none" strike="noStrike" cap="none">
              <a:solidFill>
                <a:schemeClr val="lt1"/>
              </a:solidFill>
              <a:latin typeface="Calibri"/>
              <a:ea typeface="Calibri"/>
              <a:cs typeface="Calibri"/>
              <a:sym typeface="Calibri"/>
            </a:endParaRPr>
          </a:p>
        </p:txBody>
      </p:sp>
      <p:sp>
        <p:nvSpPr>
          <p:cNvPr id="902" name="Google Shape;902;p144"/>
          <p:cNvSpPr/>
          <p:nvPr/>
        </p:nvSpPr>
        <p:spPr>
          <a:xfrm>
            <a:off x="11557889" y="135255"/>
            <a:ext cx="468744" cy="46874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pic>
        <p:nvPicPr>
          <p:cNvPr id="903" name="Google Shape;903;p144"/>
          <p:cNvPicPr preferRelativeResize="0"/>
          <p:nvPr/>
        </p:nvPicPr>
        <p:blipFill rotWithShape="1">
          <a:blip r:embed="rId6">
            <a:alphaModFix/>
          </a:blip>
          <a:srcRect/>
          <a:stretch/>
        </p:blipFill>
        <p:spPr>
          <a:xfrm>
            <a:off x="11627442" y="209253"/>
            <a:ext cx="322766" cy="322766"/>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0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4465EB-264D-D4BE-800A-4678FC7DFE00}"/>
              </a:ext>
            </a:extLst>
          </p:cNvPr>
          <p:cNvGraphicFramePr>
            <a:graphicFrameLocks noChangeAspect="1"/>
          </p:cNvGraphicFramePr>
          <p:nvPr>
            <p:custDataLst>
              <p:tags r:id="rId1"/>
            </p:custDataLst>
            <p:extLst>
              <p:ext uri="{D42A27DB-BD31-4B8C-83A1-F6EECF244321}">
                <p14:modId xmlns:p14="http://schemas.microsoft.com/office/powerpoint/2010/main" val="1937315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754465EB-264D-D4BE-800A-4678FC7DFE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08" name="Google Shape;908;p145"/>
          <p:cNvSpPr txBox="1">
            <a:spLocks noGrp="1"/>
          </p:cNvSpPr>
          <p:nvPr>
            <p:ph type="title"/>
          </p:nvPr>
        </p:nvSpPr>
        <p:spPr>
          <a:xfrm>
            <a:off x="539400" y="560588"/>
            <a:ext cx="11089972" cy="461665"/>
          </a:xfrm>
          <a:prstGeom prst="rect">
            <a:avLst/>
          </a:prstGeom>
          <a:noFill/>
          <a:ln>
            <a:noFill/>
          </a:ln>
        </p:spPr>
        <p:txBody>
          <a:bodyPr spcFirstLastPara="1" wrap="square" lIns="0" tIns="0" rIns="0" bIns="0" anchor="t" anchorCtr="0">
            <a:spAutoFit/>
          </a:bodyPr>
          <a:lstStyle/>
          <a:p>
            <a:pPr>
              <a:lnSpc>
                <a:spcPct val="100000"/>
              </a:lnSpc>
              <a:buClr>
                <a:srgbClr val="000000"/>
              </a:buClr>
              <a:buSzPts val="1400"/>
            </a:pPr>
            <a:r>
              <a:rPr lang="en-US" sz="3000" b="1" dirty="0">
                <a:solidFill>
                  <a:schemeClr val="dk2"/>
                </a:solidFill>
                <a:latin typeface="Franklin Gothic" panose="020B0604020202020204" charset="0"/>
                <a:sym typeface="Libre Franklin"/>
              </a:rPr>
              <a:t>Infomineo offers a full suite of Data Analytics Services</a:t>
            </a:r>
            <a:endParaRPr lang="en-IN" sz="3000" b="1" dirty="0">
              <a:solidFill>
                <a:schemeClr val="dk2"/>
              </a:solidFill>
              <a:latin typeface="Franklin Gothic" panose="020B0604020202020204" charset="0"/>
              <a:sym typeface="Libre Franklin"/>
            </a:endParaRPr>
          </a:p>
        </p:txBody>
      </p:sp>
      <p:sp>
        <p:nvSpPr>
          <p:cNvPr id="909" name="Google Shape;909;p14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defTabSz="914400" rtl="0" eaLnBrk="1" fontAlgn="auto" latinLnBrk="0" hangingPunct="1">
              <a:lnSpc>
                <a:spcPct val="90000"/>
              </a:lnSpc>
              <a:spcBef>
                <a:spcPts val="0"/>
              </a:spcBef>
              <a:spcAft>
                <a:spcPts val="0"/>
              </a:spcAft>
              <a:buClr>
                <a:srgbClr val="000000"/>
              </a:buClr>
              <a:buSzPts val="1000"/>
              <a:buFont typeface="Arial"/>
              <a:buNone/>
              <a:tabLst/>
              <a:defRPr/>
            </a:pPr>
            <a:fld id="{00000000-1234-1234-1234-123412341234}" type="slidenum">
              <a:rPr kumimoji="0" lang="en-US" sz="1000" b="0" i="0" u="none" strike="noStrike" kern="1200" cap="none" spc="0" normalizeH="0" baseline="0" noProof="0">
                <a:ln>
                  <a:noFill/>
                </a:ln>
                <a:solidFill>
                  <a:srgbClr val="7F7F7F"/>
                </a:solidFill>
                <a:effectLst/>
                <a:uLnTx/>
                <a:uFillTx/>
                <a:latin typeface="Calibri"/>
                <a:ea typeface="Calibri"/>
                <a:cs typeface="Calibri"/>
                <a:sym typeface="Calibri"/>
              </a:rPr>
              <a:pPr marL="0" marR="0" lvl="0" indent="0" algn="r" defTabSz="914400" rtl="0" eaLnBrk="1" fontAlgn="auto" latinLnBrk="0" hangingPunct="1">
                <a:lnSpc>
                  <a:spcPct val="90000"/>
                </a:lnSpc>
                <a:spcBef>
                  <a:spcPts val="0"/>
                </a:spcBef>
                <a:spcAft>
                  <a:spcPts val="0"/>
                </a:spcAft>
                <a:buClr>
                  <a:srgbClr val="000000"/>
                </a:buClr>
                <a:buSzPts val="1000"/>
                <a:buFont typeface="Arial"/>
                <a:buNone/>
                <a:tabLst/>
                <a:defRPr/>
              </a:pPr>
              <a:t>8</a:t>
            </a:fld>
            <a:endParaRPr kumimoji="0" lang="en-IN" sz="1000" b="0" i="0" u="none" strike="noStrike" kern="1200" cap="none" spc="0" normalizeH="0" baseline="0" noProof="0">
              <a:ln>
                <a:noFill/>
              </a:ln>
              <a:solidFill>
                <a:srgbClr val="7F7F7F"/>
              </a:solidFill>
              <a:effectLst/>
              <a:uLnTx/>
              <a:uFillTx/>
              <a:latin typeface="Calibri"/>
              <a:ea typeface="Calibri"/>
              <a:cs typeface="Calibri"/>
              <a:sym typeface="Calibri"/>
            </a:endParaRPr>
          </a:p>
        </p:txBody>
      </p:sp>
      <p:sp>
        <p:nvSpPr>
          <p:cNvPr id="915" name="Google Shape;915;p145"/>
          <p:cNvSpPr/>
          <p:nvPr/>
        </p:nvSpPr>
        <p:spPr>
          <a:xfrm>
            <a:off x="8044017" y="1624059"/>
            <a:ext cx="3595646" cy="4449087"/>
          </a:xfrm>
          <a:prstGeom prst="roundRect">
            <a:avLst>
              <a:gd name="adj" fmla="val 3729"/>
            </a:avLst>
          </a:prstGeom>
          <a:solidFill>
            <a:schemeClr val="lt1"/>
          </a:solidFill>
          <a:ln>
            <a:noFill/>
          </a:ln>
          <a:effectLst>
            <a:outerShdw blurRad="508000" algn="ctr" rotWithShape="0">
              <a:srgbClr val="000000">
                <a:alpha val="11764"/>
              </a:srgbClr>
            </a:outerShdw>
          </a:effectLst>
        </p:spPr>
        <p:txBody>
          <a:bodyPr spcFirstLastPara="1" wrap="square" lIns="144000" tIns="180000" rIns="144000" bIns="180000" anchor="t" anchorCtr="0">
            <a:noAutofit/>
          </a:bodyPr>
          <a:lstStyle/>
          <a:p>
            <a:pPr marL="0" marR="0" lvl="0" indent="0" algn="ctr" defTabSz="914400" rtl="0" eaLnBrk="1" fontAlgn="auto" latinLnBrk="0" hangingPunct="1">
              <a:lnSpc>
                <a:spcPct val="141666"/>
              </a:lnSpc>
              <a:spcBef>
                <a:spcPts val="0"/>
              </a:spcBef>
              <a:spcAft>
                <a:spcPts val="0"/>
              </a:spcAft>
              <a:buClr>
                <a:srgbClr val="00B9FF"/>
              </a:buClr>
              <a:buSzPts val="1200"/>
              <a:buFont typeface="Calibri"/>
              <a:buNone/>
              <a:tabLst/>
              <a:defRPr/>
            </a:pPr>
            <a:endParaRPr kumimoji="0" sz="12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910" name="Google Shape;910;p145"/>
          <p:cNvSpPr/>
          <p:nvPr/>
        </p:nvSpPr>
        <p:spPr>
          <a:xfrm>
            <a:off x="4294326" y="1654536"/>
            <a:ext cx="3595646" cy="4449087"/>
          </a:xfrm>
          <a:prstGeom prst="roundRect">
            <a:avLst>
              <a:gd name="adj" fmla="val 3729"/>
            </a:avLst>
          </a:prstGeom>
          <a:solidFill>
            <a:schemeClr val="lt1"/>
          </a:solidFill>
          <a:ln>
            <a:noFill/>
          </a:ln>
          <a:effectLst>
            <a:outerShdw blurRad="508000" algn="ctr" rotWithShape="0">
              <a:srgbClr val="000000">
                <a:alpha val="11764"/>
              </a:srgbClr>
            </a:outerShdw>
          </a:effectLst>
        </p:spPr>
        <p:txBody>
          <a:bodyPr spcFirstLastPara="1" wrap="square" lIns="144000" tIns="180000" rIns="144000" bIns="180000"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endPar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endParaRPr>
          </a:p>
        </p:txBody>
      </p:sp>
      <p:sp>
        <p:nvSpPr>
          <p:cNvPr id="912" name="Google Shape;912;p145"/>
          <p:cNvSpPr/>
          <p:nvPr/>
        </p:nvSpPr>
        <p:spPr>
          <a:xfrm>
            <a:off x="539400" y="1652273"/>
            <a:ext cx="3599407" cy="4449087"/>
          </a:xfrm>
          <a:prstGeom prst="roundRect">
            <a:avLst>
              <a:gd name="adj" fmla="val 3729"/>
            </a:avLst>
          </a:prstGeom>
          <a:solidFill>
            <a:schemeClr val="lt1"/>
          </a:solidFill>
          <a:ln>
            <a:noFill/>
          </a:ln>
          <a:effectLst>
            <a:outerShdw blurRad="508000" algn="ctr" rotWithShape="0">
              <a:srgbClr val="000000">
                <a:alpha val="11764"/>
              </a:srgbClr>
            </a:outerShdw>
          </a:effectLst>
        </p:spPr>
        <p:txBody>
          <a:bodyPr spcFirstLastPara="1" wrap="square" lIns="144000" tIns="180000" rIns="144000" bIns="180000" anchor="t" anchorCtr="0">
            <a:noAutofit/>
          </a:bodyPr>
          <a:lstStyle/>
          <a:p>
            <a:pPr marL="0" marR="0" lvl="0" indent="0" algn="ctr" defTabSz="914400" rtl="0" eaLnBrk="1" fontAlgn="auto" latinLnBrk="0" hangingPunct="1">
              <a:lnSpc>
                <a:spcPct val="141666"/>
              </a:lnSpc>
              <a:spcBef>
                <a:spcPts val="0"/>
              </a:spcBef>
              <a:spcAft>
                <a:spcPts val="0"/>
              </a:spcAft>
              <a:buClr>
                <a:srgbClr val="00B9FF"/>
              </a:buClr>
              <a:buSzPts val="1200"/>
              <a:buFont typeface="Calibri"/>
              <a:buNone/>
              <a:tabLst/>
              <a:defRPr/>
            </a:pPr>
            <a:endParaRPr kumimoji="0" sz="12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914" name="Google Shape;914;p145"/>
          <p:cNvSpPr txBox="1"/>
          <p:nvPr/>
        </p:nvSpPr>
        <p:spPr>
          <a:xfrm>
            <a:off x="1999869" y="2497863"/>
            <a:ext cx="2095141" cy="581698"/>
          </a:xfrm>
          <a:prstGeom prst="rect">
            <a:avLst/>
          </a:prstGeom>
          <a:noFill/>
          <a:ln>
            <a:noFill/>
          </a:ln>
        </p:spPr>
        <p:txBody>
          <a:bodyPr spcFirstLastPara="1" wrap="square" lIns="0" tIns="0" rIns="0" bIns="0" anchor="ctr" anchorCtr="0">
            <a:spAutoFit/>
          </a:bodyPr>
          <a:lstStyle/>
          <a:p>
            <a:pPr marL="173038" marR="0" lvl="1" indent="-173038" algn="l" defTabSz="914400" rtl="0" eaLnBrk="1" fontAlgn="auto" latinLnBrk="0" hangingPunct="1">
              <a:lnSpc>
                <a:spcPct val="90000"/>
              </a:lnSpc>
              <a:spcBef>
                <a:spcPts val="0"/>
              </a:spcBef>
              <a:spcAft>
                <a:spcPts val="0"/>
              </a:spcAft>
              <a:buClr>
                <a:srgbClr val="0F47F2"/>
              </a:buClr>
              <a:buSzPts val="1400"/>
              <a:buFont typeface="Noto Sans Symbols"/>
              <a:buChar char="▪"/>
              <a:tabLst/>
              <a:defRPr/>
            </a:pPr>
            <a:r>
              <a:rPr kumimoji="0" lang="en-US" sz="1400" b="0" i="0" u="none" strike="noStrike" kern="1200" cap="none" spc="0" normalizeH="0" baseline="0" noProof="0">
                <a:ln>
                  <a:noFill/>
                </a:ln>
                <a:solidFill>
                  <a:srgbClr val="3D3D3D"/>
                </a:solidFill>
                <a:effectLst/>
                <a:uLnTx/>
                <a:uFillTx/>
                <a:latin typeface="Calibri"/>
                <a:ea typeface="Calibri"/>
                <a:cs typeface="Calibri"/>
                <a:sym typeface="Calibri"/>
              </a:rPr>
              <a:t>Data Exploration</a:t>
            </a:r>
            <a:endParaRPr kumimoji="0" sz="1400" b="0" i="0" u="none" strike="noStrike" kern="1200" cap="none" spc="0" normalizeH="0" baseline="0" noProof="0">
              <a:ln>
                <a:noFill/>
              </a:ln>
              <a:solidFill>
                <a:srgbClr val="000000"/>
              </a:solidFill>
              <a:effectLst/>
              <a:uLnTx/>
              <a:uFillTx/>
              <a:latin typeface="Calibri"/>
              <a:ea typeface="Calibri"/>
              <a:cs typeface="Calibri"/>
              <a:sym typeface="Calibri"/>
            </a:endParaRPr>
          </a:p>
          <a:p>
            <a:pPr marL="173038" marR="0" lvl="1" indent="-173038" algn="l" defTabSz="914400" rtl="0" eaLnBrk="1" fontAlgn="auto" latinLnBrk="0" hangingPunct="1">
              <a:lnSpc>
                <a:spcPct val="90000"/>
              </a:lnSpc>
              <a:spcBef>
                <a:spcPts val="0"/>
              </a:spcBef>
              <a:spcAft>
                <a:spcPts val="0"/>
              </a:spcAft>
              <a:buClr>
                <a:srgbClr val="0F47F2"/>
              </a:buClr>
              <a:buSzPts val="1400"/>
              <a:buFont typeface="Noto Sans Symbols"/>
              <a:buChar char="▪"/>
              <a:tabLst/>
              <a:defRPr/>
            </a:pPr>
            <a:r>
              <a:rPr kumimoji="0" lang="en-US" sz="1400" b="0" i="0" u="none" strike="noStrike" kern="1200" cap="none" spc="0" normalizeH="0" baseline="0" noProof="0">
                <a:ln>
                  <a:noFill/>
                </a:ln>
                <a:solidFill>
                  <a:srgbClr val="3D3D3D"/>
                </a:solidFill>
                <a:effectLst/>
                <a:uLnTx/>
                <a:uFillTx/>
                <a:latin typeface="Calibri"/>
                <a:ea typeface="Calibri"/>
                <a:cs typeface="Calibri"/>
                <a:sym typeface="Calibri"/>
              </a:rPr>
              <a:t>Statistical Analysis</a:t>
            </a:r>
            <a:endParaRPr kumimoji="0" sz="1400" b="0" i="0" u="none" strike="noStrike" kern="1200" cap="none" spc="0" normalizeH="0" baseline="0" noProof="0">
              <a:ln>
                <a:noFill/>
              </a:ln>
              <a:solidFill>
                <a:srgbClr val="000000"/>
              </a:solidFill>
              <a:effectLst/>
              <a:uLnTx/>
              <a:uFillTx/>
              <a:latin typeface="Calibri"/>
              <a:ea typeface="Calibri"/>
              <a:cs typeface="Calibri"/>
              <a:sym typeface="Calibri"/>
            </a:endParaRPr>
          </a:p>
          <a:p>
            <a:pPr marL="173038" marR="0" lvl="1" indent="-173038" algn="l" defTabSz="914400" rtl="0" eaLnBrk="1" fontAlgn="auto" latinLnBrk="0" hangingPunct="1">
              <a:lnSpc>
                <a:spcPct val="90000"/>
              </a:lnSpc>
              <a:spcBef>
                <a:spcPts val="0"/>
              </a:spcBef>
              <a:spcAft>
                <a:spcPts val="0"/>
              </a:spcAft>
              <a:buClr>
                <a:srgbClr val="0F47F2"/>
              </a:buClr>
              <a:buSzPts val="1400"/>
              <a:buFont typeface="Noto Sans Symbols"/>
              <a:buChar char="▪"/>
              <a:tabLst/>
              <a:defRPr/>
            </a:pPr>
            <a:r>
              <a:rPr kumimoji="0" lang="en-US" sz="1400" b="0" i="0" u="none" strike="noStrike" kern="1200" cap="none" spc="0" normalizeH="0" baseline="0" noProof="0">
                <a:ln>
                  <a:noFill/>
                </a:ln>
                <a:solidFill>
                  <a:srgbClr val="3D3D3D"/>
                </a:solidFill>
                <a:effectLst/>
                <a:uLnTx/>
                <a:uFillTx/>
                <a:latin typeface="Calibri"/>
                <a:ea typeface="Calibri"/>
                <a:cs typeface="Calibri"/>
                <a:sym typeface="Calibri"/>
              </a:rPr>
              <a:t>Data Visualization</a:t>
            </a:r>
            <a:endParaRPr kumimoji="0" sz="1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917" name="Google Shape;917;p145"/>
          <p:cNvSpPr/>
          <p:nvPr/>
        </p:nvSpPr>
        <p:spPr>
          <a:xfrm rot="5400000">
            <a:off x="761447" y="2254276"/>
            <a:ext cx="1032415" cy="1068873"/>
          </a:xfrm>
          <a:prstGeom prst="roundRect">
            <a:avLst>
              <a:gd name="adj" fmla="val 13304"/>
            </a:avLst>
          </a:prstGeom>
          <a:solidFill>
            <a:schemeClr val="lt1">
              <a:alpha val="49411"/>
            </a:schemeClr>
          </a:solidFill>
          <a:ln w="19050" cap="flat" cmpd="sng">
            <a:gradFill flip="none" rotWithShape="1">
              <a:gsLst>
                <a:gs pos="100000">
                  <a:schemeClr val="tx2"/>
                </a:gs>
                <a:gs pos="0">
                  <a:schemeClr val="tx2">
                    <a:lumMod val="50000"/>
                  </a:schemeClr>
                </a:gs>
              </a:gsLst>
              <a:lin ang="13500000" scaled="1"/>
              <a:tileRect/>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918" name="Google Shape;918;p145"/>
          <p:cNvSpPr/>
          <p:nvPr/>
        </p:nvSpPr>
        <p:spPr>
          <a:xfrm>
            <a:off x="775608" y="2574185"/>
            <a:ext cx="1004093" cy="429054"/>
          </a:xfrm>
          <a:prstGeom prst="roundRect">
            <a:avLst>
              <a:gd name="adj" fmla="val 16667"/>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14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Data </a:t>
            </a:r>
            <a:endParaRPr kumimoji="0" sz="14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endParaRPr>
          </a:p>
          <a:p>
            <a:pPr marL="0" marR="0" lvl="0" indent="0" algn="ctr"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14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Analysis</a:t>
            </a:r>
            <a:endParaRPr kumimoji="0" sz="14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endParaRPr>
          </a:p>
        </p:txBody>
      </p:sp>
      <p:sp>
        <p:nvSpPr>
          <p:cNvPr id="919" name="Google Shape;919;p145"/>
          <p:cNvSpPr/>
          <p:nvPr/>
        </p:nvSpPr>
        <p:spPr>
          <a:xfrm rot="5400000">
            <a:off x="613875" y="4712802"/>
            <a:ext cx="1340491" cy="1094433"/>
          </a:xfrm>
          <a:prstGeom prst="roundRect">
            <a:avLst>
              <a:gd name="adj" fmla="val 10321"/>
            </a:avLst>
          </a:prstGeom>
          <a:solidFill>
            <a:schemeClr val="lt1">
              <a:alpha val="49411"/>
            </a:schemeClr>
          </a:solidFill>
          <a:ln w="19050" cap="flat" cmpd="sng">
            <a:gradFill flip="none" rotWithShape="1">
              <a:gsLst>
                <a:gs pos="100000">
                  <a:schemeClr val="tx2"/>
                </a:gs>
                <a:gs pos="0">
                  <a:schemeClr val="tx2">
                    <a:lumMod val="50000"/>
                  </a:schemeClr>
                </a:gs>
              </a:gsLst>
              <a:lin ang="13500000" scaled="1"/>
              <a:tileRect/>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920" name="Google Shape;920;p145"/>
          <p:cNvSpPr/>
          <p:nvPr/>
        </p:nvSpPr>
        <p:spPr>
          <a:xfrm>
            <a:off x="782075" y="5045491"/>
            <a:ext cx="1004093" cy="429054"/>
          </a:xfrm>
          <a:prstGeom prst="roundRect">
            <a:avLst>
              <a:gd name="adj" fmla="val 16667"/>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14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Data Engineering</a:t>
            </a:r>
            <a:endParaRPr kumimoji="0" sz="14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endParaRPr>
          </a:p>
        </p:txBody>
      </p:sp>
      <p:sp>
        <p:nvSpPr>
          <p:cNvPr id="921" name="Google Shape;921;p145"/>
          <p:cNvSpPr txBox="1"/>
          <p:nvPr/>
        </p:nvSpPr>
        <p:spPr>
          <a:xfrm>
            <a:off x="1956122" y="4589773"/>
            <a:ext cx="2095017" cy="1357295"/>
          </a:xfrm>
          <a:prstGeom prst="rect">
            <a:avLst/>
          </a:prstGeom>
          <a:noFill/>
          <a:ln>
            <a:noFill/>
          </a:ln>
        </p:spPr>
        <p:txBody>
          <a:bodyPr spcFirstLastPara="1" wrap="square" lIns="0" tIns="0" rIns="0" bIns="0" anchor="t" anchorCtr="0">
            <a:spAutoFit/>
          </a:bodyPr>
          <a:lstStyle/>
          <a:p>
            <a:pPr marL="173038" marR="0" lvl="1" indent="-173038" algn="l" defTabSz="914400" rtl="0" eaLnBrk="1" fontAlgn="auto" latinLnBrk="0" hangingPunct="1">
              <a:lnSpc>
                <a:spcPct val="90000"/>
              </a:lnSpc>
              <a:spcBef>
                <a:spcPts val="0"/>
              </a:spcBef>
              <a:spcAft>
                <a:spcPts val="0"/>
              </a:spcAft>
              <a:buClr>
                <a:srgbClr val="0F47F2"/>
              </a:buClr>
              <a:buSzPts val="1400"/>
              <a:buFont typeface="Noto Sans Symbols"/>
              <a:buChar char="▪"/>
              <a:tabLst/>
              <a:defRPr/>
            </a:pPr>
            <a:r>
              <a:rPr kumimoji="0" lang="en-US" sz="1400" b="0" i="0" u="none" strike="noStrike" kern="1200" cap="none" spc="0" normalizeH="0" baseline="0" noProof="0">
                <a:ln>
                  <a:noFill/>
                </a:ln>
                <a:solidFill>
                  <a:srgbClr val="3D3D3D"/>
                </a:solidFill>
                <a:effectLst/>
                <a:uLnTx/>
                <a:uFillTx/>
                <a:latin typeface="Calibri"/>
                <a:ea typeface="Calibri"/>
                <a:cs typeface="Calibri"/>
                <a:sym typeface="Calibri"/>
              </a:rPr>
              <a:t>Data Sourcing and Integration</a:t>
            </a:r>
            <a:endParaRPr kumimoji="0" sz="1400" b="0" i="0" u="none" strike="noStrike" kern="1200" cap="none" spc="0" normalizeH="0" baseline="0" noProof="0">
              <a:ln>
                <a:noFill/>
              </a:ln>
              <a:solidFill>
                <a:srgbClr val="000000"/>
              </a:solidFill>
              <a:effectLst/>
              <a:uLnTx/>
              <a:uFillTx/>
              <a:latin typeface="Calibri"/>
              <a:ea typeface="Calibri"/>
              <a:cs typeface="Calibri"/>
              <a:sym typeface="Calibri"/>
            </a:endParaRPr>
          </a:p>
          <a:p>
            <a:pPr marL="173038" marR="0" lvl="1" indent="-173038" algn="l" defTabSz="914400" rtl="0" eaLnBrk="1" fontAlgn="auto" latinLnBrk="0" hangingPunct="1">
              <a:lnSpc>
                <a:spcPct val="90000"/>
              </a:lnSpc>
              <a:spcBef>
                <a:spcPts val="0"/>
              </a:spcBef>
              <a:spcAft>
                <a:spcPts val="0"/>
              </a:spcAft>
              <a:buClr>
                <a:srgbClr val="0F47F2"/>
              </a:buClr>
              <a:buSzPts val="1400"/>
              <a:buFont typeface="Noto Sans Symbols"/>
              <a:buChar char="▪"/>
              <a:tabLst/>
              <a:defRPr/>
            </a:pPr>
            <a:r>
              <a:rPr kumimoji="0" lang="en-US" sz="1400" b="0" i="0" u="none" strike="noStrike" kern="1200" cap="none" spc="0" normalizeH="0" baseline="0" noProof="0">
                <a:ln>
                  <a:noFill/>
                </a:ln>
                <a:solidFill>
                  <a:srgbClr val="3D3D3D"/>
                </a:solidFill>
                <a:effectLst/>
                <a:uLnTx/>
                <a:uFillTx/>
                <a:latin typeface="Calibri"/>
                <a:ea typeface="Calibri"/>
                <a:cs typeface="Calibri"/>
                <a:sym typeface="Calibri"/>
              </a:rPr>
              <a:t>Data Cleaning and</a:t>
            </a:r>
            <a:endParaRPr kumimoji="0" sz="1400" b="0" i="0" u="none" strike="noStrike" kern="1200" cap="none" spc="0" normalizeH="0" baseline="0" noProof="0">
              <a:ln>
                <a:noFill/>
              </a:ln>
              <a:solidFill>
                <a:srgbClr val="000000"/>
              </a:solidFill>
              <a:effectLst/>
              <a:uLnTx/>
              <a:uFillTx/>
              <a:latin typeface="Calibri"/>
              <a:ea typeface="Calibri"/>
              <a:cs typeface="Calibri"/>
              <a:sym typeface="Calibri"/>
            </a:endParaRPr>
          </a:p>
          <a:p>
            <a:pPr marL="173038" marR="0" lvl="1" indent="-173038" algn="l" defTabSz="914400" rtl="0" eaLnBrk="1" fontAlgn="auto" latinLnBrk="0" hangingPunct="1">
              <a:lnSpc>
                <a:spcPct val="90000"/>
              </a:lnSpc>
              <a:spcBef>
                <a:spcPts val="0"/>
              </a:spcBef>
              <a:spcAft>
                <a:spcPts val="0"/>
              </a:spcAft>
              <a:buClr>
                <a:srgbClr val="0F47F2"/>
              </a:buClr>
              <a:buSzPts val="1400"/>
              <a:buFont typeface="Noto Sans Symbols"/>
              <a:buChar char="▪"/>
              <a:tabLst/>
              <a:defRPr/>
            </a:pPr>
            <a:r>
              <a:rPr kumimoji="0" lang="en-US" sz="1400" b="0" i="0" u="none" strike="noStrike" kern="1200" cap="none" spc="0" normalizeH="0" baseline="0" noProof="0">
                <a:ln>
                  <a:noFill/>
                </a:ln>
                <a:solidFill>
                  <a:srgbClr val="3D3D3D"/>
                </a:solidFill>
                <a:effectLst/>
                <a:uLnTx/>
                <a:uFillTx/>
                <a:latin typeface="Calibri"/>
                <a:ea typeface="Calibri"/>
                <a:cs typeface="Calibri"/>
                <a:sym typeface="Calibri"/>
              </a:rPr>
              <a:t>Feature Engineering and Data transformation</a:t>
            </a:r>
            <a:endParaRPr kumimoji="0" sz="1400" b="0" i="0" u="none" strike="noStrike" kern="1200" cap="none" spc="0" normalizeH="0" baseline="0" noProof="0">
              <a:ln>
                <a:noFill/>
              </a:ln>
              <a:solidFill>
                <a:srgbClr val="000000"/>
              </a:solidFill>
              <a:effectLst/>
              <a:uLnTx/>
              <a:uFillTx/>
              <a:latin typeface="Calibri"/>
              <a:ea typeface="Calibri"/>
              <a:cs typeface="Calibri"/>
              <a:sym typeface="Calibri"/>
            </a:endParaRPr>
          </a:p>
          <a:p>
            <a:pPr marL="173038" marR="0" lvl="1" indent="-173038" algn="l" defTabSz="914400" rtl="0" eaLnBrk="1" fontAlgn="auto" latinLnBrk="0" hangingPunct="1">
              <a:lnSpc>
                <a:spcPct val="90000"/>
              </a:lnSpc>
              <a:spcBef>
                <a:spcPts val="0"/>
              </a:spcBef>
              <a:spcAft>
                <a:spcPts val="0"/>
              </a:spcAft>
              <a:buClr>
                <a:srgbClr val="0F47F2"/>
              </a:buClr>
              <a:buSzPts val="1400"/>
              <a:buFont typeface="Noto Sans Symbols"/>
              <a:buChar char="▪"/>
              <a:tabLst/>
              <a:defRPr/>
            </a:pPr>
            <a:r>
              <a:rPr kumimoji="0" lang="en-US" sz="1400" b="0" i="0" u="none" strike="noStrike" kern="1200" cap="none" spc="0" normalizeH="0" baseline="0" noProof="0">
                <a:ln>
                  <a:noFill/>
                </a:ln>
                <a:solidFill>
                  <a:srgbClr val="3D3D3D"/>
                </a:solidFill>
                <a:effectLst/>
                <a:uLnTx/>
                <a:uFillTx/>
                <a:latin typeface="Calibri"/>
                <a:ea typeface="Calibri"/>
                <a:cs typeface="Calibri"/>
                <a:sym typeface="Calibri"/>
              </a:rPr>
              <a:t>Model Deployment and scalability</a:t>
            </a:r>
            <a:endParaRPr kumimoji="0" sz="1400" b="0" i="0" u="none" strike="noStrike" kern="1200" cap="none" spc="0" normalizeH="0" baseline="0" noProof="0">
              <a:ln>
                <a:noFill/>
              </a:ln>
              <a:solidFill>
                <a:srgbClr val="3D3D3D"/>
              </a:solidFill>
              <a:effectLst/>
              <a:uLnTx/>
              <a:uFillTx/>
              <a:latin typeface="Calibri"/>
              <a:ea typeface="Calibri"/>
              <a:cs typeface="Calibri"/>
              <a:sym typeface="Calibri"/>
            </a:endParaRPr>
          </a:p>
        </p:txBody>
      </p:sp>
      <p:sp>
        <p:nvSpPr>
          <p:cNvPr id="922" name="Google Shape;922;p145"/>
          <p:cNvSpPr txBox="1"/>
          <p:nvPr/>
        </p:nvSpPr>
        <p:spPr>
          <a:xfrm>
            <a:off x="4371117" y="2399542"/>
            <a:ext cx="1590493" cy="664797"/>
          </a:xfrm>
          <a:prstGeom prst="rect">
            <a:avLst/>
          </a:prstGeom>
          <a:noFill/>
          <a:ln>
            <a:noFill/>
          </a:ln>
        </p:spPr>
        <p:txBody>
          <a:bodyPr spcFirstLastPara="1" wrap="square" lIns="0" tIns="0" rIns="0" bIns="0" anchor="t" anchorCtr="0">
            <a:spAutoFit/>
          </a:bodyPr>
          <a:lstStyle/>
          <a:p>
            <a:pPr marL="0" marR="0" lvl="1" indent="0" algn="ctr" defTabSz="914400" rtl="0" eaLnBrk="1" fontAlgn="auto" latinLnBrk="0" hangingPunct="1">
              <a:lnSpc>
                <a:spcPct val="90000"/>
              </a:lnSpc>
              <a:spcBef>
                <a:spcPts val="0"/>
              </a:spcBef>
              <a:spcAft>
                <a:spcPts val="0"/>
              </a:spcAft>
              <a:buClr>
                <a:srgbClr val="00B050"/>
              </a:buClr>
              <a:buSzPts val="1400"/>
              <a:buFont typeface="Noto Sans Symbols"/>
              <a:buNone/>
              <a:tabLst/>
              <a:defRPr/>
            </a:pPr>
            <a:r>
              <a:rPr kumimoji="0" lang="en-US" sz="1200" b="1" i="1" u="none" strike="noStrike" kern="1200" cap="none" spc="0" normalizeH="0" baseline="0" noProof="0" dirty="0">
                <a:ln>
                  <a:noFill/>
                </a:ln>
                <a:solidFill>
                  <a:srgbClr val="444444"/>
                </a:solidFill>
                <a:effectLst/>
                <a:uLnTx/>
                <a:uFillTx/>
                <a:latin typeface="Calibri"/>
                <a:ea typeface="Calibri"/>
                <a:cs typeface="Calibri"/>
                <a:sym typeface="Calibri"/>
              </a:rPr>
              <a:t>Brainshoring</a:t>
            </a:r>
            <a:r>
              <a:rPr kumimoji="0" lang="en-US" sz="1200" b="0" i="0" u="none" strike="noStrike" kern="1200" cap="none" spc="0" normalizeH="0" baseline="0" noProof="0" dirty="0">
                <a:ln>
                  <a:noFill/>
                </a:ln>
                <a:solidFill>
                  <a:srgbClr val="444444"/>
                </a:solidFill>
                <a:effectLst/>
                <a:uLnTx/>
                <a:uFillTx/>
                <a:latin typeface="Calibri"/>
                <a:ea typeface="Calibri"/>
                <a:cs typeface="Calibri"/>
                <a:sym typeface="Calibri"/>
              </a:rPr>
              <a:t>: business sense and critical thinking applied to our clients’ problems</a:t>
            </a:r>
            <a:endParaRPr kumimoji="0" sz="1200" b="0" i="0" u="none" strike="noStrike" kern="1200" cap="none" spc="0" normalizeH="0" baseline="0" noProof="0" dirty="0">
              <a:ln>
                <a:noFill/>
              </a:ln>
              <a:solidFill>
                <a:srgbClr val="444444"/>
              </a:solidFill>
              <a:effectLst/>
              <a:uLnTx/>
              <a:uFillTx/>
              <a:latin typeface="Calibri"/>
              <a:ea typeface="Calibri"/>
              <a:cs typeface="Calibri"/>
              <a:sym typeface="Calibri"/>
            </a:endParaRPr>
          </a:p>
        </p:txBody>
      </p:sp>
      <p:sp>
        <p:nvSpPr>
          <p:cNvPr id="923" name="Google Shape;923;p145"/>
          <p:cNvSpPr/>
          <p:nvPr/>
        </p:nvSpPr>
        <p:spPr>
          <a:xfrm>
            <a:off x="4634260" y="3159746"/>
            <a:ext cx="1214273" cy="1215895"/>
          </a:xfrm>
          <a:prstGeom prst="flowChartConnector">
            <a:avLst/>
          </a:prstGeom>
          <a:solidFill>
            <a:schemeClr val="lt1"/>
          </a:solidFill>
          <a:ln w="28575" cap="flat" cmpd="sng">
            <a:gradFill>
              <a:gsLst>
                <a:gs pos="0">
                  <a:schemeClr val="tx2">
                    <a:lumMod val="50000"/>
                  </a:schemeClr>
                </a:gs>
                <a:gs pos="100000">
                  <a:schemeClr val="tx2"/>
                </a:gs>
              </a:gsLst>
              <a:lin ang="5400000" scaled="1"/>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endParaRPr kumimoji="0"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endParaRPr>
          </a:p>
        </p:txBody>
      </p:sp>
      <p:sp>
        <p:nvSpPr>
          <p:cNvPr id="924" name="Google Shape;924;p145"/>
          <p:cNvSpPr/>
          <p:nvPr/>
        </p:nvSpPr>
        <p:spPr>
          <a:xfrm>
            <a:off x="5485013" y="3796163"/>
            <a:ext cx="1214273" cy="1215895"/>
          </a:xfrm>
          <a:prstGeom prst="flowChartConnector">
            <a:avLst/>
          </a:prstGeom>
          <a:solidFill>
            <a:schemeClr val="lt1"/>
          </a:solidFill>
          <a:ln w="28575" cap="flat" cmpd="sng">
            <a:gradFill>
              <a:gsLst>
                <a:gs pos="0">
                  <a:schemeClr val="tx2">
                    <a:lumMod val="50000"/>
                  </a:schemeClr>
                </a:gs>
                <a:gs pos="100000">
                  <a:schemeClr val="tx2"/>
                </a:gs>
              </a:gsLst>
              <a:lin ang="5400000" scaled="1"/>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endParaRPr kumimoji="0"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endParaRPr>
          </a:p>
        </p:txBody>
      </p:sp>
      <p:sp>
        <p:nvSpPr>
          <p:cNvPr id="925" name="Google Shape;925;p145"/>
          <p:cNvSpPr/>
          <p:nvPr/>
        </p:nvSpPr>
        <p:spPr>
          <a:xfrm>
            <a:off x="6339491" y="3159746"/>
            <a:ext cx="1214273" cy="1215895"/>
          </a:xfrm>
          <a:prstGeom prst="flowChartConnector">
            <a:avLst/>
          </a:prstGeom>
          <a:solidFill>
            <a:schemeClr val="lt1"/>
          </a:solidFill>
          <a:ln w="28575" cap="flat" cmpd="sng">
            <a:gradFill>
              <a:gsLst>
                <a:gs pos="0">
                  <a:schemeClr val="tx2">
                    <a:lumMod val="50000"/>
                  </a:schemeClr>
                </a:gs>
                <a:gs pos="100000">
                  <a:schemeClr val="tx2"/>
                </a:gs>
              </a:gsLst>
              <a:lin ang="5400000" scaled="1"/>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endParaRPr kumimoji="0"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endParaRPr>
          </a:p>
        </p:txBody>
      </p:sp>
      <p:sp>
        <p:nvSpPr>
          <p:cNvPr id="926" name="Google Shape;926;p145"/>
          <p:cNvSpPr txBox="1"/>
          <p:nvPr/>
        </p:nvSpPr>
        <p:spPr>
          <a:xfrm>
            <a:off x="6207941" y="2410844"/>
            <a:ext cx="1540991" cy="664797"/>
          </a:xfrm>
          <a:prstGeom prst="rect">
            <a:avLst/>
          </a:prstGeom>
          <a:noFill/>
          <a:ln>
            <a:noFill/>
          </a:ln>
        </p:spPr>
        <p:txBody>
          <a:bodyPr spcFirstLastPara="1" wrap="square" lIns="0" tIns="0" rIns="0" bIns="0" anchor="t" anchorCtr="0">
            <a:spAutoFit/>
          </a:bodyPr>
          <a:lstStyle/>
          <a:p>
            <a:pPr marL="0" marR="0" lvl="1" indent="0" algn="ctr" defTabSz="914400" rtl="0" eaLnBrk="1" fontAlgn="auto" latinLnBrk="0" hangingPunct="1">
              <a:lnSpc>
                <a:spcPct val="90000"/>
              </a:lnSpc>
              <a:spcBef>
                <a:spcPts val="0"/>
              </a:spcBef>
              <a:spcAft>
                <a:spcPts val="0"/>
              </a:spcAft>
              <a:buClr>
                <a:srgbClr val="00B050"/>
              </a:buClr>
              <a:buSzPts val="1400"/>
              <a:buFont typeface="Arial"/>
              <a:buNone/>
              <a:tabLst/>
              <a:defRPr/>
            </a:pPr>
            <a:r>
              <a:rPr kumimoji="0" lang="en-US" sz="1200" b="0" i="0" u="none" strike="noStrike" kern="1200" cap="none" spc="0" normalizeH="0" baseline="0" noProof="0">
                <a:ln>
                  <a:noFill/>
                </a:ln>
                <a:solidFill>
                  <a:srgbClr val="444444"/>
                </a:solidFill>
                <a:effectLst/>
                <a:uLnTx/>
                <a:uFillTx/>
                <a:latin typeface="Calibri"/>
                <a:ea typeface="Calibri"/>
                <a:cs typeface="Calibri"/>
                <a:sym typeface="Calibri"/>
              </a:rPr>
              <a:t>We work in an iterative approach to be always align to our clients’ needs and expectations</a:t>
            </a:r>
            <a:endParaRPr kumimoji="0" sz="1200" b="0" i="0" u="none" strike="noStrike" kern="1200" cap="none" spc="0" normalizeH="0" baseline="0" noProof="0">
              <a:ln>
                <a:noFill/>
              </a:ln>
              <a:solidFill>
                <a:srgbClr val="444444"/>
              </a:solidFill>
              <a:effectLst/>
              <a:uLnTx/>
              <a:uFillTx/>
              <a:latin typeface="Calibri"/>
              <a:ea typeface="Calibri"/>
              <a:cs typeface="Calibri"/>
              <a:sym typeface="Calibri"/>
            </a:endParaRPr>
          </a:p>
        </p:txBody>
      </p:sp>
      <p:sp>
        <p:nvSpPr>
          <p:cNvPr id="927" name="Google Shape;927;p145"/>
          <p:cNvSpPr txBox="1"/>
          <p:nvPr/>
        </p:nvSpPr>
        <p:spPr>
          <a:xfrm>
            <a:off x="5150432" y="5049878"/>
            <a:ext cx="1883434" cy="830997"/>
          </a:xfrm>
          <a:prstGeom prst="rect">
            <a:avLst/>
          </a:prstGeom>
          <a:noFill/>
          <a:ln>
            <a:noFill/>
          </a:ln>
        </p:spPr>
        <p:txBody>
          <a:bodyPr spcFirstLastPara="1" wrap="square" lIns="0" tIns="0" rIns="0" bIns="0" anchor="t" anchorCtr="0">
            <a:spAutoFit/>
          </a:bodyPr>
          <a:lstStyle/>
          <a:p>
            <a:pPr marL="0" marR="0" lvl="1" indent="0" algn="ctr" defTabSz="914400" rtl="0" eaLnBrk="1" fontAlgn="auto" latinLnBrk="0" hangingPunct="1">
              <a:lnSpc>
                <a:spcPct val="90000"/>
              </a:lnSpc>
              <a:spcBef>
                <a:spcPts val="0"/>
              </a:spcBef>
              <a:spcAft>
                <a:spcPts val="0"/>
              </a:spcAft>
              <a:buClr>
                <a:srgbClr val="00B050"/>
              </a:buClr>
              <a:buSzPts val="1400"/>
              <a:buFont typeface="Noto Sans Symbols"/>
              <a:buNone/>
              <a:tabLst/>
              <a:defRPr/>
            </a:pPr>
            <a:r>
              <a:rPr kumimoji="0" lang="en-US" sz="1200" b="0" i="0" u="none" strike="noStrike" kern="1200" cap="none" spc="0" normalizeH="0" baseline="0" noProof="0">
                <a:ln>
                  <a:noFill/>
                </a:ln>
                <a:solidFill>
                  <a:srgbClr val="444444"/>
                </a:solidFill>
                <a:effectLst/>
                <a:uLnTx/>
                <a:uFillTx/>
                <a:latin typeface="Calibri"/>
                <a:ea typeface="Calibri"/>
                <a:cs typeface="Calibri"/>
                <a:sym typeface="Calibri"/>
              </a:rPr>
              <a:t>We take care of release and change management, including versioning, unit tests, model validation, documentation, etc.</a:t>
            </a:r>
            <a:endParaRPr kumimoji="0" sz="1200" b="0" i="0" u="none" strike="noStrike" kern="1200" cap="none" spc="0" normalizeH="0" baseline="0" noProof="0">
              <a:ln>
                <a:noFill/>
              </a:ln>
              <a:solidFill>
                <a:srgbClr val="444444"/>
              </a:solidFill>
              <a:effectLst/>
              <a:uLnTx/>
              <a:uFillTx/>
              <a:latin typeface="Calibri"/>
              <a:ea typeface="Calibri"/>
              <a:cs typeface="Calibri"/>
              <a:sym typeface="Calibri"/>
            </a:endParaRPr>
          </a:p>
        </p:txBody>
      </p:sp>
      <p:pic>
        <p:nvPicPr>
          <p:cNvPr id="928" name="Google Shape;928;p145" descr="Research outline"/>
          <p:cNvPicPr preferRelativeResize="0"/>
          <p:nvPr/>
        </p:nvPicPr>
        <p:blipFill rotWithShape="1">
          <a:blip r:embed="rId6">
            <a:alphaModFix/>
            <a:duotone>
              <a:prstClr val="black"/>
              <a:schemeClr val="tx2">
                <a:tint val="45000"/>
                <a:satMod val="400000"/>
              </a:schemeClr>
            </a:duotone>
          </a:blip>
          <a:srcRect/>
          <a:stretch/>
        </p:blipFill>
        <p:spPr>
          <a:xfrm>
            <a:off x="782076" y="2322451"/>
            <a:ext cx="385248" cy="331848"/>
          </a:xfrm>
          <a:prstGeom prst="rect">
            <a:avLst/>
          </a:prstGeom>
          <a:noFill/>
          <a:ln>
            <a:noFill/>
          </a:ln>
        </p:spPr>
      </p:pic>
      <p:sp>
        <p:nvSpPr>
          <p:cNvPr id="929" name="Google Shape;929;p145"/>
          <p:cNvSpPr/>
          <p:nvPr/>
        </p:nvSpPr>
        <p:spPr>
          <a:xfrm rot="5400000">
            <a:off x="767914" y="3412910"/>
            <a:ext cx="1032415" cy="1068873"/>
          </a:xfrm>
          <a:prstGeom prst="roundRect">
            <a:avLst>
              <a:gd name="adj" fmla="val 12183"/>
            </a:avLst>
          </a:prstGeom>
          <a:solidFill>
            <a:schemeClr val="lt1">
              <a:alpha val="49411"/>
            </a:schemeClr>
          </a:solidFill>
          <a:ln w="19050" cap="flat" cmpd="sng">
            <a:gradFill flip="none" rotWithShape="1">
              <a:gsLst>
                <a:gs pos="100000">
                  <a:schemeClr val="tx2"/>
                </a:gs>
                <a:gs pos="0">
                  <a:schemeClr val="tx2">
                    <a:lumMod val="50000"/>
                  </a:schemeClr>
                </a:gs>
              </a:gsLst>
              <a:lin ang="13500000" scaled="1"/>
              <a:tileRect/>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930" name="Google Shape;930;p145"/>
          <p:cNvSpPr/>
          <p:nvPr/>
        </p:nvSpPr>
        <p:spPr>
          <a:xfrm>
            <a:off x="782076" y="3774336"/>
            <a:ext cx="1004093" cy="429054"/>
          </a:xfrm>
          <a:prstGeom prst="roundRect">
            <a:avLst>
              <a:gd name="adj" fmla="val 16667"/>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14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Data </a:t>
            </a:r>
            <a:endParaRPr kumimoji="0" sz="14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endParaRPr>
          </a:p>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14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Science</a:t>
            </a:r>
            <a:endParaRPr kumimoji="0" sz="14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endParaRPr>
          </a:p>
        </p:txBody>
      </p:sp>
      <p:sp>
        <p:nvSpPr>
          <p:cNvPr id="931" name="Google Shape;931;p145"/>
          <p:cNvSpPr txBox="1"/>
          <p:nvPr/>
        </p:nvSpPr>
        <p:spPr>
          <a:xfrm>
            <a:off x="1937186" y="3656497"/>
            <a:ext cx="2095017" cy="581698"/>
          </a:xfrm>
          <a:prstGeom prst="rect">
            <a:avLst/>
          </a:prstGeom>
          <a:noFill/>
          <a:ln>
            <a:noFill/>
          </a:ln>
        </p:spPr>
        <p:txBody>
          <a:bodyPr spcFirstLastPara="1" wrap="square" lIns="0" tIns="0" rIns="0" bIns="0" anchor="t" anchorCtr="0">
            <a:spAutoFit/>
          </a:bodyPr>
          <a:lstStyle/>
          <a:p>
            <a:pPr marL="173038" marR="0" lvl="1" indent="-173038" algn="l" defTabSz="914400" rtl="0" eaLnBrk="1" fontAlgn="auto" latinLnBrk="0" hangingPunct="1">
              <a:lnSpc>
                <a:spcPct val="90000"/>
              </a:lnSpc>
              <a:spcBef>
                <a:spcPts val="0"/>
              </a:spcBef>
              <a:spcAft>
                <a:spcPts val="0"/>
              </a:spcAft>
              <a:buClr>
                <a:srgbClr val="0F47F2"/>
              </a:buClr>
              <a:buSzPts val="1400"/>
              <a:buFont typeface="Noto Sans Symbols"/>
              <a:buChar char="▪"/>
              <a:tabLst/>
              <a:defRPr/>
            </a:pPr>
            <a:r>
              <a:rPr kumimoji="0" lang="en-US" sz="1400" b="0" i="0" u="none" strike="noStrike" kern="1200" cap="none" spc="0" normalizeH="0" baseline="0" noProof="0" dirty="0">
                <a:ln>
                  <a:noFill/>
                </a:ln>
                <a:solidFill>
                  <a:srgbClr val="3D3D3D"/>
                </a:solidFill>
                <a:effectLst/>
                <a:uLnTx/>
                <a:uFillTx/>
                <a:latin typeface="Calibri"/>
                <a:ea typeface="Calibri"/>
                <a:cs typeface="Calibri"/>
                <a:sym typeface="Calibri"/>
              </a:rPr>
              <a:t>Model building and tuning</a:t>
            </a:r>
            <a:endParaRPr kumimoji="0" sz="1400" b="0" i="0" u="none" strike="noStrike" kern="1200" cap="none" spc="0" normalizeH="0" baseline="0" noProof="0" dirty="0">
              <a:ln>
                <a:noFill/>
              </a:ln>
              <a:solidFill>
                <a:srgbClr val="000000"/>
              </a:solidFill>
              <a:effectLst/>
              <a:uLnTx/>
              <a:uFillTx/>
              <a:latin typeface="Calibri"/>
              <a:ea typeface="Calibri"/>
              <a:cs typeface="Calibri"/>
              <a:sym typeface="Calibri"/>
            </a:endParaRPr>
          </a:p>
          <a:p>
            <a:pPr marL="173038" marR="0" lvl="1" indent="-173038" algn="l" defTabSz="914400" rtl="0" eaLnBrk="1" fontAlgn="auto" latinLnBrk="0" hangingPunct="1">
              <a:lnSpc>
                <a:spcPct val="90000"/>
              </a:lnSpc>
              <a:spcBef>
                <a:spcPts val="0"/>
              </a:spcBef>
              <a:spcAft>
                <a:spcPts val="0"/>
              </a:spcAft>
              <a:buClr>
                <a:srgbClr val="0F47F2"/>
              </a:buClr>
              <a:buSzPts val="1400"/>
              <a:buFont typeface="Noto Sans Symbols"/>
              <a:buChar char="▪"/>
              <a:tabLst/>
              <a:defRPr/>
            </a:pPr>
            <a:r>
              <a:rPr kumimoji="0" lang="en-US" sz="1400" b="0" i="0" u="none" strike="noStrike" kern="1200" cap="none" spc="0" normalizeH="0" baseline="0" noProof="0" dirty="0">
                <a:ln>
                  <a:noFill/>
                </a:ln>
                <a:solidFill>
                  <a:srgbClr val="3D3D3D"/>
                </a:solidFill>
                <a:effectLst/>
                <a:uLnTx/>
                <a:uFillTx/>
                <a:latin typeface="Calibri"/>
                <a:ea typeface="Calibri"/>
                <a:cs typeface="Calibri"/>
                <a:sym typeface="Calibri"/>
              </a:rPr>
              <a:t>Model evaluation and retraining </a:t>
            </a:r>
            <a:endParaRPr kumimoji="0" sz="1400" b="0" i="0" u="none" strike="noStrike" kern="1200" cap="none" spc="0" normalizeH="0" baseline="0" noProof="0" dirty="0">
              <a:ln>
                <a:noFill/>
              </a:ln>
              <a:solidFill>
                <a:srgbClr val="3D3D3D"/>
              </a:solidFill>
              <a:effectLst/>
              <a:uLnTx/>
              <a:uFillTx/>
              <a:latin typeface="Calibri"/>
              <a:ea typeface="Calibri"/>
              <a:cs typeface="Calibri"/>
              <a:sym typeface="Calibri"/>
            </a:endParaRPr>
          </a:p>
        </p:txBody>
      </p:sp>
      <p:pic>
        <p:nvPicPr>
          <p:cNvPr id="932" name="Google Shape;932;p145" descr="Business Growth outline"/>
          <p:cNvPicPr preferRelativeResize="0"/>
          <p:nvPr/>
        </p:nvPicPr>
        <p:blipFill rotWithShape="1">
          <a:blip r:embed="rId7">
            <a:alphaModFix/>
            <a:duotone>
              <a:prstClr val="black"/>
              <a:schemeClr val="tx2">
                <a:tint val="45000"/>
                <a:satMod val="400000"/>
              </a:schemeClr>
            </a:duotone>
          </a:blip>
          <a:srcRect/>
          <a:stretch/>
        </p:blipFill>
        <p:spPr>
          <a:xfrm>
            <a:off x="765713" y="3548899"/>
            <a:ext cx="385248" cy="331848"/>
          </a:xfrm>
          <a:prstGeom prst="rect">
            <a:avLst/>
          </a:prstGeom>
          <a:noFill/>
          <a:ln>
            <a:noFill/>
          </a:ln>
        </p:spPr>
      </p:pic>
      <p:pic>
        <p:nvPicPr>
          <p:cNvPr id="933" name="Google Shape;933;p145" descr="Server outline"/>
          <p:cNvPicPr preferRelativeResize="0"/>
          <p:nvPr/>
        </p:nvPicPr>
        <p:blipFill rotWithShape="1">
          <a:blip r:embed="rId8">
            <a:alphaModFix/>
            <a:duotone>
              <a:prstClr val="black"/>
              <a:schemeClr val="tx2">
                <a:tint val="45000"/>
                <a:satMod val="400000"/>
              </a:schemeClr>
            </a:duotone>
          </a:blip>
          <a:srcRect/>
          <a:stretch/>
        </p:blipFill>
        <p:spPr>
          <a:xfrm flipH="1">
            <a:off x="712025" y="4680061"/>
            <a:ext cx="385248" cy="331848"/>
          </a:xfrm>
          <a:prstGeom prst="rect">
            <a:avLst/>
          </a:prstGeom>
          <a:noFill/>
          <a:ln>
            <a:noFill/>
          </a:ln>
        </p:spPr>
      </p:pic>
      <p:sp>
        <p:nvSpPr>
          <p:cNvPr id="940" name="Google Shape;940;p145"/>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000"/>
              <a:buFontTx/>
              <a:buNone/>
              <a:tabLst/>
              <a:defRPr/>
            </a:pPr>
            <a:r>
              <a:rPr kumimoji="0" lang="en-US" sz="1000" b="0" i="0" u="none" strike="noStrike" kern="1200" cap="none" spc="0" normalizeH="0" baseline="0" noProof="0" dirty="0">
                <a:ln>
                  <a:noFill/>
                </a:ln>
                <a:solidFill>
                  <a:srgbClr val="0F47F2"/>
                </a:solidFill>
                <a:effectLst/>
                <a:uLnTx/>
                <a:uFillTx/>
                <a:latin typeface="Franklin Gothic"/>
                <a:ea typeface="+mn-ea"/>
                <a:cs typeface="+mn-cs"/>
                <a:sym typeface="Calibri"/>
              </a:rPr>
              <a:t>Analytics</a:t>
            </a:r>
            <a:endParaRPr kumimoji="0" sz="1000" b="0" i="0" u="none" strike="noStrike" kern="1200" cap="none" spc="0" normalizeH="0" baseline="0" noProof="0" dirty="0">
              <a:ln>
                <a:noFill/>
              </a:ln>
              <a:solidFill>
                <a:srgbClr val="0F47F2"/>
              </a:solidFill>
              <a:effectLst/>
              <a:uLnTx/>
              <a:uFillTx/>
              <a:latin typeface="Franklin Gothic"/>
              <a:ea typeface="+mn-ea"/>
              <a:cs typeface="+mn-cs"/>
              <a:sym typeface="Calibri"/>
            </a:endParaRPr>
          </a:p>
        </p:txBody>
      </p:sp>
      <p:sp>
        <p:nvSpPr>
          <p:cNvPr id="941" name="Google Shape;941;p145"/>
          <p:cNvSpPr/>
          <p:nvPr/>
        </p:nvSpPr>
        <p:spPr>
          <a:xfrm>
            <a:off x="11557889"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00"/>
              <a:buFont typeface="Arial"/>
              <a:buNone/>
              <a:tabLst/>
              <a:defRPr/>
            </a:pPr>
            <a:endParaRPr kumimoji="0" sz="1000" b="0" i="0" u="none" strike="noStrike" kern="1200" cap="none" spc="0" normalizeH="0" baseline="0" noProof="0">
              <a:ln>
                <a:noFill/>
              </a:ln>
              <a:solidFill>
                <a:srgbClr val="FFFFFF"/>
              </a:solidFill>
              <a:effectLst/>
              <a:uLnTx/>
              <a:uFillTx/>
              <a:latin typeface="Calibri"/>
              <a:ea typeface="Calibri"/>
              <a:cs typeface="Calibri"/>
              <a:sym typeface="Calibri"/>
            </a:endParaRPr>
          </a:p>
        </p:txBody>
      </p:sp>
      <p:pic>
        <p:nvPicPr>
          <p:cNvPr id="942" name="Google Shape;942;p145"/>
          <p:cNvPicPr preferRelativeResize="0"/>
          <p:nvPr/>
        </p:nvPicPr>
        <p:blipFill rotWithShape="1">
          <a:blip r:embed="rId9">
            <a:alphaModFix/>
          </a:blip>
          <a:srcRect/>
          <a:stretch/>
        </p:blipFill>
        <p:spPr>
          <a:xfrm>
            <a:off x="11627442" y="209253"/>
            <a:ext cx="322766" cy="322766"/>
          </a:xfrm>
          <a:prstGeom prst="rect">
            <a:avLst/>
          </a:prstGeom>
          <a:noFill/>
          <a:ln>
            <a:noFill/>
          </a:ln>
        </p:spPr>
      </p:pic>
      <p:sp>
        <p:nvSpPr>
          <p:cNvPr id="3" name="Google Shape;1407;p9">
            <a:extLst>
              <a:ext uri="{FF2B5EF4-FFF2-40B4-BE49-F238E27FC236}">
                <a16:creationId xmlns:a16="http://schemas.microsoft.com/office/drawing/2014/main" id="{4EBF31B7-89AA-58E1-F90D-939DD7014AAC}"/>
              </a:ext>
            </a:extLst>
          </p:cNvPr>
          <p:cNvSpPr>
            <a:spLocks/>
          </p:cNvSpPr>
          <p:nvPr/>
        </p:nvSpPr>
        <p:spPr>
          <a:xfrm>
            <a:off x="539400" y="1637867"/>
            <a:ext cx="3634102" cy="447659"/>
          </a:xfrm>
          <a:prstGeom prst="round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Franklin Gothic"/>
              </a:rPr>
              <a:t>Three Levels of Analytics</a:t>
            </a: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p:txBody>
      </p:sp>
      <p:sp>
        <p:nvSpPr>
          <p:cNvPr id="4" name="Google Shape;1407;p9">
            <a:extLst>
              <a:ext uri="{FF2B5EF4-FFF2-40B4-BE49-F238E27FC236}">
                <a16:creationId xmlns:a16="http://schemas.microsoft.com/office/drawing/2014/main" id="{76BA2E10-E7FB-07F4-326E-BFBFD2954538}"/>
              </a:ext>
            </a:extLst>
          </p:cNvPr>
          <p:cNvSpPr>
            <a:spLocks/>
          </p:cNvSpPr>
          <p:nvPr/>
        </p:nvSpPr>
        <p:spPr>
          <a:xfrm>
            <a:off x="4310359" y="1637867"/>
            <a:ext cx="3634102" cy="447659"/>
          </a:xfrm>
          <a:prstGeom prst="round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Franklin Gothic"/>
              </a:rPr>
              <a:t>Business Oriented Approach </a:t>
            </a: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p:txBody>
      </p:sp>
      <p:sp>
        <p:nvSpPr>
          <p:cNvPr id="5" name="Google Shape;1407;p9">
            <a:extLst>
              <a:ext uri="{FF2B5EF4-FFF2-40B4-BE49-F238E27FC236}">
                <a16:creationId xmlns:a16="http://schemas.microsoft.com/office/drawing/2014/main" id="{FC6088DA-5948-207C-78C6-D8122ADB315F}"/>
              </a:ext>
            </a:extLst>
          </p:cNvPr>
          <p:cNvSpPr>
            <a:spLocks/>
          </p:cNvSpPr>
          <p:nvPr/>
        </p:nvSpPr>
        <p:spPr>
          <a:xfrm>
            <a:off x="8026829" y="1637867"/>
            <a:ext cx="3634102" cy="447659"/>
          </a:xfrm>
          <a:prstGeom prst="roundRect">
            <a:avLst/>
          </a:prstGeom>
          <a:gradFill flip="none" rotWithShape="1">
            <a:gsLst>
              <a:gs pos="16000">
                <a:schemeClr val="tx2">
                  <a:lumMod val="50000"/>
                </a:schemeClr>
              </a:gs>
              <a:gs pos="45000">
                <a:schemeClr val="tx2">
                  <a:lumMod val="75000"/>
                  <a:alpha val="90000"/>
                </a:schemeClr>
              </a:gs>
              <a:gs pos="79000">
                <a:srgbClr val="036DFF">
                  <a:alpha val="8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Franklin Gothic"/>
              </a:rPr>
              <a:t>Three Types of Data Services</a:t>
            </a: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Arial"/>
            </a:endParaRPr>
          </a:p>
        </p:txBody>
      </p:sp>
      <p:sp>
        <p:nvSpPr>
          <p:cNvPr id="9" name="TextBox 8">
            <a:extLst>
              <a:ext uri="{FF2B5EF4-FFF2-40B4-BE49-F238E27FC236}">
                <a16:creationId xmlns:a16="http://schemas.microsoft.com/office/drawing/2014/main" id="{D38EBEC5-D9A4-7EAC-4CF7-FBA65AEF3064}"/>
              </a:ext>
            </a:extLst>
          </p:cNvPr>
          <p:cNvSpPr txBox="1"/>
          <p:nvPr/>
        </p:nvSpPr>
        <p:spPr>
          <a:xfrm>
            <a:off x="4671978" y="3399658"/>
            <a:ext cx="1138836" cy="590931"/>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Business </a:t>
            </a:r>
            <a:b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br>
            <a: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and Data </a:t>
            </a:r>
            <a:b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br>
            <a: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Understanding</a:t>
            </a:r>
          </a:p>
        </p:txBody>
      </p:sp>
      <p:sp>
        <p:nvSpPr>
          <p:cNvPr id="13" name="TextBox 12">
            <a:extLst>
              <a:ext uri="{FF2B5EF4-FFF2-40B4-BE49-F238E27FC236}">
                <a16:creationId xmlns:a16="http://schemas.microsoft.com/office/drawing/2014/main" id="{5B009FB4-D02D-9DC4-5701-D976E3758D3E}"/>
              </a:ext>
            </a:extLst>
          </p:cNvPr>
          <p:cNvSpPr txBox="1"/>
          <p:nvPr/>
        </p:nvSpPr>
        <p:spPr>
          <a:xfrm>
            <a:off x="5522731" y="4191744"/>
            <a:ext cx="1138836" cy="424732"/>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Delivery Management</a:t>
            </a:r>
          </a:p>
        </p:txBody>
      </p:sp>
      <p:sp>
        <p:nvSpPr>
          <p:cNvPr id="17" name="TextBox 16">
            <a:extLst>
              <a:ext uri="{FF2B5EF4-FFF2-40B4-BE49-F238E27FC236}">
                <a16:creationId xmlns:a16="http://schemas.microsoft.com/office/drawing/2014/main" id="{58865423-812B-EFB8-0AA6-51358C730A14}"/>
              </a:ext>
            </a:extLst>
          </p:cNvPr>
          <p:cNvSpPr txBox="1"/>
          <p:nvPr/>
        </p:nvSpPr>
        <p:spPr>
          <a:xfrm>
            <a:off x="6402945" y="3555327"/>
            <a:ext cx="1087365" cy="424732"/>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1200" b="1" i="0" u="none" strike="noStrike" kern="1200" cap="none" spc="0" normalizeH="0" baseline="0" noProof="0" dirty="0">
                <a:ln>
                  <a:noFill/>
                </a:ln>
                <a:solidFill>
                  <a:srgbClr val="0F47F2">
                    <a:lumMod val="50000"/>
                  </a:srgbClr>
                </a:solidFill>
                <a:effectLst/>
                <a:uLnTx/>
                <a:uFillTx/>
                <a:latin typeface="Calibri"/>
                <a:ea typeface="Calibri"/>
                <a:cs typeface="Calibri"/>
                <a:sym typeface="Calibri"/>
              </a:rPr>
              <a:t>Agile Methodology</a:t>
            </a:r>
          </a:p>
        </p:txBody>
      </p:sp>
      <p:sp>
        <p:nvSpPr>
          <p:cNvPr id="7" name="Rectangle 6">
            <a:extLst>
              <a:ext uri="{FF2B5EF4-FFF2-40B4-BE49-F238E27FC236}">
                <a16:creationId xmlns:a16="http://schemas.microsoft.com/office/drawing/2014/main" id="{F73FBB78-8CE2-6E8D-6F69-16ADF052977B}"/>
              </a:ext>
            </a:extLst>
          </p:cNvPr>
          <p:cNvSpPr>
            <a:spLocks/>
          </p:cNvSpPr>
          <p:nvPr/>
        </p:nvSpPr>
        <p:spPr>
          <a:xfrm rot="5400000">
            <a:off x="9334213" y="1130002"/>
            <a:ext cx="1032294" cy="3502978"/>
          </a:xfrm>
          <a:prstGeom prst="rect">
            <a:avLst/>
          </a:prstGeom>
          <a:gradFill>
            <a:gsLst>
              <a:gs pos="0">
                <a:schemeClr val="bg1">
                  <a:lumMod val="95000"/>
                  <a:alpha val="65000"/>
                </a:schemeClr>
              </a:gs>
              <a:gs pos="100000">
                <a:schemeClr val="bg1"/>
              </a:gs>
            </a:gsLst>
            <a:lin ang="5400000" scaled="1"/>
          </a:gradFill>
          <a:ln w="9525">
            <a:gradFill flip="none" rotWithShape="1">
              <a:gsLst>
                <a:gs pos="0">
                  <a:schemeClr val="tx2"/>
                </a:gs>
                <a:gs pos="100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4DC616FB-7503-6990-E6C2-08E0E495F62E}"/>
              </a:ext>
            </a:extLst>
          </p:cNvPr>
          <p:cNvSpPr txBox="1"/>
          <p:nvPr/>
        </p:nvSpPr>
        <p:spPr>
          <a:xfrm>
            <a:off x="8109491" y="2379195"/>
            <a:ext cx="3197914" cy="1031051"/>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300"/>
              </a:spcAft>
              <a:buClr>
                <a:srgbClr val="00B050"/>
              </a:buClr>
              <a:buSzPts val="1400"/>
              <a:buFontTx/>
              <a:buNone/>
              <a:tabLst/>
              <a:defRPr/>
            </a:pPr>
            <a:r>
              <a:rPr kumimoji="0" lang="en-US" sz="1400" b="1" i="0" u="none" strike="noStrike" kern="1200" cap="none" spc="0" normalizeH="0" baseline="0" noProof="0" dirty="0">
                <a:ln>
                  <a:noFill/>
                </a:ln>
                <a:solidFill>
                  <a:srgbClr val="0F47F2"/>
                </a:solidFill>
                <a:effectLst/>
                <a:uLnTx/>
                <a:uFillTx/>
                <a:latin typeface="Calibri"/>
                <a:ea typeface="Calibri"/>
                <a:cs typeface="Calibri"/>
                <a:sym typeface="Calibri"/>
              </a:rPr>
              <a:t>Acquire and Prepare</a:t>
            </a:r>
          </a:p>
          <a:p>
            <a:pPr marL="0" marR="0" lvl="1" indent="0" algn="l" defTabSz="914400" rtl="0" eaLnBrk="1" fontAlgn="auto" latinLnBrk="0" hangingPunct="1">
              <a:lnSpc>
                <a:spcPct val="100000"/>
              </a:lnSpc>
              <a:spcBef>
                <a:spcPts val="0"/>
              </a:spcBef>
              <a:spcAft>
                <a:spcPts val="300"/>
              </a:spcAft>
              <a:buClr>
                <a:srgbClr val="00B050"/>
              </a:buClr>
              <a:buSzPts val="1400"/>
              <a:buFontTx/>
              <a:buNone/>
              <a:tabLst/>
              <a:defRPr/>
            </a:pPr>
            <a:r>
              <a:rPr kumimoji="0" lang="en-US" sz="1400" b="0" i="0" u="none" strike="noStrike" kern="1200" cap="none" spc="0" normalizeH="0" baseline="0" noProof="0" dirty="0">
                <a:ln>
                  <a:noFill/>
                </a:ln>
                <a:solidFill>
                  <a:srgbClr val="3D3D3D"/>
                </a:solidFill>
                <a:effectLst/>
                <a:uLnTx/>
                <a:uFillTx/>
                <a:latin typeface="Calibri"/>
                <a:ea typeface="Calibri"/>
                <a:cs typeface="Calibri"/>
                <a:sym typeface="Calibri"/>
              </a:rPr>
              <a:t>Unleash the </a:t>
            </a:r>
            <a:r>
              <a:rPr kumimoji="0" lang="en-US" sz="1400" b="1" i="0" u="none" strike="noStrike" kern="1200" cap="none" spc="0" normalizeH="0" baseline="0" noProof="0" dirty="0">
                <a:ln>
                  <a:noFill/>
                </a:ln>
                <a:solidFill>
                  <a:srgbClr val="3D3D3D"/>
                </a:solidFill>
                <a:effectLst/>
                <a:uLnTx/>
                <a:uFillTx/>
                <a:latin typeface="Calibri"/>
                <a:ea typeface="Calibri"/>
                <a:cs typeface="Calibri"/>
                <a:sym typeface="Calibri"/>
              </a:rPr>
              <a:t>power of Information </a:t>
            </a:r>
          </a:p>
          <a:p>
            <a:pPr marL="0" marR="0" lvl="1" indent="0" algn="l" defTabSz="914400" rtl="0" eaLnBrk="1" fontAlgn="auto" latinLnBrk="0" hangingPunct="1">
              <a:lnSpc>
                <a:spcPct val="100000"/>
              </a:lnSpc>
              <a:spcBef>
                <a:spcPts val="0"/>
              </a:spcBef>
              <a:spcAft>
                <a:spcPts val="300"/>
              </a:spcAft>
              <a:buClr>
                <a:srgbClr val="00B050"/>
              </a:buClr>
              <a:buSzPts val="1400"/>
              <a:buFontTx/>
              <a:buNone/>
              <a:tabLst/>
              <a:defRPr/>
            </a:pPr>
            <a:r>
              <a:rPr kumimoji="0" lang="en-US" sz="1400" b="0" i="0" u="none" strike="noStrike" kern="1200" cap="none" spc="0" normalizeH="0" baseline="0" noProof="0" dirty="0">
                <a:ln>
                  <a:noFill/>
                </a:ln>
                <a:solidFill>
                  <a:srgbClr val="3D3D3D"/>
                </a:solidFill>
                <a:effectLst/>
                <a:uLnTx/>
                <a:uFillTx/>
                <a:latin typeface="Calibri"/>
                <a:ea typeface="Calibri"/>
                <a:cs typeface="Calibri"/>
                <a:sym typeface="Calibri"/>
              </a:rPr>
              <a:t>Discover, assess, clean, and transform Data from multiple sources with ease</a:t>
            </a:r>
          </a:p>
        </p:txBody>
      </p:sp>
      <p:sp>
        <p:nvSpPr>
          <p:cNvPr id="14" name="Rectangle 13">
            <a:extLst>
              <a:ext uri="{FF2B5EF4-FFF2-40B4-BE49-F238E27FC236}">
                <a16:creationId xmlns:a16="http://schemas.microsoft.com/office/drawing/2014/main" id="{E7870172-A7C8-36B8-9A39-D6BC8B725EE7}"/>
              </a:ext>
            </a:extLst>
          </p:cNvPr>
          <p:cNvSpPr>
            <a:spLocks/>
          </p:cNvSpPr>
          <p:nvPr/>
        </p:nvSpPr>
        <p:spPr>
          <a:xfrm rot="5400000">
            <a:off x="9212854" y="2377670"/>
            <a:ext cx="1275012" cy="3502978"/>
          </a:xfrm>
          <a:prstGeom prst="rect">
            <a:avLst/>
          </a:prstGeom>
          <a:gradFill>
            <a:gsLst>
              <a:gs pos="0">
                <a:schemeClr val="bg1">
                  <a:lumMod val="95000"/>
                  <a:alpha val="65000"/>
                </a:schemeClr>
              </a:gs>
              <a:gs pos="100000">
                <a:schemeClr val="bg1"/>
              </a:gs>
            </a:gsLst>
            <a:lin ang="5400000" scaled="1"/>
          </a:gradFill>
          <a:ln w="9525">
            <a:gradFill flip="none" rotWithShape="1">
              <a:gsLst>
                <a:gs pos="0">
                  <a:schemeClr val="tx2"/>
                </a:gs>
                <a:gs pos="100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935" name="Google Shape;935;p145"/>
          <p:cNvSpPr/>
          <p:nvPr/>
        </p:nvSpPr>
        <p:spPr>
          <a:xfrm>
            <a:off x="8109491" y="3491653"/>
            <a:ext cx="3414490" cy="1275012"/>
          </a:xfrm>
          <a:prstGeom prst="roundRect">
            <a:avLst>
              <a:gd name="adj" fmla="val 16667"/>
            </a:avLst>
          </a:prstGeom>
          <a:noFill/>
          <a:ln>
            <a:noFill/>
          </a:ln>
        </p:spPr>
        <p:txBody>
          <a:bodyPr spcFirstLastPara="1" wrap="square" lIns="91425" tIns="45700" rIns="91425" bIns="45700" anchor="ctr" anchorCtr="0">
            <a:noAutofit/>
          </a:bodyPr>
          <a:lstStyle/>
          <a:p>
            <a:pPr marL="0" marR="0" lvl="1" indent="0" algn="l" defTabSz="914400" rtl="0" eaLnBrk="1" fontAlgn="auto" latinLnBrk="0" hangingPunct="1">
              <a:lnSpc>
                <a:spcPct val="100000"/>
              </a:lnSpc>
              <a:spcBef>
                <a:spcPts val="0"/>
              </a:spcBef>
              <a:spcAft>
                <a:spcPts val="300"/>
              </a:spcAft>
              <a:buClr>
                <a:srgbClr val="00B050"/>
              </a:buClr>
              <a:buSzPts val="1400"/>
              <a:buFontTx/>
              <a:buNone/>
              <a:tabLst/>
              <a:defRPr/>
            </a:pPr>
            <a:r>
              <a:rPr kumimoji="0" lang="en-US" sz="1400" b="1" i="0" u="none" strike="noStrike" kern="1200" cap="none" spc="0" normalizeH="0" baseline="0" noProof="0" dirty="0">
                <a:ln>
                  <a:noFill/>
                </a:ln>
                <a:solidFill>
                  <a:srgbClr val="0F47F2"/>
                </a:solidFill>
                <a:effectLst/>
                <a:uLnTx/>
                <a:uFillTx/>
                <a:latin typeface="Calibri"/>
                <a:ea typeface="Calibri"/>
                <a:cs typeface="Calibri"/>
                <a:sym typeface="Calibri"/>
              </a:rPr>
              <a:t>Analyze</a:t>
            </a:r>
            <a:endParaRPr kumimoji="0" sz="1400" b="1" i="0" u="none" strike="noStrike" kern="1200" cap="none" spc="0" normalizeH="0" baseline="0" noProof="0" dirty="0">
              <a:ln>
                <a:noFill/>
              </a:ln>
              <a:solidFill>
                <a:srgbClr val="0F47F2"/>
              </a:solidFill>
              <a:effectLst/>
              <a:uLnTx/>
              <a:uFillTx/>
              <a:latin typeface="Calibri"/>
              <a:ea typeface="Calibri"/>
              <a:cs typeface="Calibri"/>
              <a:sym typeface="Calibri"/>
            </a:endParaRPr>
          </a:p>
          <a:p>
            <a:pPr marL="0" marR="0" lvl="1" indent="0" algn="l"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1400" b="1" i="0" u="none" strike="noStrike" kern="1200" cap="none" spc="0" normalizeH="0" baseline="0" noProof="0" dirty="0">
                <a:ln>
                  <a:noFill/>
                </a:ln>
                <a:solidFill>
                  <a:srgbClr val="3D3D3D"/>
                </a:solidFill>
                <a:effectLst/>
                <a:uLnTx/>
                <a:uFillTx/>
                <a:latin typeface="Calibri"/>
                <a:ea typeface="Calibri"/>
                <a:cs typeface="Calibri"/>
                <a:sym typeface="Calibri"/>
              </a:rPr>
              <a:t>Empower your business with dynamic insights</a:t>
            </a:r>
            <a:r>
              <a:rPr kumimoji="0" lang="en-US" sz="1200" b="1" i="0" u="none" strike="noStrike" kern="1200" cap="none" spc="0" normalizeH="0" baseline="0" noProof="0" dirty="0">
                <a:ln>
                  <a:noFill/>
                </a:ln>
                <a:solidFill>
                  <a:srgbClr val="3D3D3D"/>
                </a:solidFill>
                <a:effectLst/>
                <a:uLnTx/>
                <a:uFillTx/>
                <a:latin typeface="Calibri"/>
                <a:ea typeface="Calibri"/>
                <a:cs typeface="Calibri"/>
                <a:sym typeface="Calibri"/>
              </a:rPr>
              <a:t> </a:t>
            </a:r>
            <a:r>
              <a:rPr kumimoji="0" lang="en-US" sz="1400" b="0" i="0" u="none" strike="noStrike" kern="1200" cap="none" spc="0" normalizeH="0" baseline="0" noProof="0" dirty="0">
                <a:ln>
                  <a:noFill/>
                </a:ln>
                <a:solidFill>
                  <a:srgbClr val="3D3D3D"/>
                </a:solidFill>
                <a:effectLst/>
                <a:uLnTx/>
                <a:uFillTx/>
                <a:latin typeface="Calibri"/>
                <a:ea typeface="Calibri"/>
                <a:cs typeface="Calibri"/>
                <a:sym typeface="Calibri"/>
              </a:rPr>
              <a:t>with unified Self-Service Analytics;</a:t>
            </a:r>
            <a:endParaRPr kumimoji="0" sz="700" b="1" i="0" u="none" strike="noStrike" kern="1200" cap="none" spc="0" normalizeH="0" baseline="0" noProof="0" dirty="0">
              <a:ln>
                <a:noFill/>
              </a:ln>
              <a:solidFill>
                <a:srgbClr val="3D3D3D"/>
              </a:solidFill>
              <a:effectLst/>
              <a:uLnTx/>
              <a:uFillTx/>
              <a:latin typeface="Calibri"/>
              <a:ea typeface="Calibri"/>
              <a:cs typeface="Calibri"/>
              <a:sym typeface="Calibri"/>
            </a:endParaRPr>
          </a:p>
          <a:p>
            <a:pPr marL="0" marR="0" lvl="1" indent="0" algn="l" defTabSz="914400" rtl="0" eaLnBrk="1" fontAlgn="auto" latinLnBrk="0" hangingPunct="1">
              <a:lnSpc>
                <a:spcPct val="90000"/>
              </a:lnSpc>
              <a:spcBef>
                <a:spcPts val="0"/>
              </a:spcBef>
              <a:spcAft>
                <a:spcPts val="0"/>
              </a:spcAft>
              <a:buClr>
                <a:srgbClr val="000000"/>
              </a:buClr>
              <a:buSzPts val="1400"/>
              <a:buFont typeface="Arial"/>
              <a:buNone/>
              <a:tabLst/>
              <a:defRPr/>
            </a:pPr>
            <a:endParaRPr kumimoji="0" sz="1400" b="1" i="0" u="none" strike="noStrike" kern="1200" cap="none" spc="0" normalizeH="0" baseline="0" noProof="0" dirty="0">
              <a:ln>
                <a:noFill/>
              </a:ln>
              <a:solidFill>
                <a:srgbClr val="3D3D3D"/>
              </a:solidFill>
              <a:effectLst/>
              <a:uLnTx/>
              <a:uFillTx/>
              <a:latin typeface="Calibri"/>
              <a:ea typeface="Calibri"/>
              <a:cs typeface="Calibri"/>
              <a:sym typeface="Calibri"/>
            </a:endParaRPr>
          </a:p>
          <a:p>
            <a:pPr marL="0" marR="0" lvl="1" indent="0" algn="l"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1400" b="1" i="0" u="none" strike="noStrike" kern="1200" cap="none" spc="0" normalizeH="0" baseline="0" noProof="0" dirty="0">
                <a:ln>
                  <a:noFill/>
                </a:ln>
                <a:solidFill>
                  <a:srgbClr val="3D3D3D"/>
                </a:solidFill>
                <a:effectLst/>
                <a:uLnTx/>
                <a:uFillTx/>
                <a:latin typeface="Calibri"/>
                <a:ea typeface="Calibri"/>
                <a:cs typeface="Calibri"/>
                <a:sym typeface="Calibri"/>
              </a:rPr>
              <a:t>Tackle critical business challenges </a:t>
            </a:r>
            <a:r>
              <a:rPr kumimoji="0" lang="en-US" sz="1400" b="0" i="0" u="none" strike="noStrike" kern="1200" cap="none" spc="0" normalizeH="0" baseline="0" noProof="0" dirty="0">
                <a:ln>
                  <a:noFill/>
                </a:ln>
                <a:solidFill>
                  <a:srgbClr val="3D3D3D"/>
                </a:solidFill>
                <a:effectLst/>
                <a:uLnTx/>
                <a:uFillTx/>
                <a:latin typeface="Calibri"/>
                <a:ea typeface="Calibri"/>
                <a:cs typeface="Calibri"/>
                <a:sym typeface="Calibri"/>
              </a:rPr>
              <a:t>using cutting-edge models</a:t>
            </a:r>
            <a:endParaRPr kumimoji="0" sz="1200" b="1" i="0" u="none" strike="noStrike" kern="1200" cap="none" spc="0" normalizeH="0" baseline="0" noProof="0" dirty="0">
              <a:ln>
                <a:noFill/>
              </a:ln>
              <a:solidFill>
                <a:srgbClr val="0F47F2"/>
              </a:solidFill>
              <a:effectLst/>
              <a:uLnTx/>
              <a:uFillTx/>
              <a:latin typeface="Calibri"/>
              <a:ea typeface="Calibri"/>
              <a:cs typeface="Calibri"/>
              <a:sym typeface="Calibri"/>
            </a:endParaRPr>
          </a:p>
        </p:txBody>
      </p:sp>
      <p:sp>
        <p:nvSpPr>
          <p:cNvPr id="15" name="Rectangle 14">
            <a:extLst>
              <a:ext uri="{FF2B5EF4-FFF2-40B4-BE49-F238E27FC236}">
                <a16:creationId xmlns:a16="http://schemas.microsoft.com/office/drawing/2014/main" id="{F7ECA27F-4F0F-692F-C078-C8DBB7B83693}"/>
              </a:ext>
            </a:extLst>
          </p:cNvPr>
          <p:cNvSpPr>
            <a:spLocks/>
          </p:cNvSpPr>
          <p:nvPr/>
        </p:nvSpPr>
        <p:spPr>
          <a:xfrm rot="5400000">
            <a:off x="9300426" y="3669745"/>
            <a:ext cx="1121109" cy="3502978"/>
          </a:xfrm>
          <a:prstGeom prst="rect">
            <a:avLst/>
          </a:prstGeom>
          <a:gradFill>
            <a:gsLst>
              <a:gs pos="0">
                <a:schemeClr val="bg1">
                  <a:lumMod val="95000"/>
                  <a:alpha val="65000"/>
                </a:schemeClr>
              </a:gs>
              <a:gs pos="100000">
                <a:schemeClr val="bg1"/>
              </a:gs>
            </a:gsLst>
            <a:lin ang="5400000" scaled="1"/>
          </a:gradFill>
          <a:ln w="9525">
            <a:gradFill flip="none" rotWithShape="1">
              <a:gsLst>
                <a:gs pos="0">
                  <a:schemeClr val="tx2"/>
                </a:gs>
                <a:gs pos="100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4444"/>
              </a:solidFill>
              <a:effectLst/>
              <a:uLnTx/>
              <a:uFillTx/>
              <a:latin typeface="Calibri" panose="020F0502020204030204"/>
              <a:ea typeface="+mn-ea"/>
              <a:cs typeface="+mn-cs"/>
            </a:endParaRPr>
          </a:p>
        </p:txBody>
      </p:sp>
      <p:sp>
        <p:nvSpPr>
          <p:cNvPr id="936" name="Google Shape;936;p145"/>
          <p:cNvSpPr/>
          <p:nvPr/>
        </p:nvSpPr>
        <p:spPr>
          <a:xfrm>
            <a:off x="8109491" y="4929479"/>
            <a:ext cx="3414490" cy="1052310"/>
          </a:xfrm>
          <a:prstGeom prst="rect">
            <a:avLst/>
          </a:prstGeom>
          <a:noFill/>
          <a:ln>
            <a:noFill/>
          </a:ln>
        </p:spPr>
        <p:txBody>
          <a:bodyPr spcFirstLastPara="1" wrap="square" lIns="91425" tIns="45700" rIns="91425" bIns="45700" anchor="ctr" anchorCtr="0">
            <a:noAutofit/>
          </a:bodyPr>
          <a:lstStyle/>
          <a:p>
            <a:pPr marL="0" marR="0" lvl="1" indent="0" algn="l" defTabSz="914400" rtl="0" eaLnBrk="1" fontAlgn="auto" latinLnBrk="0" hangingPunct="1">
              <a:lnSpc>
                <a:spcPct val="90000"/>
              </a:lnSpc>
              <a:spcBef>
                <a:spcPts val="0"/>
              </a:spcBef>
              <a:spcAft>
                <a:spcPts val="300"/>
              </a:spcAft>
              <a:buClr>
                <a:srgbClr val="00B050"/>
              </a:buClr>
              <a:buSzPts val="1400"/>
              <a:buFont typeface="Arial"/>
              <a:buNone/>
              <a:tabLst/>
              <a:defRPr/>
            </a:pPr>
            <a:r>
              <a:rPr kumimoji="0" lang="en-US" sz="1400" b="1" i="0" u="none" strike="noStrike" kern="1200" cap="none" spc="0" normalizeH="0" baseline="0" noProof="0" dirty="0">
                <a:ln>
                  <a:noFill/>
                </a:ln>
                <a:solidFill>
                  <a:srgbClr val="0F47F2"/>
                </a:solidFill>
                <a:effectLst/>
                <a:uLnTx/>
                <a:uFillTx/>
                <a:latin typeface="Calibri"/>
                <a:ea typeface="Calibri"/>
                <a:cs typeface="Calibri"/>
                <a:sym typeface="Calibri"/>
              </a:rPr>
              <a:t>Deploy</a:t>
            </a:r>
            <a:endParaRPr kumimoji="0" sz="1400" b="1" i="0" u="none" strike="noStrike" kern="1200" cap="none" spc="0" normalizeH="0" baseline="0" noProof="0" dirty="0">
              <a:ln>
                <a:noFill/>
              </a:ln>
              <a:solidFill>
                <a:srgbClr val="0F47F2"/>
              </a:solidFill>
              <a:effectLst/>
              <a:uLnTx/>
              <a:uFillTx/>
              <a:latin typeface="Calibri"/>
              <a:ea typeface="Calibri"/>
              <a:cs typeface="Calibri"/>
              <a:sym typeface="Calibri"/>
            </a:endParaRPr>
          </a:p>
          <a:p>
            <a:pPr marL="0" marR="0" lvl="1" indent="0" algn="l"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1400" b="1" i="0" u="none" strike="noStrike" kern="1200" cap="none" spc="0" normalizeH="0" baseline="0" noProof="0" dirty="0">
                <a:ln>
                  <a:noFill/>
                </a:ln>
                <a:solidFill>
                  <a:srgbClr val="3D3D3D"/>
                </a:solidFill>
                <a:effectLst/>
                <a:uLnTx/>
                <a:uFillTx/>
                <a:latin typeface="Calibri"/>
                <a:ea typeface="Calibri"/>
                <a:cs typeface="Calibri"/>
                <a:sym typeface="Calibri"/>
              </a:rPr>
              <a:t>Bringing Models to Life</a:t>
            </a:r>
            <a:endParaRPr kumimoji="0" sz="1400" b="1" i="0" u="none" strike="noStrike" kern="1200" cap="none" spc="0" normalizeH="0" baseline="0" noProof="0" dirty="0">
              <a:ln>
                <a:noFill/>
              </a:ln>
              <a:solidFill>
                <a:srgbClr val="3D3D3D"/>
              </a:solidFill>
              <a:effectLst/>
              <a:uLnTx/>
              <a:uFillTx/>
              <a:latin typeface="Calibri"/>
              <a:ea typeface="Calibri"/>
              <a:cs typeface="Calibri"/>
              <a:sym typeface="Calibri"/>
            </a:endParaRPr>
          </a:p>
          <a:p>
            <a:pPr marL="0" marR="0" lvl="1" indent="0" algn="l"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1400" b="0" i="0" u="none" strike="noStrike" kern="1200" cap="none" spc="0" normalizeH="0" baseline="0" noProof="0" dirty="0">
                <a:ln>
                  <a:noFill/>
                </a:ln>
                <a:solidFill>
                  <a:srgbClr val="444444"/>
                </a:solidFill>
                <a:effectLst/>
                <a:uLnTx/>
                <a:uFillTx/>
                <a:latin typeface="Calibri"/>
                <a:ea typeface="Calibri"/>
                <a:cs typeface="Calibri"/>
                <a:sym typeface="Calibri"/>
              </a:rPr>
              <a:t>Seamless deployment, monitoring, and integration into client's infrastructure for maximum impact</a:t>
            </a:r>
            <a:endParaRPr kumimoji="0" sz="1600" b="1" i="0" u="none" strike="noStrike" kern="1200" cap="none" spc="0" normalizeH="0" baseline="0" noProof="0" dirty="0">
              <a:ln>
                <a:noFill/>
              </a:ln>
              <a:solidFill>
                <a:srgbClr val="0F47F2"/>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545218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0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8479E8-48CE-9B45-6C6F-89DCC645F03B}"/>
              </a:ext>
            </a:extLst>
          </p:cNvPr>
          <p:cNvGraphicFramePr>
            <a:graphicFrameLocks noChangeAspect="1"/>
          </p:cNvGraphicFramePr>
          <p:nvPr>
            <p:custDataLst>
              <p:tags r:id="rId1"/>
            </p:custDataLst>
            <p:extLst>
              <p:ext uri="{D42A27DB-BD31-4B8C-83A1-F6EECF244321}">
                <p14:modId xmlns:p14="http://schemas.microsoft.com/office/powerpoint/2010/main" val="1599681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05" name="Google Shape;1005;p147"/>
          <p:cNvSpPr txBox="1">
            <a:spLocks noGrp="1"/>
          </p:cNvSpPr>
          <p:nvPr>
            <p:ph type="title"/>
          </p:nvPr>
        </p:nvSpPr>
        <p:spPr>
          <a:xfrm>
            <a:off x="539400" y="560588"/>
            <a:ext cx="11089972" cy="923330"/>
          </a:xfrm>
          <a:prstGeom prst="rect">
            <a:avLst/>
          </a:prstGeom>
          <a:noFill/>
          <a:ln>
            <a:noFill/>
          </a:ln>
        </p:spPr>
        <p:txBody>
          <a:bodyPr spcFirstLastPara="1" wrap="square" lIns="0" tIns="0" rIns="0" bIns="0" anchor="t" anchorCtr="0">
            <a:spAutoFit/>
          </a:bodyPr>
          <a:lstStyle/>
          <a:p>
            <a:pPr marL="0" lvl="0" indent="0"/>
            <a:r>
              <a:rPr lang="en-US" sz="3000" kern="1200" dirty="0">
                <a:latin typeface="Franklin Gothic" panose="020B0604020202020204" charset="0"/>
                <a:ea typeface="+mj-ea"/>
                <a:cs typeface="Calibri" panose="020F0502020204030204" pitchFamily="34" charset="0"/>
                <a:sym typeface="Calibri" panose="020F0502020204030204" pitchFamily="34" charset="0"/>
              </a:rPr>
              <a:t>Infomineo team provides a full set of skills to operate </a:t>
            </a:r>
            <a:br>
              <a:rPr lang="en-US" sz="3000" kern="1200" dirty="0">
                <a:latin typeface="Franklin Gothic" panose="020B0604020202020204" charset="0"/>
                <a:ea typeface="+mj-ea"/>
                <a:cs typeface="Calibri" panose="020F0502020204030204" pitchFamily="34" charset="0"/>
                <a:sym typeface="Calibri" panose="020F0502020204030204" pitchFamily="34" charset="0"/>
              </a:rPr>
            </a:br>
            <a:r>
              <a:rPr lang="en-US" sz="3000" kern="1200" dirty="0">
                <a:latin typeface="Franklin Gothic" panose="020B0604020202020204" charset="0"/>
                <a:ea typeface="+mj-ea"/>
                <a:cs typeface="Calibri" panose="020F0502020204030204" pitchFamily="34" charset="0"/>
                <a:sym typeface="Calibri" panose="020F0502020204030204" pitchFamily="34" charset="0"/>
              </a:rPr>
              <a:t>on multiple dimensions and environments</a:t>
            </a:r>
            <a:endParaRPr lang="en-IN" sz="3000" kern="1200" dirty="0">
              <a:latin typeface="Franklin Gothic" panose="020B0604020202020204" charset="0"/>
              <a:ea typeface="+mj-ea"/>
              <a:cs typeface="Calibri" panose="020F0502020204030204" pitchFamily="34" charset="0"/>
              <a:sym typeface="Calibri" panose="020F0502020204030204" pitchFamily="34" charset="0"/>
            </a:endParaRPr>
          </a:p>
        </p:txBody>
      </p:sp>
      <p:sp>
        <p:nvSpPr>
          <p:cNvPr id="1006" name="Google Shape;1006;p14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lvl="0" indent="0" algn="r" rtl="0">
              <a:lnSpc>
                <a:spcPct val="90000"/>
              </a:lnSpc>
              <a:spcBef>
                <a:spcPts val="0"/>
              </a:spcBef>
              <a:spcAft>
                <a:spcPts val="0"/>
              </a:spcAft>
              <a:buSzPts val="1000"/>
              <a:buNone/>
            </a:pPr>
            <a:fld id="{00000000-1234-1234-1234-123412341234}" type="slidenum">
              <a:rPr lang="en-US"/>
              <a:t>9</a:t>
            </a:fld>
            <a:endParaRPr/>
          </a:p>
        </p:txBody>
      </p:sp>
      <p:sp>
        <p:nvSpPr>
          <p:cNvPr id="1007" name="Google Shape;1007;p147"/>
          <p:cNvSpPr/>
          <p:nvPr/>
        </p:nvSpPr>
        <p:spPr>
          <a:xfrm>
            <a:off x="557688" y="1857375"/>
            <a:ext cx="2468880" cy="960580"/>
          </a:xfrm>
          <a:prstGeom prst="rect">
            <a:avLst/>
          </a:prstGeom>
          <a:solidFill>
            <a:srgbClr val="CCF1FF"/>
          </a:solidFill>
          <a:ln>
            <a:noFill/>
          </a:ln>
        </p:spPr>
        <p:txBody>
          <a:bodyPr spcFirstLastPara="1" wrap="square" lIns="91425" tIns="45700" rIns="91425" bIns="45700" anchor="ctr" anchorCtr="0">
            <a:noAutofit/>
          </a:bodyPr>
          <a:lstStyle/>
          <a:p>
            <a:pPr marL="0" marR="0" lvl="1" indent="0" algn="ctr" rtl="0">
              <a:lnSpc>
                <a:spcPct val="90000"/>
              </a:lnSpc>
              <a:spcBef>
                <a:spcPts val="0"/>
              </a:spcBef>
              <a:spcAft>
                <a:spcPts val="0"/>
              </a:spcAft>
              <a:buClr>
                <a:srgbClr val="00B050"/>
              </a:buClr>
              <a:buSzPts val="1400"/>
              <a:buFont typeface="Noto Sans Symbols"/>
              <a:buNone/>
            </a:pPr>
            <a:r>
              <a:rPr lang="en-US" sz="1600" b="1" i="0" u="none" strike="noStrike" cap="none">
                <a:solidFill>
                  <a:schemeClr val="dk2"/>
                </a:solidFill>
                <a:latin typeface="Calibri"/>
                <a:ea typeface="Calibri"/>
                <a:cs typeface="Calibri"/>
                <a:sym typeface="Calibri"/>
              </a:rPr>
              <a:t>Acquire and Prepare</a:t>
            </a:r>
            <a:endParaRPr sz="1200" b="0" i="0" u="none" strike="noStrike" cap="none">
              <a:solidFill>
                <a:srgbClr val="000000"/>
              </a:solidFill>
              <a:latin typeface="Calibri"/>
              <a:ea typeface="Calibri"/>
              <a:cs typeface="Calibri"/>
              <a:sym typeface="Calibri"/>
            </a:endParaRPr>
          </a:p>
          <a:p>
            <a:pPr marL="0" marR="0" lvl="1" indent="0" algn="ctr" rtl="0">
              <a:lnSpc>
                <a:spcPct val="90000"/>
              </a:lnSpc>
              <a:spcBef>
                <a:spcPts val="0"/>
              </a:spcBef>
              <a:spcAft>
                <a:spcPts val="0"/>
              </a:spcAft>
              <a:buClr>
                <a:srgbClr val="00B050"/>
              </a:buClr>
              <a:buSzPts val="1400"/>
              <a:buFont typeface="Noto Sans Symbols"/>
              <a:buNone/>
            </a:pPr>
            <a:endParaRPr sz="200" b="0" i="0" u="none" strike="noStrike" cap="none">
              <a:solidFill>
                <a:srgbClr val="3D3D3D"/>
              </a:solidFill>
              <a:latin typeface="Calibri"/>
              <a:ea typeface="Calibri"/>
              <a:cs typeface="Calibri"/>
              <a:sym typeface="Calibri"/>
            </a:endParaRPr>
          </a:p>
          <a:p>
            <a:pPr marL="0" marR="0" lvl="1" indent="0" algn="ctr" rtl="0">
              <a:lnSpc>
                <a:spcPct val="90000"/>
              </a:lnSpc>
              <a:spcBef>
                <a:spcPts val="0"/>
              </a:spcBef>
              <a:spcAft>
                <a:spcPts val="0"/>
              </a:spcAft>
              <a:buClr>
                <a:srgbClr val="00B050"/>
              </a:buClr>
              <a:buSzPts val="1400"/>
              <a:buFont typeface="Noto Sans Symbols"/>
              <a:buNone/>
            </a:pPr>
            <a:r>
              <a:rPr lang="en-US" sz="1200" b="1" i="0" u="none" strike="noStrike" cap="none">
                <a:solidFill>
                  <a:srgbClr val="3D3D3D"/>
                </a:solidFill>
                <a:latin typeface="Calibri"/>
                <a:ea typeface="Calibri"/>
                <a:cs typeface="Calibri"/>
                <a:sym typeface="Calibri"/>
              </a:rPr>
              <a:t>Unleash the power of Information</a:t>
            </a:r>
            <a:endParaRPr sz="1200" b="0" i="0" u="none" strike="noStrike" cap="none">
              <a:solidFill>
                <a:srgbClr val="3D3D3D"/>
              </a:solidFill>
              <a:latin typeface="Calibri"/>
              <a:ea typeface="Calibri"/>
              <a:cs typeface="Calibri"/>
              <a:sym typeface="Calibri"/>
            </a:endParaRPr>
          </a:p>
          <a:p>
            <a:pPr marL="0" marR="0" lvl="1" indent="0" algn="ctr" rtl="0">
              <a:lnSpc>
                <a:spcPct val="90000"/>
              </a:lnSpc>
              <a:spcBef>
                <a:spcPts val="0"/>
              </a:spcBef>
              <a:spcAft>
                <a:spcPts val="0"/>
              </a:spcAft>
              <a:buClr>
                <a:srgbClr val="00B050"/>
              </a:buClr>
              <a:buSzPts val="1400"/>
              <a:buFont typeface="Noto Sans Symbols"/>
              <a:buNone/>
            </a:pPr>
            <a:r>
              <a:rPr lang="en-US" sz="1200" b="0" i="0" u="none" strike="noStrike" cap="none">
                <a:solidFill>
                  <a:srgbClr val="3D3D3D"/>
                </a:solidFill>
                <a:latin typeface="Calibri"/>
                <a:ea typeface="Calibri"/>
                <a:cs typeface="Calibri"/>
                <a:sym typeface="Calibri"/>
              </a:rPr>
              <a:t>Discover, Assess, Clean, and Transform Data from multiple sources with ease</a:t>
            </a:r>
            <a:endParaRPr sz="1200" b="0" i="0" u="none" strike="noStrike" cap="none">
              <a:solidFill>
                <a:srgbClr val="000000"/>
              </a:solidFill>
              <a:latin typeface="Calibri"/>
              <a:ea typeface="Calibri"/>
              <a:cs typeface="Calibri"/>
              <a:sym typeface="Calibri"/>
            </a:endParaRPr>
          </a:p>
        </p:txBody>
      </p:sp>
      <p:sp>
        <p:nvSpPr>
          <p:cNvPr id="1008" name="Google Shape;1008;p147"/>
          <p:cNvSpPr/>
          <p:nvPr/>
        </p:nvSpPr>
        <p:spPr>
          <a:xfrm>
            <a:off x="557688" y="2894433"/>
            <a:ext cx="2468880" cy="2046019"/>
          </a:xfrm>
          <a:prstGeom prst="rect">
            <a:avLst/>
          </a:prstGeom>
          <a:solidFill>
            <a:schemeClr val="lt2"/>
          </a:solidFill>
          <a:ln>
            <a:noFill/>
          </a:ln>
        </p:spPr>
        <p:txBody>
          <a:bodyPr spcFirstLastPara="1" wrap="square" lIns="91425" tIns="45700" rIns="91425" bIns="45700" anchor="ctr" anchorCtr="0">
            <a:noAutofit/>
          </a:bodyPr>
          <a:lstStyle/>
          <a:p>
            <a:pPr marL="0" marR="0" lvl="1" indent="0" algn="ctr" rtl="0">
              <a:lnSpc>
                <a:spcPct val="90000"/>
              </a:lnSpc>
              <a:spcBef>
                <a:spcPts val="0"/>
              </a:spcBef>
              <a:spcAft>
                <a:spcPts val="0"/>
              </a:spcAft>
              <a:buClr>
                <a:srgbClr val="00B050"/>
              </a:buClr>
              <a:buSzPts val="1400"/>
              <a:buFont typeface="Noto Sans Symbols"/>
              <a:buNone/>
            </a:pPr>
            <a:r>
              <a:rPr lang="en-US" sz="1600" b="1" i="0" u="none" strike="noStrike" cap="none">
                <a:solidFill>
                  <a:schemeClr val="dk2"/>
                </a:solidFill>
                <a:latin typeface="Calibri"/>
                <a:ea typeface="Calibri"/>
                <a:cs typeface="Calibri"/>
                <a:sym typeface="Calibri"/>
              </a:rPr>
              <a:t>Analyze</a:t>
            </a:r>
            <a:endParaRPr sz="1200" b="0" i="0" u="none" strike="noStrike" cap="none">
              <a:solidFill>
                <a:srgbClr val="000000"/>
              </a:solidFill>
              <a:latin typeface="Calibri"/>
              <a:ea typeface="Calibri"/>
              <a:cs typeface="Calibri"/>
              <a:sym typeface="Calibri"/>
            </a:endParaRPr>
          </a:p>
          <a:p>
            <a:pPr marL="0" marR="0" lvl="1" indent="0" algn="ctr" rtl="0">
              <a:lnSpc>
                <a:spcPct val="90000"/>
              </a:lnSpc>
              <a:spcBef>
                <a:spcPts val="0"/>
              </a:spcBef>
              <a:spcAft>
                <a:spcPts val="0"/>
              </a:spcAft>
              <a:buClr>
                <a:srgbClr val="00B050"/>
              </a:buClr>
              <a:buSzPts val="1400"/>
              <a:buFont typeface="Noto Sans Symbols"/>
              <a:buNone/>
            </a:pPr>
            <a:endParaRPr sz="900" b="1" i="0" u="none" strike="noStrike" cap="none">
              <a:solidFill>
                <a:schemeClr val="dk2"/>
              </a:solidFill>
              <a:latin typeface="Calibri"/>
              <a:ea typeface="Calibri"/>
              <a:cs typeface="Calibri"/>
              <a:sym typeface="Calibri"/>
            </a:endParaRPr>
          </a:p>
          <a:p>
            <a:pPr marL="0" marR="0" lvl="1" indent="0" algn="ctr" rtl="0">
              <a:lnSpc>
                <a:spcPct val="90000"/>
              </a:lnSpc>
              <a:spcBef>
                <a:spcPts val="0"/>
              </a:spcBef>
              <a:spcAft>
                <a:spcPts val="0"/>
              </a:spcAft>
              <a:buClr>
                <a:srgbClr val="000000"/>
              </a:buClr>
              <a:buSzPts val="1200"/>
              <a:buFont typeface="Arial"/>
              <a:buNone/>
            </a:pPr>
            <a:r>
              <a:rPr lang="en-US" sz="1200" b="1" i="0" u="none" strike="noStrike" cap="none">
                <a:solidFill>
                  <a:srgbClr val="3D3D3D"/>
                </a:solidFill>
                <a:latin typeface="Calibri"/>
                <a:ea typeface="Calibri"/>
                <a:cs typeface="Calibri"/>
                <a:sym typeface="Calibri"/>
              </a:rPr>
              <a:t>Empower your business with dynamic insights</a:t>
            </a:r>
            <a:r>
              <a:rPr lang="en-US" sz="1100" b="1" i="0" u="none" strike="noStrike" cap="none">
                <a:solidFill>
                  <a:srgbClr val="3D3D3D"/>
                </a:solidFill>
                <a:latin typeface="Calibri"/>
                <a:ea typeface="Calibri"/>
                <a:cs typeface="Calibri"/>
                <a:sym typeface="Calibri"/>
              </a:rPr>
              <a:t> </a:t>
            </a:r>
            <a:r>
              <a:rPr lang="en-US" sz="1200" b="0" i="0" u="none" strike="noStrike" cap="none">
                <a:solidFill>
                  <a:srgbClr val="3D3D3D"/>
                </a:solidFill>
                <a:latin typeface="Calibri"/>
                <a:ea typeface="Calibri"/>
                <a:cs typeface="Calibri"/>
                <a:sym typeface="Calibri"/>
              </a:rPr>
              <a:t>with unified Self-Service Analytics</a:t>
            </a:r>
            <a:endParaRPr sz="1200" b="0" i="0" u="none" strike="noStrike" cap="none">
              <a:solidFill>
                <a:srgbClr val="000000"/>
              </a:solidFill>
              <a:latin typeface="Calibri"/>
              <a:ea typeface="Calibri"/>
              <a:cs typeface="Calibri"/>
              <a:sym typeface="Calibri"/>
            </a:endParaRPr>
          </a:p>
          <a:p>
            <a:pPr marL="171450" marR="0" lvl="1" indent="-82550" algn="ctr" rtl="0">
              <a:lnSpc>
                <a:spcPct val="90000"/>
              </a:lnSpc>
              <a:spcBef>
                <a:spcPts val="0"/>
              </a:spcBef>
              <a:spcAft>
                <a:spcPts val="0"/>
              </a:spcAft>
              <a:buClr>
                <a:schemeClr val="dk2"/>
              </a:buClr>
              <a:buSzPts val="1400"/>
              <a:buFont typeface="Arial"/>
              <a:buNone/>
            </a:pPr>
            <a:endParaRPr sz="600" b="1" i="0" u="none" strike="noStrike" cap="none">
              <a:solidFill>
                <a:srgbClr val="3D3D3D"/>
              </a:solidFill>
              <a:latin typeface="Calibri"/>
              <a:ea typeface="Calibri"/>
              <a:cs typeface="Calibri"/>
              <a:sym typeface="Calibri"/>
            </a:endParaRPr>
          </a:p>
          <a:p>
            <a:pPr marL="171450" marR="0" lvl="1" indent="-82550" algn="ctr" rtl="0">
              <a:lnSpc>
                <a:spcPct val="90000"/>
              </a:lnSpc>
              <a:spcBef>
                <a:spcPts val="0"/>
              </a:spcBef>
              <a:spcAft>
                <a:spcPts val="0"/>
              </a:spcAft>
              <a:buClr>
                <a:schemeClr val="dk2"/>
              </a:buClr>
              <a:buSzPts val="1400"/>
              <a:buFont typeface="Arial"/>
              <a:buNone/>
            </a:pPr>
            <a:endParaRPr sz="1200" b="1" i="0" u="none" strike="noStrike" cap="none">
              <a:solidFill>
                <a:srgbClr val="3D3D3D"/>
              </a:solidFill>
              <a:latin typeface="Calibri"/>
              <a:ea typeface="Calibri"/>
              <a:cs typeface="Calibri"/>
              <a:sym typeface="Calibri"/>
            </a:endParaRPr>
          </a:p>
          <a:p>
            <a:pPr marL="0" marR="0" lvl="1" indent="0" algn="ctr" rtl="0">
              <a:lnSpc>
                <a:spcPct val="90000"/>
              </a:lnSpc>
              <a:spcBef>
                <a:spcPts val="0"/>
              </a:spcBef>
              <a:spcAft>
                <a:spcPts val="0"/>
              </a:spcAft>
              <a:buClr>
                <a:srgbClr val="000000"/>
              </a:buClr>
              <a:buSzPts val="1200"/>
              <a:buFont typeface="Arial"/>
              <a:buNone/>
            </a:pPr>
            <a:r>
              <a:rPr lang="en-US" sz="1200" b="1" i="0" u="none" strike="noStrike" cap="none">
                <a:solidFill>
                  <a:srgbClr val="3D3D3D"/>
                </a:solidFill>
                <a:latin typeface="Calibri"/>
                <a:ea typeface="Calibri"/>
                <a:cs typeface="Calibri"/>
                <a:sym typeface="Calibri"/>
              </a:rPr>
              <a:t>Tackle critical business challenges </a:t>
            </a:r>
            <a:r>
              <a:rPr lang="en-US" sz="1200" b="0" i="0" u="none" strike="noStrike" cap="none">
                <a:solidFill>
                  <a:srgbClr val="3D3D3D"/>
                </a:solidFill>
                <a:latin typeface="Calibri"/>
                <a:ea typeface="Calibri"/>
                <a:cs typeface="Calibri"/>
                <a:sym typeface="Calibri"/>
              </a:rPr>
              <a:t>using cutting-edge models</a:t>
            </a:r>
            <a:endParaRPr sz="1100" b="1" i="0" u="none" strike="noStrike" cap="none">
              <a:solidFill>
                <a:schemeClr val="dk2"/>
              </a:solidFill>
              <a:latin typeface="Calibri"/>
              <a:ea typeface="Calibri"/>
              <a:cs typeface="Calibri"/>
              <a:sym typeface="Calibri"/>
            </a:endParaRPr>
          </a:p>
        </p:txBody>
      </p:sp>
      <p:sp>
        <p:nvSpPr>
          <p:cNvPr id="1009" name="Google Shape;1009;p147"/>
          <p:cNvSpPr/>
          <p:nvPr/>
        </p:nvSpPr>
        <p:spPr>
          <a:xfrm>
            <a:off x="557688" y="5016932"/>
            <a:ext cx="2468880" cy="1292904"/>
          </a:xfrm>
          <a:prstGeom prst="rect">
            <a:avLst/>
          </a:prstGeom>
          <a:solidFill>
            <a:srgbClr val="CDD9FC"/>
          </a:solidFill>
          <a:ln>
            <a:noFill/>
          </a:ln>
        </p:spPr>
        <p:txBody>
          <a:bodyPr spcFirstLastPara="1" wrap="square" lIns="91425" tIns="45700" rIns="91425" bIns="45700" anchor="ctr" anchorCtr="0">
            <a:noAutofit/>
          </a:bodyPr>
          <a:lstStyle/>
          <a:p>
            <a:pPr marL="0" marR="0" lvl="1" indent="0" algn="ctr" rtl="0">
              <a:lnSpc>
                <a:spcPct val="90000"/>
              </a:lnSpc>
              <a:spcBef>
                <a:spcPts val="0"/>
              </a:spcBef>
              <a:spcAft>
                <a:spcPts val="0"/>
              </a:spcAft>
              <a:buClr>
                <a:srgbClr val="000000"/>
              </a:buClr>
              <a:buSzPts val="1600"/>
              <a:buFont typeface="Arial"/>
              <a:buNone/>
            </a:pPr>
            <a:r>
              <a:rPr lang="en-US" sz="1600" b="1" i="0" u="none" strike="noStrike" cap="none">
                <a:solidFill>
                  <a:schemeClr val="dk2"/>
                </a:solidFill>
                <a:latin typeface="Calibri"/>
                <a:ea typeface="Calibri"/>
                <a:cs typeface="Calibri"/>
                <a:sym typeface="Calibri"/>
              </a:rPr>
              <a:t>Deploy</a:t>
            </a:r>
            <a:endParaRPr sz="1200" b="0" i="0" u="none" strike="noStrike" cap="none">
              <a:solidFill>
                <a:srgbClr val="000000"/>
              </a:solidFill>
              <a:latin typeface="Calibri"/>
              <a:ea typeface="Calibri"/>
              <a:cs typeface="Calibri"/>
              <a:sym typeface="Calibri"/>
            </a:endParaRPr>
          </a:p>
          <a:p>
            <a:pPr marL="0" marR="0" lvl="1" indent="0" algn="ctr" rtl="0">
              <a:lnSpc>
                <a:spcPct val="90000"/>
              </a:lnSpc>
              <a:spcBef>
                <a:spcPts val="0"/>
              </a:spcBef>
              <a:spcAft>
                <a:spcPts val="0"/>
              </a:spcAft>
              <a:buClr>
                <a:srgbClr val="000000"/>
              </a:buClr>
              <a:buSzPts val="200"/>
              <a:buFont typeface="Arial"/>
              <a:buNone/>
            </a:pPr>
            <a:endParaRPr sz="200" b="1" i="0" u="none" strike="noStrike" cap="none">
              <a:solidFill>
                <a:schemeClr val="dk2"/>
              </a:solidFill>
              <a:latin typeface="Calibri"/>
              <a:ea typeface="Calibri"/>
              <a:cs typeface="Calibri"/>
              <a:sym typeface="Calibri"/>
            </a:endParaRPr>
          </a:p>
          <a:p>
            <a:pPr marL="0" marR="0" lvl="1" indent="0" algn="ctr" rtl="0">
              <a:lnSpc>
                <a:spcPct val="90000"/>
              </a:lnSpc>
              <a:spcBef>
                <a:spcPts val="0"/>
              </a:spcBef>
              <a:spcAft>
                <a:spcPts val="0"/>
              </a:spcAft>
              <a:buClr>
                <a:srgbClr val="000000"/>
              </a:buClr>
              <a:buSzPts val="1200"/>
              <a:buFont typeface="Arial"/>
              <a:buNone/>
            </a:pPr>
            <a:r>
              <a:rPr lang="en-US" sz="1200" b="1" i="0" u="none" strike="noStrike" cap="none">
                <a:solidFill>
                  <a:schemeClr val="dk1"/>
                </a:solidFill>
                <a:latin typeface="Calibri"/>
                <a:ea typeface="Calibri"/>
                <a:cs typeface="Calibri"/>
                <a:sym typeface="Calibri"/>
              </a:rPr>
              <a:t>Bringing Models to Life</a:t>
            </a:r>
            <a:endParaRPr sz="1200" b="0" i="0" u="none" strike="noStrike" cap="none">
              <a:solidFill>
                <a:schemeClr val="dk1"/>
              </a:solidFill>
              <a:latin typeface="Calibri"/>
              <a:ea typeface="Calibri"/>
              <a:cs typeface="Calibri"/>
              <a:sym typeface="Calibri"/>
            </a:endParaRPr>
          </a:p>
          <a:p>
            <a:pPr marL="0" marR="0" lvl="1" indent="0" algn="ctr" rtl="0">
              <a:lnSpc>
                <a:spcPct val="90000"/>
              </a:lnSpc>
              <a:spcBef>
                <a:spcPts val="0"/>
              </a:spcBef>
              <a:spcAft>
                <a:spcPts val="0"/>
              </a:spcAft>
              <a:buClr>
                <a:srgbClr val="000000"/>
              </a:buClr>
              <a:buSzPts val="1200"/>
              <a:buFont typeface="Arial"/>
              <a:buNone/>
            </a:pPr>
            <a:r>
              <a:rPr lang="en-US" sz="1200" b="0" i="0" u="none" strike="noStrike" cap="none">
                <a:solidFill>
                  <a:schemeClr val="dk1"/>
                </a:solidFill>
                <a:latin typeface="Calibri"/>
                <a:ea typeface="Calibri"/>
                <a:cs typeface="Calibri"/>
                <a:sym typeface="Calibri"/>
              </a:rPr>
              <a:t> Seamless deployment, monitoring, and integration into client's infrastructure for maximum impact</a:t>
            </a:r>
            <a:endParaRPr sz="1400" b="1" i="0" u="none" strike="noStrike" cap="none">
              <a:solidFill>
                <a:schemeClr val="dk2"/>
              </a:solidFill>
              <a:latin typeface="Calibri"/>
              <a:ea typeface="Calibri"/>
              <a:cs typeface="Calibri"/>
              <a:sym typeface="Calibri"/>
            </a:endParaRPr>
          </a:p>
        </p:txBody>
      </p:sp>
      <p:sp>
        <p:nvSpPr>
          <p:cNvPr id="1010" name="Google Shape;1010;p147"/>
          <p:cNvSpPr/>
          <p:nvPr/>
        </p:nvSpPr>
        <p:spPr>
          <a:xfrm>
            <a:off x="4180256" y="2070635"/>
            <a:ext cx="993635" cy="5340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Data Sources</a:t>
            </a:r>
            <a:endParaRPr sz="2000" b="0" i="0" u="none" strike="noStrike" cap="none">
              <a:solidFill>
                <a:schemeClr val="dk1"/>
              </a:solidFill>
              <a:latin typeface="Calibri"/>
              <a:ea typeface="Calibri"/>
              <a:cs typeface="Calibri"/>
              <a:sym typeface="Calibri"/>
            </a:endParaRPr>
          </a:p>
        </p:txBody>
      </p:sp>
      <p:sp>
        <p:nvSpPr>
          <p:cNvPr id="1011" name="Google Shape;1011;p147"/>
          <p:cNvSpPr/>
          <p:nvPr/>
        </p:nvSpPr>
        <p:spPr>
          <a:xfrm>
            <a:off x="5262421" y="2070635"/>
            <a:ext cx="993635" cy="5340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Integration</a:t>
            </a:r>
            <a:endParaRPr sz="2000" b="0" i="0" u="none" strike="noStrike" cap="none">
              <a:solidFill>
                <a:schemeClr val="dk1"/>
              </a:solidFill>
              <a:latin typeface="Calibri"/>
              <a:ea typeface="Calibri"/>
              <a:cs typeface="Calibri"/>
              <a:sym typeface="Calibri"/>
            </a:endParaRPr>
          </a:p>
        </p:txBody>
      </p:sp>
      <p:sp>
        <p:nvSpPr>
          <p:cNvPr id="1012" name="Google Shape;1012;p147"/>
          <p:cNvSpPr/>
          <p:nvPr/>
        </p:nvSpPr>
        <p:spPr>
          <a:xfrm>
            <a:off x="6344586" y="2070635"/>
            <a:ext cx="993635" cy="5340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Storage</a:t>
            </a:r>
            <a:endParaRPr sz="2000" b="0" i="0" u="none" strike="noStrike" cap="none">
              <a:solidFill>
                <a:schemeClr val="dk1"/>
              </a:solidFill>
              <a:latin typeface="Calibri"/>
              <a:ea typeface="Calibri"/>
              <a:cs typeface="Calibri"/>
              <a:sym typeface="Calibri"/>
            </a:endParaRPr>
          </a:p>
        </p:txBody>
      </p:sp>
      <p:sp>
        <p:nvSpPr>
          <p:cNvPr id="1013" name="Google Shape;1013;p147"/>
          <p:cNvSpPr/>
          <p:nvPr/>
        </p:nvSpPr>
        <p:spPr>
          <a:xfrm>
            <a:off x="7426752" y="2070635"/>
            <a:ext cx="993635" cy="534060"/>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Preparation</a:t>
            </a:r>
            <a:endParaRPr sz="2000" b="0" i="0" u="none" strike="noStrike" cap="none">
              <a:solidFill>
                <a:schemeClr val="dk1"/>
              </a:solidFill>
              <a:latin typeface="Calibri"/>
              <a:ea typeface="Calibri"/>
              <a:cs typeface="Calibri"/>
              <a:sym typeface="Calibri"/>
            </a:endParaRPr>
          </a:p>
        </p:txBody>
      </p:sp>
      <p:sp>
        <p:nvSpPr>
          <p:cNvPr id="1014" name="Google Shape;1014;p147"/>
          <p:cNvSpPr/>
          <p:nvPr/>
        </p:nvSpPr>
        <p:spPr>
          <a:xfrm>
            <a:off x="8507123" y="3183960"/>
            <a:ext cx="1076437" cy="534060"/>
          </a:xfrm>
          <a:prstGeom prst="rect">
            <a:avLst/>
          </a:prstGeom>
          <a:solidFill>
            <a:schemeClr val="lt1"/>
          </a:solidFill>
          <a:ln w="9525"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Exploration </a:t>
            </a:r>
            <a:endParaRPr sz="14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Visualization</a:t>
            </a:r>
            <a:endParaRPr sz="1400" b="0" i="0" u="none" strike="noStrike" cap="none">
              <a:solidFill>
                <a:schemeClr val="dk1"/>
              </a:solidFill>
              <a:latin typeface="Calibri"/>
              <a:ea typeface="Calibri"/>
              <a:cs typeface="Calibri"/>
              <a:sym typeface="Calibri"/>
            </a:endParaRPr>
          </a:p>
        </p:txBody>
      </p:sp>
      <p:sp>
        <p:nvSpPr>
          <p:cNvPr id="1015" name="Google Shape;1015;p147"/>
          <p:cNvSpPr/>
          <p:nvPr/>
        </p:nvSpPr>
        <p:spPr>
          <a:xfrm>
            <a:off x="9626651" y="4115614"/>
            <a:ext cx="910831" cy="494676"/>
          </a:xfrm>
          <a:prstGeom prst="rect">
            <a:avLst/>
          </a:prstGeom>
          <a:solidFill>
            <a:schemeClr val="lt1"/>
          </a:solidFill>
          <a:ln w="9525"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Modeling</a:t>
            </a:r>
            <a:endParaRPr sz="1400" b="0" i="0" u="none" strike="noStrike" cap="none">
              <a:solidFill>
                <a:schemeClr val="dk1"/>
              </a:solidFill>
              <a:latin typeface="Calibri"/>
              <a:ea typeface="Calibri"/>
              <a:cs typeface="Calibri"/>
              <a:sym typeface="Calibri"/>
            </a:endParaRPr>
          </a:p>
        </p:txBody>
      </p:sp>
      <p:sp>
        <p:nvSpPr>
          <p:cNvPr id="1016" name="Google Shape;1016;p147"/>
          <p:cNvSpPr/>
          <p:nvPr/>
        </p:nvSpPr>
        <p:spPr>
          <a:xfrm>
            <a:off x="4178461" y="3183960"/>
            <a:ext cx="993635" cy="534060"/>
          </a:xfrm>
          <a:prstGeom prst="rect">
            <a:avLst/>
          </a:prstGeom>
          <a:solidFill>
            <a:schemeClr val="lt1"/>
          </a:solidFill>
          <a:ln w="9525"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Data Sources</a:t>
            </a:r>
            <a:endParaRPr sz="2000" b="0" i="0" u="none" strike="noStrike" cap="none">
              <a:solidFill>
                <a:schemeClr val="dk1"/>
              </a:solidFill>
              <a:latin typeface="Calibri"/>
              <a:ea typeface="Calibri"/>
              <a:cs typeface="Calibri"/>
              <a:sym typeface="Calibri"/>
            </a:endParaRPr>
          </a:p>
        </p:txBody>
      </p:sp>
      <p:sp>
        <p:nvSpPr>
          <p:cNvPr id="1017" name="Google Shape;1017;p147"/>
          <p:cNvSpPr/>
          <p:nvPr/>
        </p:nvSpPr>
        <p:spPr>
          <a:xfrm>
            <a:off x="5260627" y="3183960"/>
            <a:ext cx="993635" cy="534060"/>
          </a:xfrm>
          <a:prstGeom prst="rect">
            <a:avLst/>
          </a:prstGeom>
          <a:solidFill>
            <a:schemeClr val="lt1"/>
          </a:solidFill>
          <a:ln w="9525"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Integration</a:t>
            </a:r>
            <a:endParaRPr sz="2000" b="0" i="0" u="none" strike="noStrike" cap="none">
              <a:solidFill>
                <a:schemeClr val="dk1"/>
              </a:solidFill>
              <a:latin typeface="Calibri"/>
              <a:ea typeface="Calibri"/>
              <a:cs typeface="Calibri"/>
              <a:sym typeface="Calibri"/>
            </a:endParaRPr>
          </a:p>
        </p:txBody>
      </p:sp>
      <p:sp>
        <p:nvSpPr>
          <p:cNvPr id="1018" name="Google Shape;1018;p147"/>
          <p:cNvSpPr/>
          <p:nvPr/>
        </p:nvSpPr>
        <p:spPr>
          <a:xfrm>
            <a:off x="6342792" y="3183960"/>
            <a:ext cx="993635" cy="534060"/>
          </a:xfrm>
          <a:prstGeom prst="rect">
            <a:avLst/>
          </a:prstGeom>
          <a:solidFill>
            <a:schemeClr val="lt1"/>
          </a:solidFill>
          <a:ln w="9525"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Storage</a:t>
            </a:r>
            <a:endParaRPr sz="2000" b="0" i="0" u="none" strike="noStrike" cap="none">
              <a:solidFill>
                <a:schemeClr val="dk1"/>
              </a:solidFill>
              <a:latin typeface="Calibri"/>
              <a:ea typeface="Calibri"/>
              <a:cs typeface="Calibri"/>
              <a:sym typeface="Calibri"/>
            </a:endParaRPr>
          </a:p>
        </p:txBody>
      </p:sp>
      <p:sp>
        <p:nvSpPr>
          <p:cNvPr id="1019" name="Google Shape;1019;p147"/>
          <p:cNvSpPr/>
          <p:nvPr/>
        </p:nvSpPr>
        <p:spPr>
          <a:xfrm>
            <a:off x="7424958" y="3183960"/>
            <a:ext cx="993635" cy="534060"/>
          </a:xfrm>
          <a:prstGeom prst="rect">
            <a:avLst/>
          </a:prstGeom>
          <a:solidFill>
            <a:schemeClr val="lt1"/>
          </a:solidFill>
          <a:ln w="9525"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Preparation</a:t>
            </a:r>
            <a:endParaRPr sz="2000" b="0" i="0" u="none" strike="noStrike" cap="none">
              <a:solidFill>
                <a:schemeClr val="dk1"/>
              </a:solidFill>
              <a:latin typeface="Calibri"/>
              <a:ea typeface="Calibri"/>
              <a:cs typeface="Calibri"/>
              <a:sym typeface="Calibri"/>
            </a:endParaRPr>
          </a:p>
        </p:txBody>
      </p:sp>
      <p:sp>
        <p:nvSpPr>
          <p:cNvPr id="1020" name="Google Shape;1020;p147"/>
          <p:cNvSpPr/>
          <p:nvPr/>
        </p:nvSpPr>
        <p:spPr>
          <a:xfrm>
            <a:off x="4178461" y="4116865"/>
            <a:ext cx="993635" cy="534060"/>
          </a:xfrm>
          <a:prstGeom prst="rect">
            <a:avLst/>
          </a:prstGeom>
          <a:solidFill>
            <a:schemeClr val="lt1"/>
          </a:solidFill>
          <a:ln w="9525"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Data Sources</a:t>
            </a:r>
            <a:endParaRPr sz="2000" b="0" i="0" u="none" strike="noStrike" cap="none">
              <a:solidFill>
                <a:schemeClr val="dk1"/>
              </a:solidFill>
              <a:latin typeface="Calibri"/>
              <a:ea typeface="Calibri"/>
              <a:cs typeface="Calibri"/>
              <a:sym typeface="Calibri"/>
            </a:endParaRPr>
          </a:p>
        </p:txBody>
      </p:sp>
      <p:sp>
        <p:nvSpPr>
          <p:cNvPr id="1021" name="Google Shape;1021;p147"/>
          <p:cNvSpPr/>
          <p:nvPr/>
        </p:nvSpPr>
        <p:spPr>
          <a:xfrm>
            <a:off x="5251539" y="4116865"/>
            <a:ext cx="993635" cy="534060"/>
          </a:xfrm>
          <a:prstGeom prst="rect">
            <a:avLst/>
          </a:prstGeom>
          <a:solidFill>
            <a:schemeClr val="lt1"/>
          </a:solidFill>
          <a:ln w="9525"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Integration</a:t>
            </a:r>
            <a:endParaRPr sz="2000" b="0" i="0" u="none" strike="noStrike" cap="none">
              <a:solidFill>
                <a:schemeClr val="dk1"/>
              </a:solidFill>
              <a:latin typeface="Calibri"/>
              <a:ea typeface="Calibri"/>
              <a:cs typeface="Calibri"/>
              <a:sym typeface="Calibri"/>
            </a:endParaRPr>
          </a:p>
        </p:txBody>
      </p:sp>
      <p:sp>
        <p:nvSpPr>
          <p:cNvPr id="1022" name="Google Shape;1022;p147"/>
          <p:cNvSpPr/>
          <p:nvPr/>
        </p:nvSpPr>
        <p:spPr>
          <a:xfrm>
            <a:off x="6324617" y="4116865"/>
            <a:ext cx="993635" cy="534060"/>
          </a:xfrm>
          <a:prstGeom prst="rect">
            <a:avLst/>
          </a:prstGeom>
          <a:solidFill>
            <a:schemeClr val="lt1"/>
          </a:solidFill>
          <a:ln w="9525"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Storage</a:t>
            </a:r>
            <a:endParaRPr sz="2000" b="0" i="0" u="none" strike="noStrike" cap="none">
              <a:solidFill>
                <a:schemeClr val="dk1"/>
              </a:solidFill>
              <a:latin typeface="Calibri"/>
              <a:ea typeface="Calibri"/>
              <a:cs typeface="Calibri"/>
              <a:sym typeface="Calibri"/>
            </a:endParaRPr>
          </a:p>
        </p:txBody>
      </p:sp>
      <p:sp>
        <p:nvSpPr>
          <p:cNvPr id="1023" name="Google Shape;1023;p147"/>
          <p:cNvSpPr/>
          <p:nvPr/>
        </p:nvSpPr>
        <p:spPr>
          <a:xfrm>
            <a:off x="7397695" y="4116865"/>
            <a:ext cx="993635" cy="534060"/>
          </a:xfrm>
          <a:prstGeom prst="rect">
            <a:avLst/>
          </a:prstGeom>
          <a:solidFill>
            <a:schemeClr val="lt1"/>
          </a:solidFill>
          <a:ln w="9525"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Preparation</a:t>
            </a:r>
            <a:endParaRPr sz="2000" b="0" i="0" u="none" strike="noStrike" cap="none">
              <a:solidFill>
                <a:schemeClr val="dk1"/>
              </a:solidFill>
              <a:latin typeface="Calibri"/>
              <a:ea typeface="Calibri"/>
              <a:cs typeface="Calibri"/>
              <a:sym typeface="Calibri"/>
            </a:endParaRPr>
          </a:p>
        </p:txBody>
      </p:sp>
      <p:sp>
        <p:nvSpPr>
          <p:cNvPr id="1024" name="Google Shape;1024;p147"/>
          <p:cNvSpPr/>
          <p:nvPr/>
        </p:nvSpPr>
        <p:spPr>
          <a:xfrm>
            <a:off x="8470773" y="4115614"/>
            <a:ext cx="1076437" cy="494676"/>
          </a:xfrm>
          <a:prstGeom prst="rect">
            <a:avLst/>
          </a:prstGeom>
          <a:solidFill>
            <a:schemeClr val="lt1"/>
          </a:solidFill>
          <a:ln w="9525" cap="flat" cmpd="sng">
            <a:solidFill>
              <a:schemeClr val="accent2"/>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Exploration </a:t>
            </a:r>
            <a:endParaRPr sz="14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Visualization</a:t>
            </a:r>
            <a:endParaRPr sz="1400" b="0" i="0" u="none" strike="noStrike" cap="none">
              <a:solidFill>
                <a:schemeClr val="dk1"/>
              </a:solidFill>
              <a:latin typeface="Calibri"/>
              <a:ea typeface="Calibri"/>
              <a:cs typeface="Calibri"/>
              <a:sym typeface="Calibri"/>
            </a:endParaRPr>
          </a:p>
        </p:txBody>
      </p:sp>
      <p:sp>
        <p:nvSpPr>
          <p:cNvPr id="1025" name="Google Shape;1025;p147"/>
          <p:cNvSpPr/>
          <p:nvPr/>
        </p:nvSpPr>
        <p:spPr>
          <a:xfrm>
            <a:off x="9655020" y="5416046"/>
            <a:ext cx="910831" cy="494676"/>
          </a:xfrm>
          <a:prstGeom prst="rect">
            <a:avLst/>
          </a:prstGeom>
          <a:solidFill>
            <a:schemeClr val="lt1"/>
          </a:solidFill>
          <a:ln w="9525" cap="flat" cmpd="sng">
            <a:solidFill>
              <a:srgbClr val="CDD9FC"/>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Modeling</a:t>
            </a:r>
            <a:endParaRPr sz="1400" b="0" i="0" u="none" strike="noStrike" cap="none">
              <a:solidFill>
                <a:schemeClr val="dk1"/>
              </a:solidFill>
              <a:latin typeface="Calibri"/>
              <a:ea typeface="Calibri"/>
              <a:cs typeface="Calibri"/>
              <a:sym typeface="Calibri"/>
            </a:endParaRPr>
          </a:p>
        </p:txBody>
      </p:sp>
      <p:sp>
        <p:nvSpPr>
          <p:cNvPr id="1026" name="Google Shape;1026;p147"/>
          <p:cNvSpPr/>
          <p:nvPr/>
        </p:nvSpPr>
        <p:spPr>
          <a:xfrm>
            <a:off x="4195793" y="5396354"/>
            <a:ext cx="993635" cy="534060"/>
          </a:xfrm>
          <a:prstGeom prst="rect">
            <a:avLst/>
          </a:prstGeom>
          <a:solidFill>
            <a:schemeClr val="lt1"/>
          </a:solidFill>
          <a:ln w="9525" cap="flat" cmpd="sng">
            <a:solidFill>
              <a:srgbClr val="CDD9FC"/>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Data Sources</a:t>
            </a:r>
            <a:endParaRPr sz="2000" b="0" i="0" u="none" strike="noStrike" cap="none">
              <a:solidFill>
                <a:schemeClr val="dk1"/>
              </a:solidFill>
              <a:latin typeface="Calibri"/>
              <a:ea typeface="Calibri"/>
              <a:cs typeface="Calibri"/>
              <a:sym typeface="Calibri"/>
            </a:endParaRPr>
          </a:p>
        </p:txBody>
      </p:sp>
      <p:sp>
        <p:nvSpPr>
          <p:cNvPr id="1027" name="Google Shape;1027;p147"/>
          <p:cNvSpPr/>
          <p:nvPr/>
        </p:nvSpPr>
        <p:spPr>
          <a:xfrm>
            <a:off x="5271078" y="5396354"/>
            <a:ext cx="993635" cy="534060"/>
          </a:xfrm>
          <a:prstGeom prst="rect">
            <a:avLst/>
          </a:prstGeom>
          <a:solidFill>
            <a:schemeClr val="lt1"/>
          </a:solidFill>
          <a:ln w="9525" cap="flat" cmpd="sng">
            <a:solidFill>
              <a:srgbClr val="CDD9FC"/>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Integration</a:t>
            </a:r>
            <a:endParaRPr sz="2000" b="0" i="0" u="none" strike="noStrike" cap="none">
              <a:solidFill>
                <a:schemeClr val="dk1"/>
              </a:solidFill>
              <a:latin typeface="Calibri"/>
              <a:ea typeface="Calibri"/>
              <a:cs typeface="Calibri"/>
              <a:sym typeface="Calibri"/>
            </a:endParaRPr>
          </a:p>
        </p:txBody>
      </p:sp>
      <p:sp>
        <p:nvSpPr>
          <p:cNvPr id="1028" name="Google Shape;1028;p147"/>
          <p:cNvSpPr/>
          <p:nvPr/>
        </p:nvSpPr>
        <p:spPr>
          <a:xfrm>
            <a:off x="6346363" y="5396354"/>
            <a:ext cx="993635" cy="534060"/>
          </a:xfrm>
          <a:prstGeom prst="rect">
            <a:avLst/>
          </a:prstGeom>
          <a:solidFill>
            <a:schemeClr val="lt1"/>
          </a:solidFill>
          <a:ln w="9525" cap="flat" cmpd="sng">
            <a:solidFill>
              <a:srgbClr val="CDD9FC"/>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Storage</a:t>
            </a:r>
            <a:endParaRPr sz="2000" b="0" i="0" u="none" strike="noStrike" cap="none">
              <a:solidFill>
                <a:schemeClr val="dk1"/>
              </a:solidFill>
              <a:latin typeface="Calibri"/>
              <a:ea typeface="Calibri"/>
              <a:cs typeface="Calibri"/>
              <a:sym typeface="Calibri"/>
            </a:endParaRPr>
          </a:p>
        </p:txBody>
      </p:sp>
      <p:sp>
        <p:nvSpPr>
          <p:cNvPr id="1029" name="Google Shape;1029;p147"/>
          <p:cNvSpPr/>
          <p:nvPr/>
        </p:nvSpPr>
        <p:spPr>
          <a:xfrm>
            <a:off x="7421648" y="5396354"/>
            <a:ext cx="993635" cy="534060"/>
          </a:xfrm>
          <a:prstGeom prst="rect">
            <a:avLst/>
          </a:prstGeom>
          <a:solidFill>
            <a:schemeClr val="lt1"/>
          </a:solidFill>
          <a:ln w="9525" cap="flat" cmpd="sng">
            <a:solidFill>
              <a:srgbClr val="CDD9FC"/>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Preparation</a:t>
            </a:r>
            <a:endParaRPr sz="2000" b="0" i="0" u="none" strike="noStrike" cap="none">
              <a:solidFill>
                <a:schemeClr val="dk1"/>
              </a:solidFill>
              <a:latin typeface="Calibri"/>
              <a:ea typeface="Calibri"/>
              <a:cs typeface="Calibri"/>
              <a:sym typeface="Calibri"/>
            </a:endParaRPr>
          </a:p>
        </p:txBody>
      </p:sp>
      <p:sp>
        <p:nvSpPr>
          <p:cNvPr id="1030" name="Google Shape;1030;p147"/>
          <p:cNvSpPr/>
          <p:nvPr/>
        </p:nvSpPr>
        <p:spPr>
          <a:xfrm>
            <a:off x="8496933" y="5416046"/>
            <a:ext cx="1076437" cy="494676"/>
          </a:xfrm>
          <a:prstGeom prst="rect">
            <a:avLst/>
          </a:prstGeom>
          <a:solidFill>
            <a:schemeClr val="lt1"/>
          </a:solidFill>
          <a:ln w="9525" cap="flat" cmpd="sng">
            <a:solidFill>
              <a:srgbClr val="CDD9FC"/>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Exploration </a:t>
            </a:r>
            <a:endParaRPr sz="14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Visualization</a:t>
            </a:r>
            <a:endParaRPr sz="1400" b="0" i="0" u="none" strike="noStrike" cap="none">
              <a:solidFill>
                <a:schemeClr val="dk1"/>
              </a:solidFill>
              <a:latin typeface="Calibri"/>
              <a:ea typeface="Calibri"/>
              <a:cs typeface="Calibri"/>
              <a:sym typeface="Calibri"/>
            </a:endParaRPr>
          </a:p>
        </p:txBody>
      </p:sp>
      <p:sp>
        <p:nvSpPr>
          <p:cNvPr id="1031" name="Google Shape;1031;p147"/>
          <p:cNvSpPr/>
          <p:nvPr/>
        </p:nvSpPr>
        <p:spPr>
          <a:xfrm>
            <a:off x="10647503" y="5416046"/>
            <a:ext cx="993635" cy="494676"/>
          </a:xfrm>
          <a:prstGeom prst="rect">
            <a:avLst/>
          </a:prstGeom>
          <a:solidFill>
            <a:schemeClr val="lt1"/>
          </a:solidFill>
          <a:ln w="9525" cap="flat" cmpd="sng">
            <a:solidFill>
              <a:srgbClr val="CDD9FC"/>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chemeClr val="accent1"/>
              </a:buClr>
              <a:buSzPts val="1400"/>
              <a:buFont typeface="Arial"/>
              <a:buNone/>
            </a:pPr>
            <a:r>
              <a:rPr lang="en-US" sz="1400" b="0" i="0" u="none" strike="noStrike" cap="none">
                <a:solidFill>
                  <a:schemeClr val="dk1"/>
                </a:solidFill>
                <a:latin typeface="Calibri"/>
                <a:ea typeface="Calibri"/>
                <a:cs typeface="Calibri"/>
                <a:sym typeface="Calibri"/>
              </a:rPr>
              <a:t>Deployment</a:t>
            </a:r>
            <a:endParaRPr sz="1400" b="0" i="0" u="none" strike="noStrike" cap="none">
              <a:solidFill>
                <a:schemeClr val="dk1"/>
              </a:solidFill>
              <a:latin typeface="Calibri"/>
              <a:ea typeface="Calibri"/>
              <a:cs typeface="Calibri"/>
              <a:sym typeface="Calibri"/>
            </a:endParaRPr>
          </a:p>
        </p:txBody>
      </p:sp>
      <p:grpSp>
        <p:nvGrpSpPr>
          <p:cNvPr id="1032" name="Google Shape;1032;p147"/>
          <p:cNvGrpSpPr/>
          <p:nvPr/>
        </p:nvGrpSpPr>
        <p:grpSpPr>
          <a:xfrm>
            <a:off x="10332719" y="1099476"/>
            <a:ext cx="1296652" cy="1696825"/>
            <a:chOff x="10320730" y="1174841"/>
            <a:chExt cx="1617682" cy="2116931"/>
          </a:xfrm>
        </p:grpSpPr>
        <p:sp>
          <p:nvSpPr>
            <p:cNvPr id="1033" name="Google Shape;1033;p147"/>
            <p:cNvSpPr txBox="1"/>
            <p:nvPr/>
          </p:nvSpPr>
          <p:spPr>
            <a:xfrm>
              <a:off x="10422635" y="1627070"/>
              <a:ext cx="419766" cy="3071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000" b="1" i="0" u="none" strike="noStrike" cap="none">
                  <a:solidFill>
                    <a:schemeClr val="accent1"/>
                  </a:solidFill>
                  <a:latin typeface="Calibri"/>
                  <a:ea typeface="Calibri"/>
                  <a:cs typeface="Calibri"/>
                  <a:sym typeface="Calibri"/>
                </a:rPr>
                <a:t>DE</a:t>
              </a:r>
              <a:endParaRPr sz="1000" b="0" i="0" u="none" strike="noStrike" cap="none">
                <a:solidFill>
                  <a:srgbClr val="000000"/>
                </a:solidFill>
                <a:latin typeface="Calibri"/>
                <a:ea typeface="Calibri"/>
                <a:cs typeface="Calibri"/>
                <a:sym typeface="Calibri"/>
              </a:endParaRPr>
            </a:p>
          </p:txBody>
        </p:sp>
        <p:sp>
          <p:nvSpPr>
            <p:cNvPr id="1034" name="Google Shape;1034;p147"/>
            <p:cNvSpPr txBox="1"/>
            <p:nvPr/>
          </p:nvSpPr>
          <p:spPr>
            <a:xfrm>
              <a:off x="10400009" y="2276194"/>
              <a:ext cx="442392" cy="3071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000" b="1" i="0" u="none" strike="noStrike" cap="none">
                  <a:solidFill>
                    <a:schemeClr val="accent1"/>
                  </a:solidFill>
                  <a:latin typeface="Calibri"/>
                  <a:ea typeface="Calibri"/>
                  <a:cs typeface="Calibri"/>
                  <a:sym typeface="Calibri"/>
                </a:rPr>
                <a:t>DA</a:t>
              </a:r>
              <a:endParaRPr sz="1000" b="0" i="0" u="none" strike="noStrike" cap="none">
                <a:solidFill>
                  <a:srgbClr val="000000"/>
                </a:solidFill>
                <a:latin typeface="Calibri"/>
                <a:ea typeface="Calibri"/>
                <a:cs typeface="Calibri"/>
                <a:sym typeface="Calibri"/>
              </a:endParaRPr>
            </a:p>
          </p:txBody>
        </p:sp>
        <p:sp>
          <p:nvSpPr>
            <p:cNvPr id="1035" name="Google Shape;1035;p147"/>
            <p:cNvSpPr txBox="1"/>
            <p:nvPr/>
          </p:nvSpPr>
          <p:spPr>
            <a:xfrm>
              <a:off x="10426117" y="2984641"/>
              <a:ext cx="416284" cy="3071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000" b="1" i="0" u="none" strike="noStrike" cap="none">
                  <a:solidFill>
                    <a:schemeClr val="accent1"/>
                  </a:solidFill>
                  <a:latin typeface="Calibri"/>
                  <a:ea typeface="Calibri"/>
                  <a:cs typeface="Calibri"/>
                  <a:sym typeface="Calibri"/>
                </a:rPr>
                <a:t>DS</a:t>
              </a:r>
              <a:endParaRPr sz="1000" b="0" i="0" u="none" strike="noStrike" cap="none">
                <a:solidFill>
                  <a:srgbClr val="000000"/>
                </a:solidFill>
                <a:latin typeface="Calibri"/>
                <a:ea typeface="Calibri"/>
                <a:cs typeface="Calibri"/>
                <a:sym typeface="Calibri"/>
              </a:endParaRPr>
            </a:p>
          </p:txBody>
        </p:sp>
        <p:sp>
          <p:nvSpPr>
            <p:cNvPr id="1036" name="Google Shape;1036;p147"/>
            <p:cNvSpPr/>
            <p:nvPr/>
          </p:nvSpPr>
          <p:spPr>
            <a:xfrm>
              <a:off x="10886372" y="1452546"/>
              <a:ext cx="1014505" cy="168965"/>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accent1"/>
                </a:buClr>
                <a:buSzPts val="1400"/>
                <a:buFont typeface="Arial"/>
                <a:buNone/>
              </a:pPr>
              <a:r>
                <a:rPr lang="en-US" sz="1000" b="0" i="1" u="none" strike="noStrike" cap="none">
                  <a:solidFill>
                    <a:schemeClr val="accent1"/>
                  </a:solidFill>
                  <a:latin typeface="Calibri"/>
                  <a:ea typeface="Calibri"/>
                  <a:cs typeface="Calibri"/>
                  <a:sym typeface="Calibri"/>
                </a:rPr>
                <a:t>Data Engineering</a:t>
              </a:r>
              <a:endParaRPr sz="1200" b="0" i="1" u="none" strike="noStrike" cap="none">
                <a:solidFill>
                  <a:schemeClr val="accent1"/>
                </a:solidFill>
                <a:latin typeface="Calibri"/>
                <a:ea typeface="Calibri"/>
                <a:cs typeface="Calibri"/>
                <a:sym typeface="Calibri"/>
              </a:endParaRPr>
            </a:p>
          </p:txBody>
        </p:sp>
        <p:sp>
          <p:nvSpPr>
            <p:cNvPr id="1037" name="Google Shape;1037;p147"/>
            <p:cNvSpPr/>
            <p:nvPr/>
          </p:nvSpPr>
          <p:spPr>
            <a:xfrm>
              <a:off x="10886372" y="2117394"/>
              <a:ext cx="1014505" cy="168965"/>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accent1"/>
                </a:buClr>
                <a:buSzPts val="1400"/>
                <a:buFont typeface="Arial"/>
                <a:buNone/>
              </a:pPr>
              <a:r>
                <a:rPr lang="en-US" sz="1000" b="0" i="1" u="none" strike="noStrike" cap="none">
                  <a:solidFill>
                    <a:schemeClr val="accent1"/>
                  </a:solidFill>
                  <a:latin typeface="Calibri"/>
                  <a:ea typeface="Calibri"/>
                  <a:cs typeface="Calibri"/>
                  <a:sym typeface="Calibri"/>
                </a:rPr>
                <a:t>Data Analysis</a:t>
              </a:r>
              <a:endParaRPr sz="1200" b="0" i="1" u="none" strike="noStrike" cap="none">
                <a:solidFill>
                  <a:schemeClr val="accent1"/>
                </a:solidFill>
                <a:latin typeface="Calibri"/>
                <a:ea typeface="Calibri"/>
                <a:cs typeface="Calibri"/>
                <a:sym typeface="Calibri"/>
              </a:endParaRPr>
            </a:p>
          </p:txBody>
        </p:sp>
        <p:sp>
          <p:nvSpPr>
            <p:cNvPr id="1038" name="Google Shape;1038;p147"/>
            <p:cNvSpPr/>
            <p:nvPr/>
          </p:nvSpPr>
          <p:spPr>
            <a:xfrm>
              <a:off x="10886372" y="2834554"/>
              <a:ext cx="1014505" cy="168965"/>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accent1"/>
                </a:buClr>
                <a:buSzPts val="1400"/>
                <a:buFont typeface="Arial"/>
                <a:buNone/>
              </a:pPr>
              <a:r>
                <a:rPr lang="en-US" sz="1000" b="0" i="1" u="none" strike="noStrike" cap="none">
                  <a:solidFill>
                    <a:schemeClr val="accent1"/>
                  </a:solidFill>
                  <a:latin typeface="Calibri"/>
                  <a:ea typeface="Calibri"/>
                  <a:cs typeface="Calibri"/>
                  <a:sym typeface="Calibri"/>
                </a:rPr>
                <a:t>Data Science</a:t>
              </a:r>
              <a:endParaRPr sz="1200" b="0" i="1" u="none" strike="noStrike" cap="none">
                <a:solidFill>
                  <a:schemeClr val="accent1"/>
                </a:solidFill>
                <a:latin typeface="Calibri"/>
                <a:ea typeface="Calibri"/>
                <a:cs typeface="Calibri"/>
                <a:sym typeface="Calibri"/>
              </a:endParaRPr>
            </a:p>
          </p:txBody>
        </p:sp>
        <p:sp>
          <p:nvSpPr>
            <p:cNvPr id="1039" name="Google Shape;1039;p147"/>
            <p:cNvSpPr/>
            <p:nvPr/>
          </p:nvSpPr>
          <p:spPr>
            <a:xfrm>
              <a:off x="10320730" y="1174841"/>
              <a:ext cx="1617682" cy="2115609"/>
            </a:xfrm>
            <a:prstGeom prst="roundRect">
              <a:avLst>
                <a:gd name="adj" fmla="val 4456"/>
              </a:avLst>
            </a:prstGeom>
            <a:noFill/>
            <a:ln w="25400" cap="flat" cmpd="sng">
              <a:solidFill>
                <a:srgbClr val="66D5F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chemeClr val="lt1"/>
                </a:solidFill>
                <a:latin typeface="Calibri"/>
                <a:ea typeface="Calibri"/>
                <a:cs typeface="Calibri"/>
                <a:sym typeface="Calibri"/>
              </a:endParaRPr>
            </a:p>
          </p:txBody>
        </p:sp>
      </p:grpSp>
      <p:cxnSp>
        <p:nvCxnSpPr>
          <p:cNvPr id="1040" name="Google Shape;1040;p147"/>
          <p:cNvCxnSpPr/>
          <p:nvPr/>
        </p:nvCxnSpPr>
        <p:spPr>
          <a:xfrm>
            <a:off x="539400" y="4978692"/>
            <a:ext cx="11101738" cy="0"/>
          </a:xfrm>
          <a:prstGeom prst="straightConnector1">
            <a:avLst/>
          </a:prstGeom>
          <a:noFill/>
          <a:ln w="9525" cap="flat" cmpd="sng">
            <a:solidFill>
              <a:schemeClr val="dk1"/>
            </a:solidFill>
            <a:prstDash val="dash"/>
            <a:round/>
            <a:headEnd type="none" w="sm" len="sm"/>
            <a:tailEnd type="none" w="sm" len="sm"/>
          </a:ln>
        </p:spPr>
      </p:cxnSp>
      <p:cxnSp>
        <p:nvCxnSpPr>
          <p:cNvPr id="1041" name="Google Shape;1041;p147"/>
          <p:cNvCxnSpPr/>
          <p:nvPr/>
        </p:nvCxnSpPr>
        <p:spPr>
          <a:xfrm>
            <a:off x="539400" y="2856194"/>
            <a:ext cx="11101738" cy="0"/>
          </a:xfrm>
          <a:prstGeom prst="straightConnector1">
            <a:avLst/>
          </a:prstGeom>
          <a:noFill/>
          <a:ln w="9525" cap="flat" cmpd="sng">
            <a:solidFill>
              <a:schemeClr val="dk1"/>
            </a:solidFill>
            <a:prstDash val="dash"/>
            <a:round/>
            <a:headEnd type="none" w="sm" len="sm"/>
            <a:tailEnd type="none" w="sm" len="sm"/>
          </a:ln>
        </p:spPr>
      </p:cxnSp>
      <p:grpSp>
        <p:nvGrpSpPr>
          <p:cNvPr id="1042" name="Google Shape;1042;p147"/>
          <p:cNvGrpSpPr/>
          <p:nvPr/>
        </p:nvGrpSpPr>
        <p:grpSpPr>
          <a:xfrm>
            <a:off x="3426395" y="2161751"/>
            <a:ext cx="328350" cy="351830"/>
            <a:chOff x="5538787" y="2828925"/>
            <a:chExt cx="1118901" cy="1198911"/>
          </a:xfrm>
        </p:grpSpPr>
        <p:sp>
          <p:nvSpPr>
            <p:cNvPr id="1043" name="Google Shape;1043;p147"/>
            <p:cNvSpPr/>
            <p:nvPr/>
          </p:nvSpPr>
          <p:spPr>
            <a:xfrm>
              <a:off x="5555931" y="3801522"/>
              <a:ext cx="1084611" cy="226314"/>
            </a:xfrm>
            <a:custGeom>
              <a:avLst/>
              <a:gdLst/>
              <a:ahLst/>
              <a:cxnLst/>
              <a:rect l="l" t="t" r="r" b="b"/>
              <a:pathLst>
                <a:path w="1084611" h="226314" extrusionOk="0">
                  <a:moveTo>
                    <a:pt x="1065371" y="132207"/>
                  </a:moveTo>
                  <a:lnTo>
                    <a:pt x="614363" y="132207"/>
                  </a:lnTo>
                  <a:cubicBezTo>
                    <a:pt x="607505" y="106394"/>
                    <a:pt x="587312" y="86201"/>
                    <a:pt x="561499" y="79343"/>
                  </a:cubicBezTo>
                  <a:lnTo>
                    <a:pt x="561499" y="19240"/>
                  </a:lnTo>
                  <a:cubicBezTo>
                    <a:pt x="561499" y="8668"/>
                    <a:pt x="552926" y="0"/>
                    <a:pt x="542258" y="0"/>
                  </a:cubicBezTo>
                  <a:cubicBezTo>
                    <a:pt x="531590" y="0"/>
                    <a:pt x="523018" y="8573"/>
                    <a:pt x="523018" y="19240"/>
                  </a:cubicBezTo>
                  <a:lnTo>
                    <a:pt x="523018" y="79343"/>
                  </a:lnTo>
                  <a:cubicBezTo>
                    <a:pt x="497300" y="86201"/>
                    <a:pt x="477107" y="106394"/>
                    <a:pt x="470154" y="132207"/>
                  </a:cubicBezTo>
                  <a:lnTo>
                    <a:pt x="19241" y="132207"/>
                  </a:lnTo>
                  <a:cubicBezTo>
                    <a:pt x="8668" y="132207"/>
                    <a:pt x="0" y="140779"/>
                    <a:pt x="0" y="151448"/>
                  </a:cubicBezTo>
                  <a:cubicBezTo>
                    <a:pt x="0" y="162115"/>
                    <a:pt x="8573" y="170688"/>
                    <a:pt x="19241" y="170688"/>
                  </a:cubicBezTo>
                  <a:lnTo>
                    <a:pt x="470249" y="170688"/>
                  </a:lnTo>
                  <a:cubicBezTo>
                    <a:pt x="478822" y="202597"/>
                    <a:pt x="507683" y="226314"/>
                    <a:pt x="542258" y="226314"/>
                  </a:cubicBezTo>
                  <a:cubicBezTo>
                    <a:pt x="576834" y="226314"/>
                    <a:pt x="605790" y="202597"/>
                    <a:pt x="614363" y="170688"/>
                  </a:cubicBezTo>
                  <a:lnTo>
                    <a:pt x="1065371" y="170688"/>
                  </a:lnTo>
                  <a:cubicBezTo>
                    <a:pt x="1075944" y="170688"/>
                    <a:pt x="1084612" y="162115"/>
                    <a:pt x="1084612" y="151448"/>
                  </a:cubicBezTo>
                  <a:cubicBezTo>
                    <a:pt x="1084612" y="140779"/>
                    <a:pt x="1076039" y="132207"/>
                    <a:pt x="1065371" y="132207"/>
                  </a:cubicBezTo>
                  <a:close/>
                  <a:moveTo>
                    <a:pt x="542258" y="187833"/>
                  </a:moveTo>
                  <a:cubicBezTo>
                    <a:pt x="522161" y="187833"/>
                    <a:pt x="505873" y="171450"/>
                    <a:pt x="505873" y="151352"/>
                  </a:cubicBezTo>
                  <a:cubicBezTo>
                    <a:pt x="505873" y="131254"/>
                    <a:pt x="522256" y="114871"/>
                    <a:pt x="542258" y="114871"/>
                  </a:cubicBezTo>
                  <a:cubicBezTo>
                    <a:pt x="562261" y="114871"/>
                    <a:pt x="578739" y="131254"/>
                    <a:pt x="578739" y="151352"/>
                  </a:cubicBezTo>
                  <a:cubicBezTo>
                    <a:pt x="578739" y="171450"/>
                    <a:pt x="562356" y="187833"/>
                    <a:pt x="542258" y="18783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4" name="Google Shape;1044;p147"/>
            <p:cNvSpPr/>
            <p:nvPr/>
          </p:nvSpPr>
          <p:spPr>
            <a:xfrm>
              <a:off x="5538787" y="2828925"/>
              <a:ext cx="1118901" cy="269176"/>
            </a:xfrm>
            <a:custGeom>
              <a:avLst/>
              <a:gdLst/>
              <a:ahLst/>
              <a:cxnLst/>
              <a:rect l="l" t="t" r="r" b="b"/>
              <a:pathLst>
                <a:path w="1118901" h="269176" extrusionOk="0">
                  <a:moveTo>
                    <a:pt x="134588" y="269177"/>
                  </a:moveTo>
                  <a:lnTo>
                    <a:pt x="984313" y="269177"/>
                  </a:lnTo>
                  <a:cubicBezTo>
                    <a:pt x="1058513" y="269177"/>
                    <a:pt x="1118902" y="208788"/>
                    <a:pt x="1118902" y="134588"/>
                  </a:cubicBezTo>
                  <a:cubicBezTo>
                    <a:pt x="1118902" y="60389"/>
                    <a:pt x="1058513" y="0"/>
                    <a:pt x="984313" y="0"/>
                  </a:cubicBezTo>
                  <a:lnTo>
                    <a:pt x="134588" y="0"/>
                  </a:lnTo>
                  <a:cubicBezTo>
                    <a:pt x="60389" y="0"/>
                    <a:pt x="0" y="60389"/>
                    <a:pt x="0" y="134588"/>
                  </a:cubicBezTo>
                  <a:cubicBezTo>
                    <a:pt x="0" y="208788"/>
                    <a:pt x="60389" y="269177"/>
                    <a:pt x="134588" y="269177"/>
                  </a:cubicBezTo>
                  <a:close/>
                  <a:moveTo>
                    <a:pt x="134588" y="38386"/>
                  </a:moveTo>
                  <a:lnTo>
                    <a:pt x="984313" y="38386"/>
                  </a:lnTo>
                  <a:cubicBezTo>
                    <a:pt x="1037368" y="38386"/>
                    <a:pt x="1080421" y="81534"/>
                    <a:pt x="1080421" y="134588"/>
                  </a:cubicBezTo>
                  <a:cubicBezTo>
                    <a:pt x="1080421" y="187643"/>
                    <a:pt x="1037273" y="230791"/>
                    <a:pt x="984313" y="230791"/>
                  </a:cubicBezTo>
                  <a:lnTo>
                    <a:pt x="134588" y="230791"/>
                  </a:lnTo>
                  <a:cubicBezTo>
                    <a:pt x="81534" y="230791"/>
                    <a:pt x="38481" y="187643"/>
                    <a:pt x="38481" y="134588"/>
                  </a:cubicBezTo>
                  <a:cubicBezTo>
                    <a:pt x="38481" y="81534"/>
                    <a:pt x="81534" y="38386"/>
                    <a:pt x="134588"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5" name="Google Shape;1045;p147"/>
            <p:cNvSpPr/>
            <p:nvPr/>
          </p:nvSpPr>
          <p:spPr>
            <a:xfrm>
              <a:off x="6423183" y="2890075"/>
              <a:ext cx="146875" cy="146875"/>
            </a:xfrm>
            <a:custGeom>
              <a:avLst/>
              <a:gdLst/>
              <a:ahLst/>
              <a:cxnLst/>
              <a:rect l="l" t="t" r="r" b="b"/>
              <a:pathLst>
                <a:path w="146875" h="146875" extrusionOk="0">
                  <a:moveTo>
                    <a:pt x="73438" y="146876"/>
                  </a:moveTo>
                  <a:cubicBezTo>
                    <a:pt x="113919" y="146876"/>
                    <a:pt x="146875" y="113919"/>
                    <a:pt x="146875" y="73438"/>
                  </a:cubicBezTo>
                  <a:cubicBezTo>
                    <a:pt x="146875" y="32957"/>
                    <a:pt x="113919" y="0"/>
                    <a:pt x="73438" y="0"/>
                  </a:cubicBezTo>
                  <a:cubicBezTo>
                    <a:pt x="32956" y="0"/>
                    <a:pt x="0" y="32957"/>
                    <a:pt x="0" y="73438"/>
                  </a:cubicBezTo>
                  <a:cubicBezTo>
                    <a:pt x="0" y="113919"/>
                    <a:pt x="32956" y="146876"/>
                    <a:pt x="73438" y="146876"/>
                  </a:cubicBezTo>
                  <a:close/>
                  <a:moveTo>
                    <a:pt x="73438" y="38481"/>
                  </a:moveTo>
                  <a:cubicBezTo>
                    <a:pt x="92678" y="38481"/>
                    <a:pt x="108395" y="54197"/>
                    <a:pt x="108395" y="73438"/>
                  </a:cubicBezTo>
                  <a:cubicBezTo>
                    <a:pt x="108395" y="92678"/>
                    <a:pt x="92678" y="108394"/>
                    <a:pt x="73438" y="108394"/>
                  </a:cubicBezTo>
                  <a:cubicBezTo>
                    <a:pt x="54197" y="108394"/>
                    <a:pt x="38481" y="92678"/>
                    <a:pt x="38481" y="73438"/>
                  </a:cubicBezTo>
                  <a:cubicBezTo>
                    <a:pt x="38481" y="54197"/>
                    <a:pt x="54197" y="38481"/>
                    <a:pt x="73438" y="3848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6" name="Google Shape;1046;p147"/>
            <p:cNvSpPr/>
            <p:nvPr/>
          </p:nvSpPr>
          <p:spPr>
            <a:xfrm>
              <a:off x="5910547" y="2925127"/>
              <a:ext cx="76771" cy="76771"/>
            </a:xfrm>
            <a:custGeom>
              <a:avLst/>
              <a:gdLst/>
              <a:ahLst/>
              <a:cxnLst/>
              <a:rect l="l" t="t" r="r" b="b"/>
              <a:pathLst>
                <a:path w="76771" h="76771" extrusionOk="0">
                  <a:moveTo>
                    <a:pt x="38386" y="76771"/>
                  </a:moveTo>
                  <a:cubicBezTo>
                    <a:pt x="59531" y="76771"/>
                    <a:pt x="76772" y="59627"/>
                    <a:pt x="76772" y="38386"/>
                  </a:cubicBezTo>
                  <a:cubicBezTo>
                    <a:pt x="76772"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7" name="Google Shape;1047;p147"/>
            <p:cNvSpPr/>
            <p:nvPr/>
          </p:nvSpPr>
          <p:spPr>
            <a:xfrm>
              <a:off x="5773102" y="2925127"/>
              <a:ext cx="76771" cy="76771"/>
            </a:xfrm>
            <a:custGeom>
              <a:avLst/>
              <a:gdLst/>
              <a:ahLst/>
              <a:cxnLst/>
              <a:rect l="l" t="t" r="r" b="b"/>
              <a:pathLst>
                <a:path w="76771" h="76771" extrusionOk="0">
                  <a:moveTo>
                    <a:pt x="38386" y="76771"/>
                  </a:moveTo>
                  <a:cubicBezTo>
                    <a:pt x="59531" y="76771"/>
                    <a:pt x="76771" y="59627"/>
                    <a:pt x="76771" y="38386"/>
                  </a:cubicBezTo>
                  <a:cubicBezTo>
                    <a:pt x="76771"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8" name="Google Shape;1048;p147"/>
            <p:cNvSpPr/>
            <p:nvPr/>
          </p:nvSpPr>
          <p:spPr>
            <a:xfrm>
              <a:off x="5635751" y="2925127"/>
              <a:ext cx="76771" cy="76771"/>
            </a:xfrm>
            <a:custGeom>
              <a:avLst/>
              <a:gdLst/>
              <a:ahLst/>
              <a:cxnLst/>
              <a:rect l="l" t="t" r="r" b="b"/>
              <a:pathLst>
                <a:path w="76771" h="76771" extrusionOk="0">
                  <a:moveTo>
                    <a:pt x="38386" y="76771"/>
                  </a:moveTo>
                  <a:cubicBezTo>
                    <a:pt x="59531" y="76771"/>
                    <a:pt x="76771" y="59627"/>
                    <a:pt x="76771" y="38386"/>
                  </a:cubicBezTo>
                  <a:cubicBezTo>
                    <a:pt x="76771"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9" name="Google Shape;1049;p147"/>
            <p:cNvSpPr/>
            <p:nvPr/>
          </p:nvSpPr>
          <p:spPr>
            <a:xfrm>
              <a:off x="5538787" y="3161442"/>
              <a:ext cx="1118901" cy="269176"/>
            </a:xfrm>
            <a:custGeom>
              <a:avLst/>
              <a:gdLst/>
              <a:ahLst/>
              <a:cxnLst/>
              <a:rect l="l" t="t" r="r" b="b"/>
              <a:pathLst>
                <a:path w="1118901" h="269176" extrusionOk="0">
                  <a:moveTo>
                    <a:pt x="984313" y="0"/>
                  </a:moveTo>
                  <a:lnTo>
                    <a:pt x="134588" y="0"/>
                  </a:lnTo>
                  <a:cubicBezTo>
                    <a:pt x="60389" y="0"/>
                    <a:pt x="0" y="60389"/>
                    <a:pt x="0" y="134588"/>
                  </a:cubicBezTo>
                  <a:cubicBezTo>
                    <a:pt x="0" y="208788"/>
                    <a:pt x="60389" y="269176"/>
                    <a:pt x="134588" y="269176"/>
                  </a:cubicBezTo>
                  <a:lnTo>
                    <a:pt x="984313" y="269176"/>
                  </a:lnTo>
                  <a:cubicBezTo>
                    <a:pt x="1058513" y="269176"/>
                    <a:pt x="1118902" y="208788"/>
                    <a:pt x="1118902" y="134588"/>
                  </a:cubicBezTo>
                  <a:cubicBezTo>
                    <a:pt x="1118902" y="60389"/>
                    <a:pt x="1058513" y="0"/>
                    <a:pt x="984313" y="0"/>
                  </a:cubicBezTo>
                  <a:close/>
                  <a:moveTo>
                    <a:pt x="984313" y="230791"/>
                  </a:moveTo>
                  <a:lnTo>
                    <a:pt x="134588" y="230791"/>
                  </a:lnTo>
                  <a:cubicBezTo>
                    <a:pt x="81534" y="230791"/>
                    <a:pt x="38481" y="187643"/>
                    <a:pt x="38481" y="134588"/>
                  </a:cubicBezTo>
                  <a:cubicBezTo>
                    <a:pt x="38481" y="81534"/>
                    <a:pt x="81629" y="38386"/>
                    <a:pt x="134588" y="38386"/>
                  </a:cubicBezTo>
                  <a:lnTo>
                    <a:pt x="984313" y="38386"/>
                  </a:lnTo>
                  <a:cubicBezTo>
                    <a:pt x="1037368" y="38386"/>
                    <a:pt x="1080421" y="81534"/>
                    <a:pt x="1080421" y="134588"/>
                  </a:cubicBezTo>
                  <a:cubicBezTo>
                    <a:pt x="1080421" y="187643"/>
                    <a:pt x="1037273" y="230791"/>
                    <a:pt x="984313" y="23079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0" name="Google Shape;1050;p147"/>
            <p:cNvSpPr/>
            <p:nvPr/>
          </p:nvSpPr>
          <p:spPr>
            <a:xfrm>
              <a:off x="6423183" y="3222688"/>
              <a:ext cx="146875" cy="146875"/>
            </a:xfrm>
            <a:custGeom>
              <a:avLst/>
              <a:gdLst/>
              <a:ahLst/>
              <a:cxnLst/>
              <a:rect l="l" t="t" r="r" b="b"/>
              <a:pathLst>
                <a:path w="146875" h="146875" extrusionOk="0">
                  <a:moveTo>
                    <a:pt x="73438" y="0"/>
                  </a:moveTo>
                  <a:cubicBezTo>
                    <a:pt x="32956" y="0"/>
                    <a:pt x="0" y="32956"/>
                    <a:pt x="0" y="73438"/>
                  </a:cubicBezTo>
                  <a:cubicBezTo>
                    <a:pt x="0" y="113919"/>
                    <a:pt x="32956" y="146875"/>
                    <a:pt x="73438" y="146875"/>
                  </a:cubicBezTo>
                  <a:cubicBezTo>
                    <a:pt x="113919" y="146875"/>
                    <a:pt x="146875" y="113919"/>
                    <a:pt x="146875" y="73438"/>
                  </a:cubicBezTo>
                  <a:cubicBezTo>
                    <a:pt x="146875" y="32956"/>
                    <a:pt x="113919" y="0"/>
                    <a:pt x="73438" y="0"/>
                  </a:cubicBezTo>
                  <a:close/>
                  <a:moveTo>
                    <a:pt x="73438" y="108395"/>
                  </a:moveTo>
                  <a:cubicBezTo>
                    <a:pt x="54197" y="108395"/>
                    <a:pt x="38481" y="92678"/>
                    <a:pt x="38481" y="73438"/>
                  </a:cubicBezTo>
                  <a:cubicBezTo>
                    <a:pt x="38481" y="54197"/>
                    <a:pt x="54197" y="38481"/>
                    <a:pt x="73438" y="38481"/>
                  </a:cubicBezTo>
                  <a:cubicBezTo>
                    <a:pt x="92678" y="38481"/>
                    <a:pt x="108395" y="54197"/>
                    <a:pt x="108395" y="73438"/>
                  </a:cubicBezTo>
                  <a:cubicBezTo>
                    <a:pt x="108395" y="92678"/>
                    <a:pt x="92678" y="108395"/>
                    <a:pt x="73438" y="10839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1" name="Google Shape;1051;p147"/>
            <p:cNvSpPr/>
            <p:nvPr/>
          </p:nvSpPr>
          <p:spPr>
            <a:xfrm>
              <a:off x="5910547" y="3257740"/>
              <a:ext cx="76771" cy="76771"/>
            </a:xfrm>
            <a:custGeom>
              <a:avLst/>
              <a:gdLst/>
              <a:ahLst/>
              <a:cxnLst/>
              <a:rect l="l" t="t" r="r" b="b"/>
              <a:pathLst>
                <a:path w="76771" h="76771" extrusionOk="0">
                  <a:moveTo>
                    <a:pt x="38386" y="0"/>
                  </a:moveTo>
                  <a:cubicBezTo>
                    <a:pt x="17240" y="0"/>
                    <a:pt x="0" y="17145"/>
                    <a:pt x="0" y="38386"/>
                  </a:cubicBezTo>
                  <a:cubicBezTo>
                    <a:pt x="0" y="59626"/>
                    <a:pt x="17145" y="76772"/>
                    <a:pt x="38386" y="76772"/>
                  </a:cubicBezTo>
                  <a:cubicBezTo>
                    <a:pt x="59627" y="76772"/>
                    <a:pt x="76772" y="59626"/>
                    <a:pt x="76772" y="38386"/>
                  </a:cubicBezTo>
                  <a:cubicBezTo>
                    <a:pt x="76772"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2" name="Google Shape;1052;p147"/>
            <p:cNvSpPr/>
            <p:nvPr/>
          </p:nvSpPr>
          <p:spPr>
            <a:xfrm>
              <a:off x="5773102" y="3257645"/>
              <a:ext cx="76771" cy="76771"/>
            </a:xfrm>
            <a:custGeom>
              <a:avLst/>
              <a:gdLst/>
              <a:ahLst/>
              <a:cxnLst/>
              <a:rect l="l" t="t" r="r" b="b"/>
              <a:pathLst>
                <a:path w="76771" h="76771" extrusionOk="0">
                  <a:moveTo>
                    <a:pt x="76772" y="38386"/>
                  </a:moveTo>
                  <a:cubicBezTo>
                    <a:pt x="76772" y="59586"/>
                    <a:pt x="59586" y="76772"/>
                    <a:pt x="38386" y="76772"/>
                  </a:cubicBezTo>
                  <a:cubicBezTo>
                    <a:pt x="17186" y="76772"/>
                    <a:pt x="0" y="59586"/>
                    <a:pt x="0" y="38386"/>
                  </a:cubicBezTo>
                  <a:cubicBezTo>
                    <a:pt x="0" y="17186"/>
                    <a:pt x="17186" y="0"/>
                    <a:pt x="38386" y="0"/>
                  </a:cubicBezTo>
                  <a:cubicBezTo>
                    <a:pt x="59586" y="0"/>
                    <a:pt x="76772" y="17186"/>
                    <a:pt x="76772"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3" name="Google Shape;1053;p147"/>
            <p:cNvSpPr/>
            <p:nvPr/>
          </p:nvSpPr>
          <p:spPr>
            <a:xfrm>
              <a:off x="5635751" y="3257645"/>
              <a:ext cx="76771" cy="76771"/>
            </a:xfrm>
            <a:custGeom>
              <a:avLst/>
              <a:gdLst/>
              <a:ahLst/>
              <a:cxnLst/>
              <a:rect l="l" t="t" r="r" b="b"/>
              <a:pathLst>
                <a:path w="76771" h="76771" extrusionOk="0">
                  <a:moveTo>
                    <a:pt x="76772" y="38386"/>
                  </a:moveTo>
                  <a:cubicBezTo>
                    <a:pt x="76772" y="59586"/>
                    <a:pt x="59586" y="76772"/>
                    <a:pt x="38386" y="76772"/>
                  </a:cubicBezTo>
                  <a:cubicBezTo>
                    <a:pt x="17186" y="76772"/>
                    <a:pt x="0" y="59586"/>
                    <a:pt x="0" y="38386"/>
                  </a:cubicBezTo>
                  <a:cubicBezTo>
                    <a:pt x="0" y="17186"/>
                    <a:pt x="17186" y="0"/>
                    <a:pt x="38386" y="0"/>
                  </a:cubicBezTo>
                  <a:cubicBezTo>
                    <a:pt x="59586" y="0"/>
                    <a:pt x="76772" y="17186"/>
                    <a:pt x="76772"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4" name="Google Shape;1054;p147"/>
            <p:cNvSpPr/>
            <p:nvPr/>
          </p:nvSpPr>
          <p:spPr>
            <a:xfrm>
              <a:off x="5538787" y="3494055"/>
              <a:ext cx="1118901" cy="269176"/>
            </a:xfrm>
            <a:custGeom>
              <a:avLst/>
              <a:gdLst/>
              <a:ahLst/>
              <a:cxnLst/>
              <a:rect l="l" t="t" r="r" b="b"/>
              <a:pathLst>
                <a:path w="1118901" h="269176" extrusionOk="0">
                  <a:moveTo>
                    <a:pt x="984313" y="0"/>
                  </a:moveTo>
                  <a:lnTo>
                    <a:pt x="134588" y="0"/>
                  </a:lnTo>
                  <a:cubicBezTo>
                    <a:pt x="60389" y="0"/>
                    <a:pt x="0" y="60388"/>
                    <a:pt x="0" y="134588"/>
                  </a:cubicBezTo>
                  <a:cubicBezTo>
                    <a:pt x="0" y="208788"/>
                    <a:pt x="60389" y="269176"/>
                    <a:pt x="134588" y="269176"/>
                  </a:cubicBezTo>
                  <a:lnTo>
                    <a:pt x="984313" y="269176"/>
                  </a:lnTo>
                  <a:cubicBezTo>
                    <a:pt x="1058513" y="269176"/>
                    <a:pt x="1118902" y="208788"/>
                    <a:pt x="1118902" y="134588"/>
                  </a:cubicBezTo>
                  <a:cubicBezTo>
                    <a:pt x="1118902" y="60388"/>
                    <a:pt x="1058513" y="0"/>
                    <a:pt x="984313" y="0"/>
                  </a:cubicBezTo>
                  <a:close/>
                  <a:moveTo>
                    <a:pt x="984313" y="230696"/>
                  </a:moveTo>
                  <a:lnTo>
                    <a:pt x="134588" y="230696"/>
                  </a:lnTo>
                  <a:cubicBezTo>
                    <a:pt x="81534" y="230696"/>
                    <a:pt x="38481" y="187547"/>
                    <a:pt x="38481" y="134493"/>
                  </a:cubicBezTo>
                  <a:cubicBezTo>
                    <a:pt x="38481" y="81439"/>
                    <a:pt x="81629" y="38386"/>
                    <a:pt x="134588" y="38386"/>
                  </a:cubicBezTo>
                  <a:lnTo>
                    <a:pt x="984313" y="38386"/>
                  </a:lnTo>
                  <a:cubicBezTo>
                    <a:pt x="1037368" y="38386"/>
                    <a:pt x="1080421" y="81534"/>
                    <a:pt x="1080421" y="134493"/>
                  </a:cubicBezTo>
                  <a:cubicBezTo>
                    <a:pt x="1080421" y="187452"/>
                    <a:pt x="1037273" y="230696"/>
                    <a:pt x="984313" y="23069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5" name="Google Shape;1055;p147"/>
            <p:cNvSpPr/>
            <p:nvPr/>
          </p:nvSpPr>
          <p:spPr>
            <a:xfrm>
              <a:off x="6423183" y="3555206"/>
              <a:ext cx="146875" cy="146875"/>
            </a:xfrm>
            <a:custGeom>
              <a:avLst/>
              <a:gdLst/>
              <a:ahLst/>
              <a:cxnLst/>
              <a:rect l="l" t="t" r="r" b="b"/>
              <a:pathLst>
                <a:path w="146875" h="146875" extrusionOk="0">
                  <a:moveTo>
                    <a:pt x="73438" y="0"/>
                  </a:moveTo>
                  <a:cubicBezTo>
                    <a:pt x="32956" y="0"/>
                    <a:pt x="0" y="32956"/>
                    <a:pt x="0" y="73438"/>
                  </a:cubicBezTo>
                  <a:cubicBezTo>
                    <a:pt x="0" y="113919"/>
                    <a:pt x="32956" y="146875"/>
                    <a:pt x="73438" y="146875"/>
                  </a:cubicBezTo>
                  <a:cubicBezTo>
                    <a:pt x="113919" y="146875"/>
                    <a:pt x="146875" y="113919"/>
                    <a:pt x="146875" y="73438"/>
                  </a:cubicBezTo>
                  <a:cubicBezTo>
                    <a:pt x="146875" y="32956"/>
                    <a:pt x="113919" y="0"/>
                    <a:pt x="73438" y="0"/>
                  </a:cubicBezTo>
                  <a:close/>
                  <a:moveTo>
                    <a:pt x="73438" y="108394"/>
                  </a:moveTo>
                  <a:cubicBezTo>
                    <a:pt x="54197" y="108394"/>
                    <a:pt x="38481" y="92678"/>
                    <a:pt x="38481" y="73438"/>
                  </a:cubicBezTo>
                  <a:cubicBezTo>
                    <a:pt x="38481" y="54197"/>
                    <a:pt x="54197" y="38481"/>
                    <a:pt x="73438" y="38481"/>
                  </a:cubicBezTo>
                  <a:cubicBezTo>
                    <a:pt x="92678" y="38481"/>
                    <a:pt x="108395" y="54197"/>
                    <a:pt x="108395" y="73438"/>
                  </a:cubicBezTo>
                  <a:cubicBezTo>
                    <a:pt x="108395" y="92678"/>
                    <a:pt x="92678" y="108394"/>
                    <a:pt x="73438" y="10839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6" name="Google Shape;1056;p147"/>
            <p:cNvSpPr/>
            <p:nvPr/>
          </p:nvSpPr>
          <p:spPr>
            <a:xfrm>
              <a:off x="5910547"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2" y="59627"/>
                    <a:pt x="76772" y="38386"/>
                  </a:cubicBezTo>
                  <a:cubicBezTo>
                    <a:pt x="76772"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7" name="Google Shape;1057;p147"/>
            <p:cNvSpPr/>
            <p:nvPr/>
          </p:nvSpPr>
          <p:spPr>
            <a:xfrm>
              <a:off x="5773102"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1" y="59627"/>
                    <a:pt x="76771" y="38386"/>
                  </a:cubicBezTo>
                  <a:cubicBezTo>
                    <a:pt x="76771"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8" name="Google Shape;1058;p147"/>
            <p:cNvSpPr/>
            <p:nvPr/>
          </p:nvSpPr>
          <p:spPr>
            <a:xfrm>
              <a:off x="5635751"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1" y="59627"/>
                    <a:pt x="76771" y="38386"/>
                  </a:cubicBezTo>
                  <a:cubicBezTo>
                    <a:pt x="76771"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059" name="Google Shape;1059;p147"/>
          <p:cNvGrpSpPr/>
          <p:nvPr/>
        </p:nvGrpSpPr>
        <p:grpSpPr>
          <a:xfrm>
            <a:off x="3173019" y="3257231"/>
            <a:ext cx="835102" cy="387520"/>
            <a:chOff x="-1008987" y="3409416"/>
            <a:chExt cx="848855" cy="393901"/>
          </a:xfrm>
        </p:grpSpPr>
        <p:grpSp>
          <p:nvGrpSpPr>
            <p:cNvPr id="1060" name="Google Shape;1060;p147"/>
            <p:cNvGrpSpPr/>
            <p:nvPr/>
          </p:nvGrpSpPr>
          <p:grpSpPr>
            <a:xfrm>
              <a:off x="-1008987" y="3409416"/>
              <a:ext cx="333755" cy="357621"/>
              <a:chOff x="5538787" y="2828925"/>
              <a:chExt cx="1118901" cy="1198911"/>
            </a:xfrm>
          </p:grpSpPr>
          <p:sp>
            <p:nvSpPr>
              <p:cNvPr id="1061" name="Google Shape;1061;p147"/>
              <p:cNvSpPr/>
              <p:nvPr/>
            </p:nvSpPr>
            <p:spPr>
              <a:xfrm>
                <a:off x="5555931" y="3801522"/>
                <a:ext cx="1084611" cy="226314"/>
              </a:xfrm>
              <a:custGeom>
                <a:avLst/>
                <a:gdLst/>
                <a:ahLst/>
                <a:cxnLst/>
                <a:rect l="l" t="t" r="r" b="b"/>
                <a:pathLst>
                  <a:path w="1084611" h="226314" extrusionOk="0">
                    <a:moveTo>
                      <a:pt x="1065371" y="132207"/>
                    </a:moveTo>
                    <a:lnTo>
                      <a:pt x="614363" y="132207"/>
                    </a:lnTo>
                    <a:cubicBezTo>
                      <a:pt x="607505" y="106394"/>
                      <a:pt x="587312" y="86201"/>
                      <a:pt x="561499" y="79343"/>
                    </a:cubicBezTo>
                    <a:lnTo>
                      <a:pt x="561499" y="19240"/>
                    </a:lnTo>
                    <a:cubicBezTo>
                      <a:pt x="561499" y="8668"/>
                      <a:pt x="552926" y="0"/>
                      <a:pt x="542258" y="0"/>
                    </a:cubicBezTo>
                    <a:cubicBezTo>
                      <a:pt x="531590" y="0"/>
                      <a:pt x="523018" y="8573"/>
                      <a:pt x="523018" y="19240"/>
                    </a:cubicBezTo>
                    <a:lnTo>
                      <a:pt x="523018" y="79343"/>
                    </a:lnTo>
                    <a:cubicBezTo>
                      <a:pt x="497300" y="86201"/>
                      <a:pt x="477107" y="106394"/>
                      <a:pt x="470154" y="132207"/>
                    </a:cubicBezTo>
                    <a:lnTo>
                      <a:pt x="19241" y="132207"/>
                    </a:lnTo>
                    <a:cubicBezTo>
                      <a:pt x="8668" y="132207"/>
                      <a:pt x="0" y="140779"/>
                      <a:pt x="0" y="151448"/>
                    </a:cubicBezTo>
                    <a:cubicBezTo>
                      <a:pt x="0" y="162115"/>
                      <a:pt x="8573" y="170688"/>
                      <a:pt x="19241" y="170688"/>
                    </a:cubicBezTo>
                    <a:lnTo>
                      <a:pt x="470249" y="170688"/>
                    </a:lnTo>
                    <a:cubicBezTo>
                      <a:pt x="478822" y="202597"/>
                      <a:pt x="507683" y="226314"/>
                      <a:pt x="542258" y="226314"/>
                    </a:cubicBezTo>
                    <a:cubicBezTo>
                      <a:pt x="576834" y="226314"/>
                      <a:pt x="605790" y="202597"/>
                      <a:pt x="614363" y="170688"/>
                    </a:cubicBezTo>
                    <a:lnTo>
                      <a:pt x="1065371" y="170688"/>
                    </a:lnTo>
                    <a:cubicBezTo>
                      <a:pt x="1075944" y="170688"/>
                      <a:pt x="1084612" y="162115"/>
                      <a:pt x="1084612" y="151448"/>
                    </a:cubicBezTo>
                    <a:cubicBezTo>
                      <a:pt x="1084612" y="140779"/>
                      <a:pt x="1076039" y="132207"/>
                      <a:pt x="1065371" y="132207"/>
                    </a:cubicBezTo>
                    <a:close/>
                    <a:moveTo>
                      <a:pt x="542258" y="187833"/>
                    </a:moveTo>
                    <a:cubicBezTo>
                      <a:pt x="522161" y="187833"/>
                      <a:pt x="505873" y="171450"/>
                      <a:pt x="505873" y="151352"/>
                    </a:cubicBezTo>
                    <a:cubicBezTo>
                      <a:pt x="505873" y="131254"/>
                      <a:pt x="522256" y="114871"/>
                      <a:pt x="542258" y="114871"/>
                    </a:cubicBezTo>
                    <a:cubicBezTo>
                      <a:pt x="562261" y="114871"/>
                      <a:pt x="578739" y="131254"/>
                      <a:pt x="578739" y="151352"/>
                    </a:cubicBezTo>
                    <a:cubicBezTo>
                      <a:pt x="578739" y="171450"/>
                      <a:pt x="562356" y="187833"/>
                      <a:pt x="542258" y="18783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2" name="Google Shape;1062;p147"/>
              <p:cNvSpPr/>
              <p:nvPr/>
            </p:nvSpPr>
            <p:spPr>
              <a:xfrm>
                <a:off x="5538787" y="2828925"/>
                <a:ext cx="1118901" cy="269176"/>
              </a:xfrm>
              <a:custGeom>
                <a:avLst/>
                <a:gdLst/>
                <a:ahLst/>
                <a:cxnLst/>
                <a:rect l="l" t="t" r="r" b="b"/>
                <a:pathLst>
                  <a:path w="1118901" h="269176" extrusionOk="0">
                    <a:moveTo>
                      <a:pt x="134588" y="269177"/>
                    </a:moveTo>
                    <a:lnTo>
                      <a:pt x="984313" y="269177"/>
                    </a:lnTo>
                    <a:cubicBezTo>
                      <a:pt x="1058513" y="269177"/>
                      <a:pt x="1118902" y="208788"/>
                      <a:pt x="1118902" y="134588"/>
                    </a:cubicBezTo>
                    <a:cubicBezTo>
                      <a:pt x="1118902" y="60389"/>
                      <a:pt x="1058513" y="0"/>
                      <a:pt x="984313" y="0"/>
                    </a:cubicBezTo>
                    <a:lnTo>
                      <a:pt x="134588" y="0"/>
                    </a:lnTo>
                    <a:cubicBezTo>
                      <a:pt x="60389" y="0"/>
                      <a:pt x="0" y="60389"/>
                      <a:pt x="0" y="134588"/>
                    </a:cubicBezTo>
                    <a:cubicBezTo>
                      <a:pt x="0" y="208788"/>
                      <a:pt x="60389" y="269177"/>
                      <a:pt x="134588" y="269177"/>
                    </a:cubicBezTo>
                    <a:close/>
                    <a:moveTo>
                      <a:pt x="134588" y="38386"/>
                    </a:moveTo>
                    <a:lnTo>
                      <a:pt x="984313" y="38386"/>
                    </a:lnTo>
                    <a:cubicBezTo>
                      <a:pt x="1037368" y="38386"/>
                      <a:pt x="1080421" y="81534"/>
                      <a:pt x="1080421" y="134588"/>
                    </a:cubicBezTo>
                    <a:cubicBezTo>
                      <a:pt x="1080421" y="187643"/>
                      <a:pt x="1037273" y="230791"/>
                      <a:pt x="984313" y="230791"/>
                    </a:cubicBezTo>
                    <a:lnTo>
                      <a:pt x="134588" y="230791"/>
                    </a:lnTo>
                    <a:cubicBezTo>
                      <a:pt x="81534" y="230791"/>
                      <a:pt x="38481" y="187643"/>
                      <a:pt x="38481" y="134588"/>
                    </a:cubicBezTo>
                    <a:cubicBezTo>
                      <a:pt x="38481" y="81534"/>
                      <a:pt x="81534" y="38386"/>
                      <a:pt x="134588"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3" name="Google Shape;1063;p147"/>
              <p:cNvSpPr/>
              <p:nvPr/>
            </p:nvSpPr>
            <p:spPr>
              <a:xfrm>
                <a:off x="6423183" y="2890075"/>
                <a:ext cx="146875" cy="146875"/>
              </a:xfrm>
              <a:custGeom>
                <a:avLst/>
                <a:gdLst/>
                <a:ahLst/>
                <a:cxnLst/>
                <a:rect l="l" t="t" r="r" b="b"/>
                <a:pathLst>
                  <a:path w="146875" h="146875" extrusionOk="0">
                    <a:moveTo>
                      <a:pt x="73438" y="146876"/>
                    </a:moveTo>
                    <a:cubicBezTo>
                      <a:pt x="113919" y="146876"/>
                      <a:pt x="146875" y="113919"/>
                      <a:pt x="146875" y="73438"/>
                    </a:cubicBezTo>
                    <a:cubicBezTo>
                      <a:pt x="146875" y="32957"/>
                      <a:pt x="113919" y="0"/>
                      <a:pt x="73438" y="0"/>
                    </a:cubicBezTo>
                    <a:cubicBezTo>
                      <a:pt x="32956" y="0"/>
                      <a:pt x="0" y="32957"/>
                      <a:pt x="0" y="73438"/>
                    </a:cubicBezTo>
                    <a:cubicBezTo>
                      <a:pt x="0" y="113919"/>
                      <a:pt x="32956" y="146876"/>
                      <a:pt x="73438" y="146876"/>
                    </a:cubicBezTo>
                    <a:close/>
                    <a:moveTo>
                      <a:pt x="73438" y="38481"/>
                    </a:moveTo>
                    <a:cubicBezTo>
                      <a:pt x="92678" y="38481"/>
                      <a:pt x="108395" y="54197"/>
                      <a:pt x="108395" y="73438"/>
                    </a:cubicBezTo>
                    <a:cubicBezTo>
                      <a:pt x="108395" y="92678"/>
                      <a:pt x="92678" y="108394"/>
                      <a:pt x="73438" y="108394"/>
                    </a:cubicBezTo>
                    <a:cubicBezTo>
                      <a:pt x="54197" y="108394"/>
                      <a:pt x="38481" y="92678"/>
                      <a:pt x="38481" y="73438"/>
                    </a:cubicBezTo>
                    <a:cubicBezTo>
                      <a:pt x="38481" y="54197"/>
                      <a:pt x="54197" y="38481"/>
                      <a:pt x="73438" y="3848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4" name="Google Shape;1064;p147"/>
              <p:cNvSpPr/>
              <p:nvPr/>
            </p:nvSpPr>
            <p:spPr>
              <a:xfrm>
                <a:off x="5910547" y="2925127"/>
                <a:ext cx="76771" cy="76771"/>
              </a:xfrm>
              <a:custGeom>
                <a:avLst/>
                <a:gdLst/>
                <a:ahLst/>
                <a:cxnLst/>
                <a:rect l="l" t="t" r="r" b="b"/>
                <a:pathLst>
                  <a:path w="76771" h="76771" extrusionOk="0">
                    <a:moveTo>
                      <a:pt x="38386" y="76771"/>
                    </a:moveTo>
                    <a:cubicBezTo>
                      <a:pt x="59531" y="76771"/>
                      <a:pt x="76772" y="59627"/>
                      <a:pt x="76772" y="38386"/>
                    </a:cubicBezTo>
                    <a:cubicBezTo>
                      <a:pt x="76772"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5" name="Google Shape;1065;p147"/>
              <p:cNvSpPr/>
              <p:nvPr/>
            </p:nvSpPr>
            <p:spPr>
              <a:xfrm>
                <a:off x="5773102" y="2925127"/>
                <a:ext cx="76771" cy="76771"/>
              </a:xfrm>
              <a:custGeom>
                <a:avLst/>
                <a:gdLst/>
                <a:ahLst/>
                <a:cxnLst/>
                <a:rect l="l" t="t" r="r" b="b"/>
                <a:pathLst>
                  <a:path w="76771" h="76771" extrusionOk="0">
                    <a:moveTo>
                      <a:pt x="38386" y="76771"/>
                    </a:moveTo>
                    <a:cubicBezTo>
                      <a:pt x="59531" y="76771"/>
                      <a:pt x="76771" y="59627"/>
                      <a:pt x="76771" y="38386"/>
                    </a:cubicBezTo>
                    <a:cubicBezTo>
                      <a:pt x="76771"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6" name="Google Shape;1066;p147"/>
              <p:cNvSpPr/>
              <p:nvPr/>
            </p:nvSpPr>
            <p:spPr>
              <a:xfrm>
                <a:off x="5635751" y="2925127"/>
                <a:ext cx="76771" cy="76771"/>
              </a:xfrm>
              <a:custGeom>
                <a:avLst/>
                <a:gdLst/>
                <a:ahLst/>
                <a:cxnLst/>
                <a:rect l="l" t="t" r="r" b="b"/>
                <a:pathLst>
                  <a:path w="76771" h="76771" extrusionOk="0">
                    <a:moveTo>
                      <a:pt x="38386" y="76771"/>
                    </a:moveTo>
                    <a:cubicBezTo>
                      <a:pt x="59531" y="76771"/>
                      <a:pt x="76771" y="59627"/>
                      <a:pt x="76771" y="38386"/>
                    </a:cubicBezTo>
                    <a:cubicBezTo>
                      <a:pt x="76771"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7" name="Google Shape;1067;p147"/>
              <p:cNvSpPr/>
              <p:nvPr/>
            </p:nvSpPr>
            <p:spPr>
              <a:xfrm>
                <a:off x="5538787" y="3161442"/>
                <a:ext cx="1118901" cy="269176"/>
              </a:xfrm>
              <a:custGeom>
                <a:avLst/>
                <a:gdLst/>
                <a:ahLst/>
                <a:cxnLst/>
                <a:rect l="l" t="t" r="r" b="b"/>
                <a:pathLst>
                  <a:path w="1118901" h="269176" extrusionOk="0">
                    <a:moveTo>
                      <a:pt x="984313" y="0"/>
                    </a:moveTo>
                    <a:lnTo>
                      <a:pt x="134588" y="0"/>
                    </a:lnTo>
                    <a:cubicBezTo>
                      <a:pt x="60389" y="0"/>
                      <a:pt x="0" y="60389"/>
                      <a:pt x="0" y="134588"/>
                    </a:cubicBezTo>
                    <a:cubicBezTo>
                      <a:pt x="0" y="208788"/>
                      <a:pt x="60389" y="269176"/>
                      <a:pt x="134588" y="269176"/>
                    </a:cubicBezTo>
                    <a:lnTo>
                      <a:pt x="984313" y="269176"/>
                    </a:lnTo>
                    <a:cubicBezTo>
                      <a:pt x="1058513" y="269176"/>
                      <a:pt x="1118902" y="208788"/>
                      <a:pt x="1118902" y="134588"/>
                    </a:cubicBezTo>
                    <a:cubicBezTo>
                      <a:pt x="1118902" y="60389"/>
                      <a:pt x="1058513" y="0"/>
                      <a:pt x="984313" y="0"/>
                    </a:cubicBezTo>
                    <a:close/>
                    <a:moveTo>
                      <a:pt x="984313" y="230791"/>
                    </a:moveTo>
                    <a:lnTo>
                      <a:pt x="134588" y="230791"/>
                    </a:lnTo>
                    <a:cubicBezTo>
                      <a:pt x="81534" y="230791"/>
                      <a:pt x="38481" y="187643"/>
                      <a:pt x="38481" y="134588"/>
                    </a:cubicBezTo>
                    <a:cubicBezTo>
                      <a:pt x="38481" y="81534"/>
                      <a:pt x="81629" y="38386"/>
                      <a:pt x="134588" y="38386"/>
                    </a:cubicBezTo>
                    <a:lnTo>
                      <a:pt x="984313" y="38386"/>
                    </a:lnTo>
                    <a:cubicBezTo>
                      <a:pt x="1037368" y="38386"/>
                      <a:pt x="1080421" y="81534"/>
                      <a:pt x="1080421" y="134588"/>
                    </a:cubicBezTo>
                    <a:cubicBezTo>
                      <a:pt x="1080421" y="187643"/>
                      <a:pt x="1037273" y="230791"/>
                      <a:pt x="984313" y="23079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8" name="Google Shape;1068;p147"/>
              <p:cNvSpPr/>
              <p:nvPr/>
            </p:nvSpPr>
            <p:spPr>
              <a:xfrm>
                <a:off x="6423183" y="3222688"/>
                <a:ext cx="146875" cy="146875"/>
              </a:xfrm>
              <a:custGeom>
                <a:avLst/>
                <a:gdLst/>
                <a:ahLst/>
                <a:cxnLst/>
                <a:rect l="l" t="t" r="r" b="b"/>
                <a:pathLst>
                  <a:path w="146875" h="146875" extrusionOk="0">
                    <a:moveTo>
                      <a:pt x="73438" y="0"/>
                    </a:moveTo>
                    <a:cubicBezTo>
                      <a:pt x="32956" y="0"/>
                      <a:pt x="0" y="32956"/>
                      <a:pt x="0" y="73438"/>
                    </a:cubicBezTo>
                    <a:cubicBezTo>
                      <a:pt x="0" y="113919"/>
                      <a:pt x="32956" y="146875"/>
                      <a:pt x="73438" y="146875"/>
                    </a:cubicBezTo>
                    <a:cubicBezTo>
                      <a:pt x="113919" y="146875"/>
                      <a:pt x="146875" y="113919"/>
                      <a:pt x="146875" y="73438"/>
                    </a:cubicBezTo>
                    <a:cubicBezTo>
                      <a:pt x="146875" y="32956"/>
                      <a:pt x="113919" y="0"/>
                      <a:pt x="73438" y="0"/>
                    </a:cubicBezTo>
                    <a:close/>
                    <a:moveTo>
                      <a:pt x="73438" y="108395"/>
                    </a:moveTo>
                    <a:cubicBezTo>
                      <a:pt x="54197" y="108395"/>
                      <a:pt x="38481" y="92678"/>
                      <a:pt x="38481" y="73438"/>
                    </a:cubicBezTo>
                    <a:cubicBezTo>
                      <a:pt x="38481" y="54197"/>
                      <a:pt x="54197" y="38481"/>
                      <a:pt x="73438" y="38481"/>
                    </a:cubicBezTo>
                    <a:cubicBezTo>
                      <a:pt x="92678" y="38481"/>
                      <a:pt x="108395" y="54197"/>
                      <a:pt x="108395" y="73438"/>
                    </a:cubicBezTo>
                    <a:cubicBezTo>
                      <a:pt x="108395" y="92678"/>
                      <a:pt x="92678" y="108395"/>
                      <a:pt x="73438" y="10839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9" name="Google Shape;1069;p147"/>
              <p:cNvSpPr/>
              <p:nvPr/>
            </p:nvSpPr>
            <p:spPr>
              <a:xfrm>
                <a:off x="5910547" y="3257740"/>
                <a:ext cx="76771" cy="76771"/>
              </a:xfrm>
              <a:custGeom>
                <a:avLst/>
                <a:gdLst/>
                <a:ahLst/>
                <a:cxnLst/>
                <a:rect l="l" t="t" r="r" b="b"/>
                <a:pathLst>
                  <a:path w="76771" h="76771" extrusionOk="0">
                    <a:moveTo>
                      <a:pt x="38386" y="0"/>
                    </a:moveTo>
                    <a:cubicBezTo>
                      <a:pt x="17240" y="0"/>
                      <a:pt x="0" y="17145"/>
                      <a:pt x="0" y="38386"/>
                    </a:cubicBezTo>
                    <a:cubicBezTo>
                      <a:pt x="0" y="59626"/>
                      <a:pt x="17145" y="76772"/>
                      <a:pt x="38386" y="76772"/>
                    </a:cubicBezTo>
                    <a:cubicBezTo>
                      <a:pt x="59627" y="76772"/>
                      <a:pt x="76772" y="59626"/>
                      <a:pt x="76772" y="38386"/>
                    </a:cubicBezTo>
                    <a:cubicBezTo>
                      <a:pt x="76772"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0" name="Google Shape;1070;p147"/>
              <p:cNvSpPr/>
              <p:nvPr/>
            </p:nvSpPr>
            <p:spPr>
              <a:xfrm>
                <a:off x="5773102" y="3257645"/>
                <a:ext cx="76771" cy="76771"/>
              </a:xfrm>
              <a:custGeom>
                <a:avLst/>
                <a:gdLst/>
                <a:ahLst/>
                <a:cxnLst/>
                <a:rect l="l" t="t" r="r" b="b"/>
                <a:pathLst>
                  <a:path w="76771" h="76771" extrusionOk="0">
                    <a:moveTo>
                      <a:pt x="76772" y="38386"/>
                    </a:moveTo>
                    <a:cubicBezTo>
                      <a:pt x="76772" y="59586"/>
                      <a:pt x="59586" y="76772"/>
                      <a:pt x="38386" y="76772"/>
                    </a:cubicBezTo>
                    <a:cubicBezTo>
                      <a:pt x="17186" y="76772"/>
                      <a:pt x="0" y="59586"/>
                      <a:pt x="0" y="38386"/>
                    </a:cubicBezTo>
                    <a:cubicBezTo>
                      <a:pt x="0" y="17186"/>
                      <a:pt x="17186" y="0"/>
                      <a:pt x="38386" y="0"/>
                    </a:cubicBezTo>
                    <a:cubicBezTo>
                      <a:pt x="59586" y="0"/>
                      <a:pt x="76772" y="17186"/>
                      <a:pt x="76772"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1" name="Google Shape;1071;p147"/>
              <p:cNvSpPr/>
              <p:nvPr/>
            </p:nvSpPr>
            <p:spPr>
              <a:xfrm>
                <a:off x="5635751" y="3257645"/>
                <a:ext cx="76771" cy="76771"/>
              </a:xfrm>
              <a:custGeom>
                <a:avLst/>
                <a:gdLst/>
                <a:ahLst/>
                <a:cxnLst/>
                <a:rect l="l" t="t" r="r" b="b"/>
                <a:pathLst>
                  <a:path w="76771" h="76771" extrusionOk="0">
                    <a:moveTo>
                      <a:pt x="76772" y="38386"/>
                    </a:moveTo>
                    <a:cubicBezTo>
                      <a:pt x="76772" y="59586"/>
                      <a:pt x="59586" y="76772"/>
                      <a:pt x="38386" y="76772"/>
                    </a:cubicBezTo>
                    <a:cubicBezTo>
                      <a:pt x="17186" y="76772"/>
                      <a:pt x="0" y="59586"/>
                      <a:pt x="0" y="38386"/>
                    </a:cubicBezTo>
                    <a:cubicBezTo>
                      <a:pt x="0" y="17186"/>
                      <a:pt x="17186" y="0"/>
                      <a:pt x="38386" y="0"/>
                    </a:cubicBezTo>
                    <a:cubicBezTo>
                      <a:pt x="59586" y="0"/>
                      <a:pt x="76772" y="17186"/>
                      <a:pt x="76772"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2" name="Google Shape;1072;p147"/>
              <p:cNvSpPr/>
              <p:nvPr/>
            </p:nvSpPr>
            <p:spPr>
              <a:xfrm>
                <a:off x="5538787" y="3494055"/>
                <a:ext cx="1118901" cy="269176"/>
              </a:xfrm>
              <a:custGeom>
                <a:avLst/>
                <a:gdLst/>
                <a:ahLst/>
                <a:cxnLst/>
                <a:rect l="l" t="t" r="r" b="b"/>
                <a:pathLst>
                  <a:path w="1118901" h="269176" extrusionOk="0">
                    <a:moveTo>
                      <a:pt x="984313" y="0"/>
                    </a:moveTo>
                    <a:lnTo>
                      <a:pt x="134588" y="0"/>
                    </a:lnTo>
                    <a:cubicBezTo>
                      <a:pt x="60389" y="0"/>
                      <a:pt x="0" y="60388"/>
                      <a:pt x="0" y="134588"/>
                    </a:cubicBezTo>
                    <a:cubicBezTo>
                      <a:pt x="0" y="208788"/>
                      <a:pt x="60389" y="269176"/>
                      <a:pt x="134588" y="269176"/>
                    </a:cubicBezTo>
                    <a:lnTo>
                      <a:pt x="984313" y="269176"/>
                    </a:lnTo>
                    <a:cubicBezTo>
                      <a:pt x="1058513" y="269176"/>
                      <a:pt x="1118902" y="208788"/>
                      <a:pt x="1118902" y="134588"/>
                    </a:cubicBezTo>
                    <a:cubicBezTo>
                      <a:pt x="1118902" y="60388"/>
                      <a:pt x="1058513" y="0"/>
                      <a:pt x="984313" y="0"/>
                    </a:cubicBezTo>
                    <a:close/>
                    <a:moveTo>
                      <a:pt x="984313" y="230696"/>
                    </a:moveTo>
                    <a:lnTo>
                      <a:pt x="134588" y="230696"/>
                    </a:lnTo>
                    <a:cubicBezTo>
                      <a:pt x="81534" y="230696"/>
                      <a:pt x="38481" y="187547"/>
                      <a:pt x="38481" y="134493"/>
                    </a:cubicBezTo>
                    <a:cubicBezTo>
                      <a:pt x="38481" y="81439"/>
                      <a:pt x="81629" y="38386"/>
                      <a:pt x="134588" y="38386"/>
                    </a:cubicBezTo>
                    <a:lnTo>
                      <a:pt x="984313" y="38386"/>
                    </a:lnTo>
                    <a:cubicBezTo>
                      <a:pt x="1037368" y="38386"/>
                      <a:pt x="1080421" y="81534"/>
                      <a:pt x="1080421" y="134493"/>
                    </a:cubicBezTo>
                    <a:cubicBezTo>
                      <a:pt x="1080421" y="187452"/>
                      <a:pt x="1037273" y="230696"/>
                      <a:pt x="984313" y="23069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3" name="Google Shape;1073;p147"/>
              <p:cNvSpPr/>
              <p:nvPr/>
            </p:nvSpPr>
            <p:spPr>
              <a:xfrm>
                <a:off x="6423183" y="3555206"/>
                <a:ext cx="146875" cy="146875"/>
              </a:xfrm>
              <a:custGeom>
                <a:avLst/>
                <a:gdLst/>
                <a:ahLst/>
                <a:cxnLst/>
                <a:rect l="l" t="t" r="r" b="b"/>
                <a:pathLst>
                  <a:path w="146875" h="146875" extrusionOk="0">
                    <a:moveTo>
                      <a:pt x="73438" y="0"/>
                    </a:moveTo>
                    <a:cubicBezTo>
                      <a:pt x="32956" y="0"/>
                      <a:pt x="0" y="32956"/>
                      <a:pt x="0" y="73438"/>
                    </a:cubicBezTo>
                    <a:cubicBezTo>
                      <a:pt x="0" y="113919"/>
                      <a:pt x="32956" y="146875"/>
                      <a:pt x="73438" y="146875"/>
                    </a:cubicBezTo>
                    <a:cubicBezTo>
                      <a:pt x="113919" y="146875"/>
                      <a:pt x="146875" y="113919"/>
                      <a:pt x="146875" y="73438"/>
                    </a:cubicBezTo>
                    <a:cubicBezTo>
                      <a:pt x="146875" y="32956"/>
                      <a:pt x="113919" y="0"/>
                      <a:pt x="73438" y="0"/>
                    </a:cubicBezTo>
                    <a:close/>
                    <a:moveTo>
                      <a:pt x="73438" y="108394"/>
                    </a:moveTo>
                    <a:cubicBezTo>
                      <a:pt x="54197" y="108394"/>
                      <a:pt x="38481" y="92678"/>
                      <a:pt x="38481" y="73438"/>
                    </a:cubicBezTo>
                    <a:cubicBezTo>
                      <a:pt x="38481" y="54197"/>
                      <a:pt x="54197" y="38481"/>
                      <a:pt x="73438" y="38481"/>
                    </a:cubicBezTo>
                    <a:cubicBezTo>
                      <a:pt x="92678" y="38481"/>
                      <a:pt x="108395" y="54197"/>
                      <a:pt x="108395" y="73438"/>
                    </a:cubicBezTo>
                    <a:cubicBezTo>
                      <a:pt x="108395" y="92678"/>
                      <a:pt x="92678" y="108394"/>
                      <a:pt x="73438" y="10839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4" name="Google Shape;1074;p147"/>
              <p:cNvSpPr/>
              <p:nvPr/>
            </p:nvSpPr>
            <p:spPr>
              <a:xfrm>
                <a:off x="5910547"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2" y="59627"/>
                      <a:pt x="76772" y="38386"/>
                    </a:cubicBezTo>
                    <a:cubicBezTo>
                      <a:pt x="76772"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5" name="Google Shape;1075;p147"/>
              <p:cNvSpPr/>
              <p:nvPr/>
            </p:nvSpPr>
            <p:spPr>
              <a:xfrm>
                <a:off x="5773102"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1" y="59627"/>
                      <a:pt x="76771" y="38386"/>
                    </a:cubicBezTo>
                    <a:cubicBezTo>
                      <a:pt x="76771"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6" name="Google Shape;1076;p147"/>
              <p:cNvSpPr/>
              <p:nvPr/>
            </p:nvSpPr>
            <p:spPr>
              <a:xfrm>
                <a:off x="5635751"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1" y="59627"/>
                      <a:pt x="76771" y="38386"/>
                    </a:cubicBezTo>
                    <a:cubicBezTo>
                      <a:pt x="76771"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077" name="Google Shape;1077;p147"/>
            <p:cNvGrpSpPr/>
            <p:nvPr/>
          </p:nvGrpSpPr>
          <p:grpSpPr>
            <a:xfrm>
              <a:off x="-589709" y="3427626"/>
              <a:ext cx="429577" cy="375691"/>
              <a:chOff x="4743450" y="2247900"/>
              <a:chExt cx="2705100" cy="2365771"/>
            </a:xfrm>
          </p:grpSpPr>
          <p:sp>
            <p:nvSpPr>
              <p:cNvPr id="1078" name="Google Shape;1078;p147"/>
              <p:cNvSpPr/>
              <p:nvPr/>
            </p:nvSpPr>
            <p:spPr>
              <a:xfrm>
                <a:off x="4743450" y="2724340"/>
                <a:ext cx="1911953" cy="1610487"/>
              </a:xfrm>
              <a:custGeom>
                <a:avLst/>
                <a:gdLst/>
                <a:ahLst/>
                <a:cxnLst/>
                <a:rect l="l" t="t" r="r" b="b"/>
                <a:pathLst>
                  <a:path w="1911953" h="1610487" extrusionOk="0">
                    <a:moveTo>
                      <a:pt x="1911953" y="1610487"/>
                    </a:moveTo>
                    <a:lnTo>
                      <a:pt x="0" y="1610487"/>
                    </a:ln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9" name="Google Shape;1079;p147"/>
              <p:cNvSpPr/>
              <p:nvPr/>
            </p:nvSpPr>
            <p:spPr>
              <a:xfrm>
                <a:off x="6973347" y="2724340"/>
                <a:ext cx="475202" cy="1610487"/>
              </a:xfrm>
              <a:custGeom>
                <a:avLst/>
                <a:gdLst/>
                <a:ahLst/>
                <a:cxnLst/>
                <a:rect l="l" t="t" r="r" b="b"/>
                <a:pathLst>
                  <a:path w="475202" h="1610487" extrusionOk="0">
                    <a:moveTo>
                      <a:pt x="475202" y="0"/>
                    </a:moveTo>
                    <a:lnTo>
                      <a:pt x="475202" y="1610487"/>
                    </a:lnTo>
                    <a:lnTo>
                      <a:pt x="0" y="1610487"/>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0" name="Google Shape;1080;p147"/>
              <p:cNvSpPr/>
              <p:nvPr/>
            </p:nvSpPr>
            <p:spPr>
              <a:xfrm>
                <a:off x="4743450" y="2247900"/>
                <a:ext cx="2705100" cy="476440"/>
              </a:xfrm>
              <a:custGeom>
                <a:avLst/>
                <a:gdLst/>
                <a:ahLst/>
                <a:cxnLst/>
                <a:rect l="l" t="t" r="r" b="b"/>
                <a:pathLst>
                  <a:path w="2705100" h="476440" extrusionOk="0">
                    <a:moveTo>
                      <a:pt x="0" y="0"/>
                    </a:moveTo>
                    <a:lnTo>
                      <a:pt x="2705100" y="0"/>
                    </a:lnTo>
                    <a:lnTo>
                      <a:pt x="2705100" y="476441"/>
                    </a:lnTo>
                    <a:lnTo>
                      <a:pt x="0" y="476441"/>
                    </a:ln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1" name="Google Shape;1081;p147"/>
              <p:cNvSpPr/>
              <p:nvPr/>
            </p:nvSpPr>
            <p:spPr>
              <a:xfrm>
                <a:off x="6658737"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2" name="Google Shape;1082;p147"/>
              <p:cNvSpPr/>
              <p:nvPr/>
            </p:nvSpPr>
            <p:spPr>
              <a:xfrm>
                <a:off x="6886194"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3" name="Google Shape;1083;p147"/>
              <p:cNvSpPr/>
              <p:nvPr/>
            </p:nvSpPr>
            <p:spPr>
              <a:xfrm>
                <a:off x="7113651"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4" name="Google Shape;1084;p147"/>
              <p:cNvSpPr/>
              <p:nvPr/>
            </p:nvSpPr>
            <p:spPr>
              <a:xfrm>
                <a:off x="5475065" y="2996850"/>
                <a:ext cx="1112329" cy="1111186"/>
              </a:xfrm>
              <a:custGeom>
                <a:avLst/>
                <a:gdLst/>
                <a:ahLst/>
                <a:cxnLst/>
                <a:rect l="l" t="t" r="r" b="b"/>
                <a:pathLst>
                  <a:path w="1112329" h="1111186" extrusionOk="0">
                    <a:moveTo>
                      <a:pt x="949452" y="162782"/>
                    </a:moveTo>
                    <a:cubicBezTo>
                      <a:pt x="1166622" y="379762"/>
                      <a:pt x="1166622" y="731520"/>
                      <a:pt x="949452" y="948500"/>
                    </a:cubicBezTo>
                    <a:cubicBezTo>
                      <a:pt x="845153" y="1052703"/>
                      <a:pt x="703707" y="1111187"/>
                      <a:pt x="556165" y="1111187"/>
                    </a:cubicBezTo>
                    <a:cubicBezTo>
                      <a:pt x="408623" y="1111187"/>
                      <a:pt x="267176" y="1052608"/>
                      <a:pt x="162878" y="948500"/>
                    </a:cubicBezTo>
                    <a:cubicBezTo>
                      <a:pt x="58579" y="844296"/>
                      <a:pt x="0" y="702945"/>
                      <a:pt x="0" y="555593"/>
                    </a:cubicBezTo>
                    <a:cubicBezTo>
                      <a:pt x="0" y="408242"/>
                      <a:pt x="58579" y="266891"/>
                      <a:pt x="162878" y="162687"/>
                    </a:cubicBezTo>
                    <a:cubicBezTo>
                      <a:pt x="267176" y="58483"/>
                      <a:pt x="408623" y="0"/>
                      <a:pt x="556165" y="0"/>
                    </a:cubicBezTo>
                    <a:cubicBezTo>
                      <a:pt x="703707" y="0"/>
                      <a:pt x="845153" y="58579"/>
                      <a:pt x="949452" y="162687"/>
                    </a:cubicBez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5" name="Google Shape;1085;p147"/>
              <p:cNvSpPr/>
              <p:nvPr/>
            </p:nvSpPr>
            <p:spPr>
              <a:xfrm>
                <a:off x="6575107" y="4095845"/>
                <a:ext cx="518302" cy="517826"/>
              </a:xfrm>
              <a:custGeom>
                <a:avLst/>
                <a:gdLst/>
                <a:ahLst/>
                <a:cxnLst/>
                <a:rect l="l" t="t" r="r" b="b"/>
                <a:pathLst>
                  <a:path w="518302" h="517826" extrusionOk="0">
                    <a:moveTo>
                      <a:pt x="0" y="158782"/>
                    </a:moveTo>
                    <a:lnTo>
                      <a:pt x="326326" y="484823"/>
                    </a:lnTo>
                    <a:cubicBezTo>
                      <a:pt x="370332" y="528828"/>
                      <a:pt x="441293" y="528828"/>
                      <a:pt x="485299" y="484823"/>
                    </a:cubicBezTo>
                    <a:cubicBezTo>
                      <a:pt x="529304" y="440817"/>
                      <a:pt x="529304" y="370046"/>
                      <a:pt x="485299" y="326041"/>
                    </a:cubicBezTo>
                    <a:lnTo>
                      <a:pt x="158972" y="0"/>
                    </a:lnTo>
                    <a:cubicBezTo>
                      <a:pt x="158972" y="0"/>
                      <a:pt x="0" y="158782"/>
                      <a:pt x="0" y="158782"/>
                    </a:cubicBez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6" name="Google Shape;1086;p147"/>
              <p:cNvSpPr/>
              <p:nvPr/>
            </p:nvSpPr>
            <p:spPr>
              <a:xfrm>
                <a:off x="6424517" y="3945350"/>
                <a:ext cx="230123" cy="229933"/>
              </a:xfrm>
              <a:custGeom>
                <a:avLst/>
                <a:gdLst/>
                <a:ahLst/>
                <a:cxnLst/>
                <a:rect l="l" t="t" r="r" b="b"/>
                <a:pathLst>
                  <a:path w="230123" h="229933" extrusionOk="0">
                    <a:moveTo>
                      <a:pt x="230124" y="229934"/>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7" name="Google Shape;1087;p147"/>
              <p:cNvSpPr/>
              <p:nvPr/>
            </p:nvSpPr>
            <p:spPr>
              <a:xfrm>
                <a:off x="5775864" y="3577494"/>
                <a:ext cx="9525" cy="174497"/>
              </a:xfrm>
              <a:custGeom>
                <a:avLst/>
                <a:gdLst/>
                <a:ahLst/>
                <a:cxnLst/>
                <a:rect l="l" t="t" r="r" b="b"/>
                <a:pathLst>
                  <a:path w="9525" h="174497" extrusionOk="0">
                    <a:moveTo>
                      <a:pt x="0" y="174498"/>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8" name="Google Shape;1088;p147"/>
              <p:cNvSpPr/>
              <p:nvPr/>
            </p:nvSpPr>
            <p:spPr>
              <a:xfrm>
                <a:off x="5946076"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9" name="Google Shape;1089;p147"/>
              <p:cNvSpPr/>
              <p:nvPr/>
            </p:nvSpPr>
            <p:spPr>
              <a:xfrm>
                <a:off x="6116288"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0" name="Google Shape;1090;p147"/>
              <p:cNvSpPr/>
              <p:nvPr/>
            </p:nvSpPr>
            <p:spPr>
              <a:xfrm>
                <a:off x="6286595" y="3352990"/>
                <a:ext cx="9525" cy="399002"/>
              </a:xfrm>
              <a:custGeom>
                <a:avLst/>
                <a:gdLst/>
                <a:ahLst/>
                <a:cxnLst/>
                <a:rect l="l" t="t" r="r" b="b"/>
                <a:pathLst>
                  <a:path w="9525" h="399002" extrusionOk="0">
                    <a:moveTo>
                      <a:pt x="0" y="399002"/>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1" name="Google Shape;1091;p147"/>
              <p:cNvSpPr/>
              <p:nvPr/>
            </p:nvSpPr>
            <p:spPr>
              <a:xfrm>
                <a:off x="6842664" y="3577494"/>
                <a:ext cx="9525" cy="174497"/>
              </a:xfrm>
              <a:custGeom>
                <a:avLst/>
                <a:gdLst/>
                <a:ahLst/>
                <a:cxnLst/>
                <a:rect l="l" t="t" r="r" b="b"/>
                <a:pathLst>
                  <a:path w="9525" h="174497" extrusionOk="0">
                    <a:moveTo>
                      <a:pt x="0" y="174498"/>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2" name="Google Shape;1092;p147"/>
              <p:cNvSpPr/>
              <p:nvPr/>
            </p:nvSpPr>
            <p:spPr>
              <a:xfrm>
                <a:off x="7012876"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3" name="Google Shape;1093;p147"/>
              <p:cNvSpPr/>
              <p:nvPr/>
            </p:nvSpPr>
            <p:spPr>
              <a:xfrm>
                <a:off x="7183088"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4" name="Google Shape;1094;p147"/>
              <p:cNvSpPr/>
              <p:nvPr/>
            </p:nvSpPr>
            <p:spPr>
              <a:xfrm>
                <a:off x="5201888"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5" name="Google Shape;1095;p147"/>
              <p:cNvSpPr/>
              <p:nvPr/>
            </p:nvSpPr>
            <p:spPr>
              <a:xfrm>
                <a:off x="5031676"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grpSp>
        <p:nvGrpSpPr>
          <p:cNvPr id="1096" name="Google Shape;1096;p147"/>
          <p:cNvGrpSpPr/>
          <p:nvPr/>
        </p:nvGrpSpPr>
        <p:grpSpPr>
          <a:xfrm>
            <a:off x="3173018" y="4019989"/>
            <a:ext cx="835102" cy="846452"/>
            <a:chOff x="-1008987" y="4178554"/>
            <a:chExt cx="848855" cy="860390"/>
          </a:xfrm>
        </p:grpSpPr>
        <p:grpSp>
          <p:nvGrpSpPr>
            <p:cNvPr id="1097" name="Google Shape;1097;p147"/>
            <p:cNvGrpSpPr/>
            <p:nvPr/>
          </p:nvGrpSpPr>
          <p:grpSpPr>
            <a:xfrm>
              <a:off x="-1008987" y="4178554"/>
              <a:ext cx="333755" cy="357621"/>
              <a:chOff x="5538787" y="2828925"/>
              <a:chExt cx="1118901" cy="1198911"/>
            </a:xfrm>
          </p:grpSpPr>
          <p:sp>
            <p:nvSpPr>
              <p:cNvPr id="1098" name="Google Shape;1098;p147"/>
              <p:cNvSpPr/>
              <p:nvPr/>
            </p:nvSpPr>
            <p:spPr>
              <a:xfrm>
                <a:off x="5555931" y="3801522"/>
                <a:ext cx="1084611" cy="226314"/>
              </a:xfrm>
              <a:custGeom>
                <a:avLst/>
                <a:gdLst/>
                <a:ahLst/>
                <a:cxnLst/>
                <a:rect l="l" t="t" r="r" b="b"/>
                <a:pathLst>
                  <a:path w="1084611" h="226314" extrusionOk="0">
                    <a:moveTo>
                      <a:pt x="1065371" y="132207"/>
                    </a:moveTo>
                    <a:lnTo>
                      <a:pt x="614363" y="132207"/>
                    </a:lnTo>
                    <a:cubicBezTo>
                      <a:pt x="607505" y="106394"/>
                      <a:pt x="587312" y="86201"/>
                      <a:pt x="561499" y="79343"/>
                    </a:cubicBezTo>
                    <a:lnTo>
                      <a:pt x="561499" y="19240"/>
                    </a:lnTo>
                    <a:cubicBezTo>
                      <a:pt x="561499" y="8668"/>
                      <a:pt x="552926" y="0"/>
                      <a:pt x="542258" y="0"/>
                    </a:cubicBezTo>
                    <a:cubicBezTo>
                      <a:pt x="531590" y="0"/>
                      <a:pt x="523018" y="8573"/>
                      <a:pt x="523018" y="19240"/>
                    </a:cubicBezTo>
                    <a:lnTo>
                      <a:pt x="523018" y="79343"/>
                    </a:lnTo>
                    <a:cubicBezTo>
                      <a:pt x="497300" y="86201"/>
                      <a:pt x="477107" y="106394"/>
                      <a:pt x="470154" y="132207"/>
                    </a:cubicBezTo>
                    <a:lnTo>
                      <a:pt x="19241" y="132207"/>
                    </a:lnTo>
                    <a:cubicBezTo>
                      <a:pt x="8668" y="132207"/>
                      <a:pt x="0" y="140779"/>
                      <a:pt x="0" y="151448"/>
                    </a:cubicBezTo>
                    <a:cubicBezTo>
                      <a:pt x="0" y="162115"/>
                      <a:pt x="8573" y="170688"/>
                      <a:pt x="19241" y="170688"/>
                    </a:cubicBezTo>
                    <a:lnTo>
                      <a:pt x="470249" y="170688"/>
                    </a:lnTo>
                    <a:cubicBezTo>
                      <a:pt x="478822" y="202597"/>
                      <a:pt x="507683" y="226314"/>
                      <a:pt x="542258" y="226314"/>
                    </a:cubicBezTo>
                    <a:cubicBezTo>
                      <a:pt x="576834" y="226314"/>
                      <a:pt x="605790" y="202597"/>
                      <a:pt x="614363" y="170688"/>
                    </a:cubicBezTo>
                    <a:lnTo>
                      <a:pt x="1065371" y="170688"/>
                    </a:lnTo>
                    <a:cubicBezTo>
                      <a:pt x="1075944" y="170688"/>
                      <a:pt x="1084612" y="162115"/>
                      <a:pt x="1084612" y="151448"/>
                    </a:cubicBezTo>
                    <a:cubicBezTo>
                      <a:pt x="1084612" y="140779"/>
                      <a:pt x="1076039" y="132207"/>
                      <a:pt x="1065371" y="132207"/>
                    </a:cubicBezTo>
                    <a:close/>
                    <a:moveTo>
                      <a:pt x="542258" y="187833"/>
                    </a:moveTo>
                    <a:cubicBezTo>
                      <a:pt x="522161" y="187833"/>
                      <a:pt x="505873" y="171450"/>
                      <a:pt x="505873" y="151352"/>
                    </a:cubicBezTo>
                    <a:cubicBezTo>
                      <a:pt x="505873" y="131254"/>
                      <a:pt x="522256" y="114871"/>
                      <a:pt x="542258" y="114871"/>
                    </a:cubicBezTo>
                    <a:cubicBezTo>
                      <a:pt x="562261" y="114871"/>
                      <a:pt x="578739" y="131254"/>
                      <a:pt x="578739" y="151352"/>
                    </a:cubicBezTo>
                    <a:cubicBezTo>
                      <a:pt x="578739" y="171450"/>
                      <a:pt x="562356" y="187833"/>
                      <a:pt x="542258" y="18783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9" name="Google Shape;1099;p147"/>
              <p:cNvSpPr/>
              <p:nvPr/>
            </p:nvSpPr>
            <p:spPr>
              <a:xfrm>
                <a:off x="5538787" y="2828925"/>
                <a:ext cx="1118901" cy="269176"/>
              </a:xfrm>
              <a:custGeom>
                <a:avLst/>
                <a:gdLst/>
                <a:ahLst/>
                <a:cxnLst/>
                <a:rect l="l" t="t" r="r" b="b"/>
                <a:pathLst>
                  <a:path w="1118901" h="269176" extrusionOk="0">
                    <a:moveTo>
                      <a:pt x="134588" y="269177"/>
                    </a:moveTo>
                    <a:lnTo>
                      <a:pt x="984313" y="269177"/>
                    </a:lnTo>
                    <a:cubicBezTo>
                      <a:pt x="1058513" y="269177"/>
                      <a:pt x="1118902" y="208788"/>
                      <a:pt x="1118902" y="134588"/>
                    </a:cubicBezTo>
                    <a:cubicBezTo>
                      <a:pt x="1118902" y="60389"/>
                      <a:pt x="1058513" y="0"/>
                      <a:pt x="984313" y="0"/>
                    </a:cubicBezTo>
                    <a:lnTo>
                      <a:pt x="134588" y="0"/>
                    </a:lnTo>
                    <a:cubicBezTo>
                      <a:pt x="60389" y="0"/>
                      <a:pt x="0" y="60389"/>
                      <a:pt x="0" y="134588"/>
                    </a:cubicBezTo>
                    <a:cubicBezTo>
                      <a:pt x="0" y="208788"/>
                      <a:pt x="60389" y="269177"/>
                      <a:pt x="134588" y="269177"/>
                    </a:cubicBezTo>
                    <a:close/>
                    <a:moveTo>
                      <a:pt x="134588" y="38386"/>
                    </a:moveTo>
                    <a:lnTo>
                      <a:pt x="984313" y="38386"/>
                    </a:lnTo>
                    <a:cubicBezTo>
                      <a:pt x="1037368" y="38386"/>
                      <a:pt x="1080421" y="81534"/>
                      <a:pt x="1080421" y="134588"/>
                    </a:cubicBezTo>
                    <a:cubicBezTo>
                      <a:pt x="1080421" y="187643"/>
                      <a:pt x="1037273" y="230791"/>
                      <a:pt x="984313" y="230791"/>
                    </a:cubicBezTo>
                    <a:lnTo>
                      <a:pt x="134588" y="230791"/>
                    </a:lnTo>
                    <a:cubicBezTo>
                      <a:pt x="81534" y="230791"/>
                      <a:pt x="38481" y="187643"/>
                      <a:pt x="38481" y="134588"/>
                    </a:cubicBezTo>
                    <a:cubicBezTo>
                      <a:pt x="38481" y="81534"/>
                      <a:pt x="81534" y="38386"/>
                      <a:pt x="134588"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0" name="Google Shape;1100;p147"/>
              <p:cNvSpPr/>
              <p:nvPr/>
            </p:nvSpPr>
            <p:spPr>
              <a:xfrm>
                <a:off x="6423183" y="2890075"/>
                <a:ext cx="146875" cy="146875"/>
              </a:xfrm>
              <a:custGeom>
                <a:avLst/>
                <a:gdLst/>
                <a:ahLst/>
                <a:cxnLst/>
                <a:rect l="l" t="t" r="r" b="b"/>
                <a:pathLst>
                  <a:path w="146875" h="146875" extrusionOk="0">
                    <a:moveTo>
                      <a:pt x="73438" y="146876"/>
                    </a:moveTo>
                    <a:cubicBezTo>
                      <a:pt x="113919" y="146876"/>
                      <a:pt x="146875" y="113919"/>
                      <a:pt x="146875" y="73438"/>
                    </a:cubicBezTo>
                    <a:cubicBezTo>
                      <a:pt x="146875" y="32957"/>
                      <a:pt x="113919" y="0"/>
                      <a:pt x="73438" y="0"/>
                    </a:cubicBezTo>
                    <a:cubicBezTo>
                      <a:pt x="32956" y="0"/>
                      <a:pt x="0" y="32957"/>
                      <a:pt x="0" y="73438"/>
                    </a:cubicBezTo>
                    <a:cubicBezTo>
                      <a:pt x="0" y="113919"/>
                      <a:pt x="32956" y="146876"/>
                      <a:pt x="73438" y="146876"/>
                    </a:cubicBezTo>
                    <a:close/>
                    <a:moveTo>
                      <a:pt x="73438" y="38481"/>
                    </a:moveTo>
                    <a:cubicBezTo>
                      <a:pt x="92678" y="38481"/>
                      <a:pt x="108395" y="54197"/>
                      <a:pt x="108395" y="73438"/>
                    </a:cubicBezTo>
                    <a:cubicBezTo>
                      <a:pt x="108395" y="92678"/>
                      <a:pt x="92678" y="108394"/>
                      <a:pt x="73438" y="108394"/>
                    </a:cubicBezTo>
                    <a:cubicBezTo>
                      <a:pt x="54197" y="108394"/>
                      <a:pt x="38481" y="92678"/>
                      <a:pt x="38481" y="73438"/>
                    </a:cubicBezTo>
                    <a:cubicBezTo>
                      <a:pt x="38481" y="54197"/>
                      <a:pt x="54197" y="38481"/>
                      <a:pt x="73438" y="3848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1" name="Google Shape;1101;p147"/>
              <p:cNvSpPr/>
              <p:nvPr/>
            </p:nvSpPr>
            <p:spPr>
              <a:xfrm>
                <a:off x="5910547" y="2925127"/>
                <a:ext cx="76771" cy="76771"/>
              </a:xfrm>
              <a:custGeom>
                <a:avLst/>
                <a:gdLst/>
                <a:ahLst/>
                <a:cxnLst/>
                <a:rect l="l" t="t" r="r" b="b"/>
                <a:pathLst>
                  <a:path w="76771" h="76771" extrusionOk="0">
                    <a:moveTo>
                      <a:pt x="38386" y="76771"/>
                    </a:moveTo>
                    <a:cubicBezTo>
                      <a:pt x="59531" y="76771"/>
                      <a:pt x="76772" y="59627"/>
                      <a:pt x="76772" y="38386"/>
                    </a:cubicBezTo>
                    <a:cubicBezTo>
                      <a:pt x="76772"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2" name="Google Shape;1102;p147"/>
              <p:cNvSpPr/>
              <p:nvPr/>
            </p:nvSpPr>
            <p:spPr>
              <a:xfrm>
                <a:off x="5773102" y="2925127"/>
                <a:ext cx="76771" cy="76771"/>
              </a:xfrm>
              <a:custGeom>
                <a:avLst/>
                <a:gdLst/>
                <a:ahLst/>
                <a:cxnLst/>
                <a:rect l="l" t="t" r="r" b="b"/>
                <a:pathLst>
                  <a:path w="76771" h="76771" extrusionOk="0">
                    <a:moveTo>
                      <a:pt x="38386" y="76771"/>
                    </a:moveTo>
                    <a:cubicBezTo>
                      <a:pt x="59531" y="76771"/>
                      <a:pt x="76771" y="59627"/>
                      <a:pt x="76771" y="38386"/>
                    </a:cubicBezTo>
                    <a:cubicBezTo>
                      <a:pt x="76771"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3" name="Google Shape;1103;p147"/>
              <p:cNvSpPr/>
              <p:nvPr/>
            </p:nvSpPr>
            <p:spPr>
              <a:xfrm>
                <a:off x="5635751" y="2925127"/>
                <a:ext cx="76771" cy="76771"/>
              </a:xfrm>
              <a:custGeom>
                <a:avLst/>
                <a:gdLst/>
                <a:ahLst/>
                <a:cxnLst/>
                <a:rect l="l" t="t" r="r" b="b"/>
                <a:pathLst>
                  <a:path w="76771" h="76771" extrusionOk="0">
                    <a:moveTo>
                      <a:pt x="38386" y="76771"/>
                    </a:moveTo>
                    <a:cubicBezTo>
                      <a:pt x="59531" y="76771"/>
                      <a:pt x="76771" y="59627"/>
                      <a:pt x="76771" y="38386"/>
                    </a:cubicBezTo>
                    <a:cubicBezTo>
                      <a:pt x="76771"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4" name="Google Shape;1104;p147"/>
              <p:cNvSpPr/>
              <p:nvPr/>
            </p:nvSpPr>
            <p:spPr>
              <a:xfrm>
                <a:off x="5538787" y="3161442"/>
                <a:ext cx="1118901" cy="269176"/>
              </a:xfrm>
              <a:custGeom>
                <a:avLst/>
                <a:gdLst/>
                <a:ahLst/>
                <a:cxnLst/>
                <a:rect l="l" t="t" r="r" b="b"/>
                <a:pathLst>
                  <a:path w="1118901" h="269176" extrusionOk="0">
                    <a:moveTo>
                      <a:pt x="984313" y="0"/>
                    </a:moveTo>
                    <a:lnTo>
                      <a:pt x="134588" y="0"/>
                    </a:lnTo>
                    <a:cubicBezTo>
                      <a:pt x="60389" y="0"/>
                      <a:pt x="0" y="60389"/>
                      <a:pt x="0" y="134588"/>
                    </a:cubicBezTo>
                    <a:cubicBezTo>
                      <a:pt x="0" y="208788"/>
                      <a:pt x="60389" y="269176"/>
                      <a:pt x="134588" y="269176"/>
                    </a:cubicBezTo>
                    <a:lnTo>
                      <a:pt x="984313" y="269176"/>
                    </a:lnTo>
                    <a:cubicBezTo>
                      <a:pt x="1058513" y="269176"/>
                      <a:pt x="1118902" y="208788"/>
                      <a:pt x="1118902" y="134588"/>
                    </a:cubicBezTo>
                    <a:cubicBezTo>
                      <a:pt x="1118902" y="60389"/>
                      <a:pt x="1058513" y="0"/>
                      <a:pt x="984313" y="0"/>
                    </a:cubicBezTo>
                    <a:close/>
                    <a:moveTo>
                      <a:pt x="984313" y="230791"/>
                    </a:moveTo>
                    <a:lnTo>
                      <a:pt x="134588" y="230791"/>
                    </a:lnTo>
                    <a:cubicBezTo>
                      <a:pt x="81534" y="230791"/>
                      <a:pt x="38481" y="187643"/>
                      <a:pt x="38481" y="134588"/>
                    </a:cubicBezTo>
                    <a:cubicBezTo>
                      <a:pt x="38481" y="81534"/>
                      <a:pt x="81629" y="38386"/>
                      <a:pt x="134588" y="38386"/>
                    </a:cubicBezTo>
                    <a:lnTo>
                      <a:pt x="984313" y="38386"/>
                    </a:lnTo>
                    <a:cubicBezTo>
                      <a:pt x="1037368" y="38386"/>
                      <a:pt x="1080421" y="81534"/>
                      <a:pt x="1080421" y="134588"/>
                    </a:cubicBezTo>
                    <a:cubicBezTo>
                      <a:pt x="1080421" y="187643"/>
                      <a:pt x="1037273" y="230791"/>
                      <a:pt x="984313" y="23079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5" name="Google Shape;1105;p147"/>
              <p:cNvSpPr/>
              <p:nvPr/>
            </p:nvSpPr>
            <p:spPr>
              <a:xfrm>
                <a:off x="6423183" y="3222688"/>
                <a:ext cx="146875" cy="146875"/>
              </a:xfrm>
              <a:custGeom>
                <a:avLst/>
                <a:gdLst/>
                <a:ahLst/>
                <a:cxnLst/>
                <a:rect l="l" t="t" r="r" b="b"/>
                <a:pathLst>
                  <a:path w="146875" h="146875" extrusionOk="0">
                    <a:moveTo>
                      <a:pt x="73438" y="0"/>
                    </a:moveTo>
                    <a:cubicBezTo>
                      <a:pt x="32956" y="0"/>
                      <a:pt x="0" y="32956"/>
                      <a:pt x="0" y="73438"/>
                    </a:cubicBezTo>
                    <a:cubicBezTo>
                      <a:pt x="0" y="113919"/>
                      <a:pt x="32956" y="146875"/>
                      <a:pt x="73438" y="146875"/>
                    </a:cubicBezTo>
                    <a:cubicBezTo>
                      <a:pt x="113919" y="146875"/>
                      <a:pt x="146875" y="113919"/>
                      <a:pt x="146875" y="73438"/>
                    </a:cubicBezTo>
                    <a:cubicBezTo>
                      <a:pt x="146875" y="32956"/>
                      <a:pt x="113919" y="0"/>
                      <a:pt x="73438" y="0"/>
                    </a:cubicBezTo>
                    <a:close/>
                    <a:moveTo>
                      <a:pt x="73438" y="108395"/>
                    </a:moveTo>
                    <a:cubicBezTo>
                      <a:pt x="54197" y="108395"/>
                      <a:pt x="38481" y="92678"/>
                      <a:pt x="38481" y="73438"/>
                    </a:cubicBezTo>
                    <a:cubicBezTo>
                      <a:pt x="38481" y="54197"/>
                      <a:pt x="54197" y="38481"/>
                      <a:pt x="73438" y="38481"/>
                    </a:cubicBezTo>
                    <a:cubicBezTo>
                      <a:pt x="92678" y="38481"/>
                      <a:pt x="108395" y="54197"/>
                      <a:pt x="108395" y="73438"/>
                    </a:cubicBezTo>
                    <a:cubicBezTo>
                      <a:pt x="108395" y="92678"/>
                      <a:pt x="92678" y="108395"/>
                      <a:pt x="73438" y="10839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6" name="Google Shape;1106;p147"/>
              <p:cNvSpPr/>
              <p:nvPr/>
            </p:nvSpPr>
            <p:spPr>
              <a:xfrm>
                <a:off x="5910547" y="3257740"/>
                <a:ext cx="76771" cy="76771"/>
              </a:xfrm>
              <a:custGeom>
                <a:avLst/>
                <a:gdLst/>
                <a:ahLst/>
                <a:cxnLst/>
                <a:rect l="l" t="t" r="r" b="b"/>
                <a:pathLst>
                  <a:path w="76771" h="76771" extrusionOk="0">
                    <a:moveTo>
                      <a:pt x="38386" y="0"/>
                    </a:moveTo>
                    <a:cubicBezTo>
                      <a:pt x="17240" y="0"/>
                      <a:pt x="0" y="17145"/>
                      <a:pt x="0" y="38386"/>
                    </a:cubicBezTo>
                    <a:cubicBezTo>
                      <a:pt x="0" y="59626"/>
                      <a:pt x="17145" y="76772"/>
                      <a:pt x="38386" y="76772"/>
                    </a:cubicBezTo>
                    <a:cubicBezTo>
                      <a:pt x="59627" y="76772"/>
                      <a:pt x="76772" y="59626"/>
                      <a:pt x="76772" y="38386"/>
                    </a:cubicBezTo>
                    <a:cubicBezTo>
                      <a:pt x="76772"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7" name="Google Shape;1107;p147"/>
              <p:cNvSpPr/>
              <p:nvPr/>
            </p:nvSpPr>
            <p:spPr>
              <a:xfrm>
                <a:off x="5773102" y="3257645"/>
                <a:ext cx="76771" cy="76771"/>
              </a:xfrm>
              <a:custGeom>
                <a:avLst/>
                <a:gdLst/>
                <a:ahLst/>
                <a:cxnLst/>
                <a:rect l="l" t="t" r="r" b="b"/>
                <a:pathLst>
                  <a:path w="76771" h="76771" extrusionOk="0">
                    <a:moveTo>
                      <a:pt x="76772" y="38386"/>
                    </a:moveTo>
                    <a:cubicBezTo>
                      <a:pt x="76772" y="59586"/>
                      <a:pt x="59586" y="76772"/>
                      <a:pt x="38386" y="76772"/>
                    </a:cubicBezTo>
                    <a:cubicBezTo>
                      <a:pt x="17186" y="76772"/>
                      <a:pt x="0" y="59586"/>
                      <a:pt x="0" y="38386"/>
                    </a:cubicBezTo>
                    <a:cubicBezTo>
                      <a:pt x="0" y="17186"/>
                      <a:pt x="17186" y="0"/>
                      <a:pt x="38386" y="0"/>
                    </a:cubicBezTo>
                    <a:cubicBezTo>
                      <a:pt x="59586" y="0"/>
                      <a:pt x="76772" y="17186"/>
                      <a:pt x="76772"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8" name="Google Shape;1108;p147"/>
              <p:cNvSpPr/>
              <p:nvPr/>
            </p:nvSpPr>
            <p:spPr>
              <a:xfrm>
                <a:off x="5635751" y="3257645"/>
                <a:ext cx="76771" cy="76771"/>
              </a:xfrm>
              <a:custGeom>
                <a:avLst/>
                <a:gdLst/>
                <a:ahLst/>
                <a:cxnLst/>
                <a:rect l="l" t="t" r="r" b="b"/>
                <a:pathLst>
                  <a:path w="76771" h="76771" extrusionOk="0">
                    <a:moveTo>
                      <a:pt x="76772" y="38386"/>
                    </a:moveTo>
                    <a:cubicBezTo>
                      <a:pt x="76772" y="59586"/>
                      <a:pt x="59586" y="76772"/>
                      <a:pt x="38386" y="76772"/>
                    </a:cubicBezTo>
                    <a:cubicBezTo>
                      <a:pt x="17186" y="76772"/>
                      <a:pt x="0" y="59586"/>
                      <a:pt x="0" y="38386"/>
                    </a:cubicBezTo>
                    <a:cubicBezTo>
                      <a:pt x="0" y="17186"/>
                      <a:pt x="17186" y="0"/>
                      <a:pt x="38386" y="0"/>
                    </a:cubicBezTo>
                    <a:cubicBezTo>
                      <a:pt x="59586" y="0"/>
                      <a:pt x="76772" y="17186"/>
                      <a:pt x="76772"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9" name="Google Shape;1109;p147"/>
              <p:cNvSpPr/>
              <p:nvPr/>
            </p:nvSpPr>
            <p:spPr>
              <a:xfrm>
                <a:off x="5538787" y="3494055"/>
                <a:ext cx="1118901" cy="269176"/>
              </a:xfrm>
              <a:custGeom>
                <a:avLst/>
                <a:gdLst/>
                <a:ahLst/>
                <a:cxnLst/>
                <a:rect l="l" t="t" r="r" b="b"/>
                <a:pathLst>
                  <a:path w="1118901" h="269176" extrusionOk="0">
                    <a:moveTo>
                      <a:pt x="984313" y="0"/>
                    </a:moveTo>
                    <a:lnTo>
                      <a:pt x="134588" y="0"/>
                    </a:lnTo>
                    <a:cubicBezTo>
                      <a:pt x="60389" y="0"/>
                      <a:pt x="0" y="60388"/>
                      <a:pt x="0" y="134588"/>
                    </a:cubicBezTo>
                    <a:cubicBezTo>
                      <a:pt x="0" y="208788"/>
                      <a:pt x="60389" y="269176"/>
                      <a:pt x="134588" y="269176"/>
                    </a:cubicBezTo>
                    <a:lnTo>
                      <a:pt x="984313" y="269176"/>
                    </a:lnTo>
                    <a:cubicBezTo>
                      <a:pt x="1058513" y="269176"/>
                      <a:pt x="1118902" y="208788"/>
                      <a:pt x="1118902" y="134588"/>
                    </a:cubicBezTo>
                    <a:cubicBezTo>
                      <a:pt x="1118902" y="60388"/>
                      <a:pt x="1058513" y="0"/>
                      <a:pt x="984313" y="0"/>
                    </a:cubicBezTo>
                    <a:close/>
                    <a:moveTo>
                      <a:pt x="984313" y="230696"/>
                    </a:moveTo>
                    <a:lnTo>
                      <a:pt x="134588" y="230696"/>
                    </a:lnTo>
                    <a:cubicBezTo>
                      <a:pt x="81534" y="230696"/>
                      <a:pt x="38481" y="187547"/>
                      <a:pt x="38481" y="134493"/>
                    </a:cubicBezTo>
                    <a:cubicBezTo>
                      <a:pt x="38481" y="81439"/>
                      <a:pt x="81629" y="38386"/>
                      <a:pt x="134588" y="38386"/>
                    </a:cubicBezTo>
                    <a:lnTo>
                      <a:pt x="984313" y="38386"/>
                    </a:lnTo>
                    <a:cubicBezTo>
                      <a:pt x="1037368" y="38386"/>
                      <a:pt x="1080421" y="81534"/>
                      <a:pt x="1080421" y="134493"/>
                    </a:cubicBezTo>
                    <a:cubicBezTo>
                      <a:pt x="1080421" y="187452"/>
                      <a:pt x="1037273" y="230696"/>
                      <a:pt x="984313" y="23069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0" name="Google Shape;1110;p147"/>
              <p:cNvSpPr/>
              <p:nvPr/>
            </p:nvSpPr>
            <p:spPr>
              <a:xfrm>
                <a:off x="6423183" y="3555206"/>
                <a:ext cx="146875" cy="146875"/>
              </a:xfrm>
              <a:custGeom>
                <a:avLst/>
                <a:gdLst/>
                <a:ahLst/>
                <a:cxnLst/>
                <a:rect l="l" t="t" r="r" b="b"/>
                <a:pathLst>
                  <a:path w="146875" h="146875" extrusionOk="0">
                    <a:moveTo>
                      <a:pt x="73438" y="0"/>
                    </a:moveTo>
                    <a:cubicBezTo>
                      <a:pt x="32956" y="0"/>
                      <a:pt x="0" y="32956"/>
                      <a:pt x="0" y="73438"/>
                    </a:cubicBezTo>
                    <a:cubicBezTo>
                      <a:pt x="0" y="113919"/>
                      <a:pt x="32956" y="146875"/>
                      <a:pt x="73438" y="146875"/>
                    </a:cubicBezTo>
                    <a:cubicBezTo>
                      <a:pt x="113919" y="146875"/>
                      <a:pt x="146875" y="113919"/>
                      <a:pt x="146875" y="73438"/>
                    </a:cubicBezTo>
                    <a:cubicBezTo>
                      <a:pt x="146875" y="32956"/>
                      <a:pt x="113919" y="0"/>
                      <a:pt x="73438" y="0"/>
                    </a:cubicBezTo>
                    <a:close/>
                    <a:moveTo>
                      <a:pt x="73438" y="108394"/>
                    </a:moveTo>
                    <a:cubicBezTo>
                      <a:pt x="54197" y="108394"/>
                      <a:pt x="38481" y="92678"/>
                      <a:pt x="38481" y="73438"/>
                    </a:cubicBezTo>
                    <a:cubicBezTo>
                      <a:pt x="38481" y="54197"/>
                      <a:pt x="54197" y="38481"/>
                      <a:pt x="73438" y="38481"/>
                    </a:cubicBezTo>
                    <a:cubicBezTo>
                      <a:pt x="92678" y="38481"/>
                      <a:pt x="108395" y="54197"/>
                      <a:pt x="108395" y="73438"/>
                    </a:cubicBezTo>
                    <a:cubicBezTo>
                      <a:pt x="108395" y="92678"/>
                      <a:pt x="92678" y="108394"/>
                      <a:pt x="73438" y="10839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1" name="Google Shape;1111;p147"/>
              <p:cNvSpPr/>
              <p:nvPr/>
            </p:nvSpPr>
            <p:spPr>
              <a:xfrm>
                <a:off x="5910547"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2" y="59627"/>
                      <a:pt x="76772" y="38386"/>
                    </a:cubicBezTo>
                    <a:cubicBezTo>
                      <a:pt x="76772"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2" name="Google Shape;1112;p147"/>
              <p:cNvSpPr/>
              <p:nvPr/>
            </p:nvSpPr>
            <p:spPr>
              <a:xfrm>
                <a:off x="5773102"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1" y="59627"/>
                      <a:pt x="76771" y="38386"/>
                    </a:cubicBezTo>
                    <a:cubicBezTo>
                      <a:pt x="76771"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3" name="Google Shape;1113;p147"/>
              <p:cNvSpPr/>
              <p:nvPr/>
            </p:nvSpPr>
            <p:spPr>
              <a:xfrm>
                <a:off x="5635751"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1" y="59627"/>
                      <a:pt x="76771" y="38386"/>
                    </a:cubicBezTo>
                    <a:cubicBezTo>
                      <a:pt x="76771"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114" name="Google Shape;1114;p147"/>
            <p:cNvGrpSpPr/>
            <p:nvPr/>
          </p:nvGrpSpPr>
          <p:grpSpPr>
            <a:xfrm>
              <a:off x="-589709" y="4182100"/>
              <a:ext cx="429577" cy="375691"/>
              <a:chOff x="4743450" y="2247900"/>
              <a:chExt cx="2705100" cy="2365771"/>
            </a:xfrm>
          </p:grpSpPr>
          <p:sp>
            <p:nvSpPr>
              <p:cNvPr id="1115" name="Google Shape;1115;p147"/>
              <p:cNvSpPr/>
              <p:nvPr/>
            </p:nvSpPr>
            <p:spPr>
              <a:xfrm>
                <a:off x="4743450" y="2724340"/>
                <a:ext cx="1911953" cy="1610487"/>
              </a:xfrm>
              <a:custGeom>
                <a:avLst/>
                <a:gdLst/>
                <a:ahLst/>
                <a:cxnLst/>
                <a:rect l="l" t="t" r="r" b="b"/>
                <a:pathLst>
                  <a:path w="1911953" h="1610487" extrusionOk="0">
                    <a:moveTo>
                      <a:pt x="1911953" y="1610487"/>
                    </a:moveTo>
                    <a:lnTo>
                      <a:pt x="0" y="1610487"/>
                    </a:ln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6" name="Google Shape;1116;p147"/>
              <p:cNvSpPr/>
              <p:nvPr/>
            </p:nvSpPr>
            <p:spPr>
              <a:xfrm>
                <a:off x="6973347" y="2724340"/>
                <a:ext cx="475202" cy="1610487"/>
              </a:xfrm>
              <a:custGeom>
                <a:avLst/>
                <a:gdLst/>
                <a:ahLst/>
                <a:cxnLst/>
                <a:rect l="l" t="t" r="r" b="b"/>
                <a:pathLst>
                  <a:path w="475202" h="1610487" extrusionOk="0">
                    <a:moveTo>
                      <a:pt x="475202" y="0"/>
                    </a:moveTo>
                    <a:lnTo>
                      <a:pt x="475202" y="1610487"/>
                    </a:lnTo>
                    <a:lnTo>
                      <a:pt x="0" y="1610487"/>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7" name="Google Shape;1117;p147"/>
              <p:cNvSpPr/>
              <p:nvPr/>
            </p:nvSpPr>
            <p:spPr>
              <a:xfrm>
                <a:off x="4743450" y="2247900"/>
                <a:ext cx="2705100" cy="476440"/>
              </a:xfrm>
              <a:custGeom>
                <a:avLst/>
                <a:gdLst/>
                <a:ahLst/>
                <a:cxnLst/>
                <a:rect l="l" t="t" r="r" b="b"/>
                <a:pathLst>
                  <a:path w="2705100" h="476440" extrusionOk="0">
                    <a:moveTo>
                      <a:pt x="0" y="0"/>
                    </a:moveTo>
                    <a:lnTo>
                      <a:pt x="2705100" y="0"/>
                    </a:lnTo>
                    <a:lnTo>
                      <a:pt x="2705100" y="476441"/>
                    </a:lnTo>
                    <a:lnTo>
                      <a:pt x="0" y="476441"/>
                    </a:ln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8" name="Google Shape;1118;p147"/>
              <p:cNvSpPr/>
              <p:nvPr/>
            </p:nvSpPr>
            <p:spPr>
              <a:xfrm>
                <a:off x="6658737"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9" name="Google Shape;1119;p147"/>
              <p:cNvSpPr/>
              <p:nvPr/>
            </p:nvSpPr>
            <p:spPr>
              <a:xfrm>
                <a:off x="6886194"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20" name="Google Shape;1120;p147"/>
              <p:cNvSpPr/>
              <p:nvPr/>
            </p:nvSpPr>
            <p:spPr>
              <a:xfrm>
                <a:off x="7113651"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21" name="Google Shape;1121;p147"/>
              <p:cNvSpPr/>
              <p:nvPr/>
            </p:nvSpPr>
            <p:spPr>
              <a:xfrm>
                <a:off x="5475065" y="2996850"/>
                <a:ext cx="1112329" cy="1111186"/>
              </a:xfrm>
              <a:custGeom>
                <a:avLst/>
                <a:gdLst/>
                <a:ahLst/>
                <a:cxnLst/>
                <a:rect l="l" t="t" r="r" b="b"/>
                <a:pathLst>
                  <a:path w="1112329" h="1111186" extrusionOk="0">
                    <a:moveTo>
                      <a:pt x="949452" y="162782"/>
                    </a:moveTo>
                    <a:cubicBezTo>
                      <a:pt x="1166622" y="379762"/>
                      <a:pt x="1166622" y="731520"/>
                      <a:pt x="949452" y="948500"/>
                    </a:cubicBezTo>
                    <a:cubicBezTo>
                      <a:pt x="845153" y="1052703"/>
                      <a:pt x="703707" y="1111187"/>
                      <a:pt x="556165" y="1111187"/>
                    </a:cubicBezTo>
                    <a:cubicBezTo>
                      <a:pt x="408623" y="1111187"/>
                      <a:pt x="267176" y="1052608"/>
                      <a:pt x="162878" y="948500"/>
                    </a:cubicBezTo>
                    <a:cubicBezTo>
                      <a:pt x="58579" y="844296"/>
                      <a:pt x="0" y="702945"/>
                      <a:pt x="0" y="555593"/>
                    </a:cubicBezTo>
                    <a:cubicBezTo>
                      <a:pt x="0" y="408242"/>
                      <a:pt x="58579" y="266891"/>
                      <a:pt x="162878" y="162687"/>
                    </a:cubicBezTo>
                    <a:cubicBezTo>
                      <a:pt x="267176" y="58483"/>
                      <a:pt x="408623" y="0"/>
                      <a:pt x="556165" y="0"/>
                    </a:cubicBezTo>
                    <a:cubicBezTo>
                      <a:pt x="703707" y="0"/>
                      <a:pt x="845153" y="58579"/>
                      <a:pt x="949452" y="162687"/>
                    </a:cubicBez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22" name="Google Shape;1122;p147"/>
              <p:cNvSpPr/>
              <p:nvPr/>
            </p:nvSpPr>
            <p:spPr>
              <a:xfrm>
                <a:off x="6575107" y="4095845"/>
                <a:ext cx="518302" cy="517826"/>
              </a:xfrm>
              <a:custGeom>
                <a:avLst/>
                <a:gdLst/>
                <a:ahLst/>
                <a:cxnLst/>
                <a:rect l="l" t="t" r="r" b="b"/>
                <a:pathLst>
                  <a:path w="518302" h="517826" extrusionOk="0">
                    <a:moveTo>
                      <a:pt x="0" y="158782"/>
                    </a:moveTo>
                    <a:lnTo>
                      <a:pt x="326326" y="484823"/>
                    </a:lnTo>
                    <a:cubicBezTo>
                      <a:pt x="370332" y="528828"/>
                      <a:pt x="441293" y="528828"/>
                      <a:pt x="485299" y="484823"/>
                    </a:cubicBezTo>
                    <a:cubicBezTo>
                      <a:pt x="529304" y="440817"/>
                      <a:pt x="529304" y="370046"/>
                      <a:pt x="485299" y="326041"/>
                    </a:cubicBezTo>
                    <a:lnTo>
                      <a:pt x="158972" y="0"/>
                    </a:lnTo>
                    <a:cubicBezTo>
                      <a:pt x="158972" y="0"/>
                      <a:pt x="0" y="158782"/>
                      <a:pt x="0" y="158782"/>
                    </a:cubicBez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23" name="Google Shape;1123;p147"/>
              <p:cNvSpPr/>
              <p:nvPr/>
            </p:nvSpPr>
            <p:spPr>
              <a:xfrm>
                <a:off x="6424517" y="3945350"/>
                <a:ext cx="230123" cy="229933"/>
              </a:xfrm>
              <a:custGeom>
                <a:avLst/>
                <a:gdLst/>
                <a:ahLst/>
                <a:cxnLst/>
                <a:rect l="l" t="t" r="r" b="b"/>
                <a:pathLst>
                  <a:path w="230123" h="229933" extrusionOk="0">
                    <a:moveTo>
                      <a:pt x="230124" y="229934"/>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24" name="Google Shape;1124;p147"/>
              <p:cNvSpPr/>
              <p:nvPr/>
            </p:nvSpPr>
            <p:spPr>
              <a:xfrm>
                <a:off x="5775864" y="3577494"/>
                <a:ext cx="9525" cy="174497"/>
              </a:xfrm>
              <a:custGeom>
                <a:avLst/>
                <a:gdLst/>
                <a:ahLst/>
                <a:cxnLst/>
                <a:rect l="l" t="t" r="r" b="b"/>
                <a:pathLst>
                  <a:path w="9525" h="174497" extrusionOk="0">
                    <a:moveTo>
                      <a:pt x="0" y="174498"/>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25" name="Google Shape;1125;p147"/>
              <p:cNvSpPr/>
              <p:nvPr/>
            </p:nvSpPr>
            <p:spPr>
              <a:xfrm>
                <a:off x="5946076"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26" name="Google Shape;1126;p147"/>
              <p:cNvSpPr/>
              <p:nvPr/>
            </p:nvSpPr>
            <p:spPr>
              <a:xfrm>
                <a:off x="6116288"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27" name="Google Shape;1127;p147"/>
              <p:cNvSpPr/>
              <p:nvPr/>
            </p:nvSpPr>
            <p:spPr>
              <a:xfrm>
                <a:off x="6286595" y="3352990"/>
                <a:ext cx="9525" cy="399002"/>
              </a:xfrm>
              <a:custGeom>
                <a:avLst/>
                <a:gdLst/>
                <a:ahLst/>
                <a:cxnLst/>
                <a:rect l="l" t="t" r="r" b="b"/>
                <a:pathLst>
                  <a:path w="9525" h="399002" extrusionOk="0">
                    <a:moveTo>
                      <a:pt x="0" y="399002"/>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28" name="Google Shape;1128;p147"/>
              <p:cNvSpPr/>
              <p:nvPr/>
            </p:nvSpPr>
            <p:spPr>
              <a:xfrm>
                <a:off x="6842664" y="3577494"/>
                <a:ext cx="9525" cy="174497"/>
              </a:xfrm>
              <a:custGeom>
                <a:avLst/>
                <a:gdLst/>
                <a:ahLst/>
                <a:cxnLst/>
                <a:rect l="l" t="t" r="r" b="b"/>
                <a:pathLst>
                  <a:path w="9525" h="174497" extrusionOk="0">
                    <a:moveTo>
                      <a:pt x="0" y="174498"/>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29" name="Google Shape;1129;p147"/>
              <p:cNvSpPr/>
              <p:nvPr/>
            </p:nvSpPr>
            <p:spPr>
              <a:xfrm>
                <a:off x="7012876"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30" name="Google Shape;1130;p147"/>
              <p:cNvSpPr/>
              <p:nvPr/>
            </p:nvSpPr>
            <p:spPr>
              <a:xfrm>
                <a:off x="7183088"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31" name="Google Shape;1131;p147"/>
              <p:cNvSpPr/>
              <p:nvPr/>
            </p:nvSpPr>
            <p:spPr>
              <a:xfrm>
                <a:off x="5201888"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32" name="Google Shape;1132;p147"/>
              <p:cNvSpPr/>
              <p:nvPr/>
            </p:nvSpPr>
            <p:spPr>
              <a:xfrm>
                <a:off x="5031676"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133" name="Google Shape;1133;p147"/>
            <p:cNvGrpSpPr/>
            <p:nvPr/>
          </p:nvGrpSpPr>
          <p:grpSpPr>
            <a:xfrm>
              <a:off x="-598286" y="4641079"/>
              <a:ext cx="429577" cy="397865"/>
              <a:chOff x="5643539" y="3009911"/>
              <a:chExt cx="906730" cy="839795"/>
            </a:xfrm>
          </p:grpSpPr>
          <p:grpSp>
            <p:nvGrpSpPr>
              <p:cNvPr id="1134" name="Google Shape;1134;p147"/>
              <p:cNvGrpSpPr/>
              <p:nvPr/>
            </p:nvGrpSpPr>
            <p:grpSpPr>
              <a:xfrm>
                <a:off x="5993987" y="3292410"/>
                <a:ext cx="205930" cy="274797"/>
                <a:chOff x="5993987" y="3292410"/>
                <a:chExt cx="205930" cy="274797"/>
              </a:xfrm>
            </p:grpSpPr>
            <p:sp>
              <p:nvSpPr>
                <p:cNvPr id="1135" name="Google Shape;1135;p147"/>
                <p:cNvSpPr/>
                <p:nvPr/>
              </p:nvSpPr>
              <p:spPr>
                <a:xfrm>
                  <a:off x="5993987" y="3292410"/>
                  <a:ext cx="205930" cy="274796"/>
                </a:xfrm>
                <a:custGeom>
                  <a:avLst/>
                  <a:gdLst/>
                  <a:ahLst/>
                  <a:cxnLst/>
                  <a:rect l="l" t="t" r="r" b="b"/>
                  <a:pathLst>
                    <a:path w="205930" h="274796" extrusionOk="0">
                      <a:moveTo>
                        <a:pt x="0" y="45815"/>
                      </a:moveTo>
                      <a:lnTo>
                        <a:pt x="0" y="228981"/>
                      </a:lnTo>
                      <a:cubicBezTo>
                        <a:pt x="0" y="254318"/>
                        <a:pt x="46101" y="274796"/>
                        <a:pt x="102965" y="274796"/>
                      </a:cubicBezTo>
                      <a:cubicBezTo>
                        <a:pt x="159829" y="274796"/>
                        <a:pt x="205930" y="254222"/>
                        <a:pt x="205930" y="228981"/>
                      </a:cubicBezTo>
                      <a:lnTo>
                        <a:pt x="205930" y="45815"/>
                      </a:lnTo>
                      <a:cubicBezTo>
                        <a:pt x="205930" y="20479"/>
                        <a:pt x="159829" y="0"/>
                        <a:pt x="102965" y="0"/>
                      </a:cubicBezTo>
                      <a:cubicBezTo>
                        <a:pt x="46101" y="0"/>
                        <a:pt x="0" y="20479"/>
                        <a:pt x="0" y="45815"/>
                      </a:cubicBezTo>
                      <a:close/>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36" name="Google Shape;1136;p147"/>
                <p:cNvSpPr/>
                <p:nvPr/>
              </p:nvSpPr>
              <p:spPr>
                <a:xfrm>
                  <a:off x="5993987" y="3399662"/>
                  <a:ext cx="205930" cy="45815"/>
                </a:xfrm>
                <a:custGeom>
                  <a:avLst/>
                  <a:gdLst/>
                  <a:ahLst/>
                  <a:cxnLst/>
                  <a:rect l="l" t="t" r="r" b="b"/>
                  <a:pathLst>
                    <a:path w="205930" h="45815" extrusionOk="0">
                      <a:moveTo>
                        <a:pt x="205930" y="0"/>
                      </a:moveTo>
                      <a:cubicBezTo>
                        <a:pt x="205930" y="25337"/>
                        <a:pt x="159829" y="45815"/>
                        <a:pt x="102965" y="45815"/>
                      </a:cubicBezTo>
                      <a:cubicBezTo>
                        <a:pt x="46101" y="45815"/>
                        <a:pt x="0" y="25337"/>
                        <a:pt x="0" y="0"/>
                      </a:cubicBez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37" name="Google Shape;1137;p147"/>
                <p:cNvSpPr/>
                <p:nvPr/>
              </p:nvSpPr>
              <p:spPr>
                <a:xfrm>
                  <a:off x="5993987" y="3461003"/>
                  <a:ext cx="205930" cy="45815"/>
                </a:xfrm>
                <a:custGeom>
                  <a:avLst/>
                  <a:gdLst/>
                  <a:ahLst/>
                  <a:cxnLst/>
                  <a:rect l="l" t="t" r="r" b="b"/>
                  <a:pathLst>
                    <a:path w="205930" h="45815" extrusionOk="0">
                      <a:moveTo>
                        <a:pt x="205930" y="0"/>
                      </a:moveTo>
                      <a:cubicBezTo>
                        <a:pt x="205930" y="25336"/>
                        <a:pt x="159829" y="45815"/>
                        <a:pt x="102965" y="45815"/>
                      </a:cubicBezTo>
                      <a:cubicBezTo>
                        <a:pt x="46101" y="45815"/>
                        <a:pt x="0" y="25336"/>
                        <a:pt x="0" y="0"/>
                      </a:cubicBez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38" name="Google Shape;1138;p147"/>
                <p:cNvSpPr/>
                <p:nvPr/>
              </p:nvSpPr>
              <p:spPr>
                <a:xfrm>
                  <a:off x="5993987" y="3521392"/>
                  <a:ext cx="205930" cy="45815"/>
                </a:xfrm>
                <a:custGeom>
                  <a:avLst/>
                  <a:gdLst/>
                  <a:ahLst/>
                  <a:cxnLst/>
                  <a:rect l="l" t="t" r="r" b="b"/>
                  <a:pathLst>
                    <a:path w="205930" h="45815" extrusionOk="0">
                      <a:moveTo>
                        <a:pt x="205930" y="0"/>
                      </a:moveTo>
                      <a:cubicBezTo>
                        <a:pt x="205930" y="25336"/>
                        <a:pt x="159829" y="45815"/>
                        <a:pt x="102965" y="45815"/>
                      </a:cubicBezTo>
                      <a:cubicBezTo>
                        <a:pt x="46101" y="45815"/>
                        <a:pt x="0" y="25241"/>
                        <a:pt x="0" y="0"/>
                      </a:cubicBez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39" name="Google Shape;1139;p147"/>
                <p:cNvSpPr/>
                <p:nvPr/>
              </p:nvSpPr>
              <p:spPr>
                <a:xfrm>
                  <a:off x="5993987" y="3292410"/>
                  <a:ext cx="205930" cy="91630"/>
                </a:xfrm>
                <a:custGeom>
                  <a:avLst/>
                  <a:gdLst/>
                  <a:ahLst/>
                  <a:cxnLst/>
                  <a:rect l="l" t="t" r="r" b="b"/>
                  <a:pathLst>
                    <a:path w="205930" h="91630" extrusionOk="0">
                      <a:moveTo>
                        <a:pt x="205930" y="45815"/>
                      </a:moveTo>
                      <a:cubicBezTo>
                        <a:pt x="205930" y="71152"/>
                        <a:pt x="159829" y="91630"/>
                        <a:pt x="102965" y="91630"/>
                      </a:cubicBezTo>
                      <a:cubicBezTo>
                        <a:pt x="46101" y="91630"/>
                        <a:pt x="0" y="71152"/>
                        <a:pt x="0" y="45815"/>
                      </a:cubicBezTo>
                      <a:cubicBezTo>
                        <a:pt x="0" y="20479"/>
                        <a:pt x="46101" y="0"/>
                        <a:pt x="102965" y="0"/>
                      </a:cubicBezTo>
                      <a:cubicBezTo>
                        <a:pt x="159829" y="0"/>
                        <a:pt x="205930" y="20479"/>
                        <a:pt x="205930" y="45815"/>
                      </a:cubicBezTo>
                      <a:close/>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140" name="Google Shape;1140;p147"/>
              <p:cNvGrpSpPr/>
              <p:nvPr/>
            </p:nvGrpSpPr>
            <p:grpSpPr>
              <a:xfrm>
                <a:off x="5643539" y="3009911"/>
                <a:ext cx="906730" cy="839795"/>
                <a:chOff x="5643539" y="3009911"/>
                <a:chExt cx="906730" cy="839795"/>
              </a:xfrm>
            </p:grpSpPr>
            <p:sp>
              <p:nvSpPr>
                <p:cNvPr id="1141" name="Google Shape;1141;p147"/>
                <p:cNvSpPr/>
                <p:nvPr/>
              </p:nvSpPr>
              <p:spPr>
                <a:xfrm>
                  <a:off x="5832596" y="3009911"/>
                  <a:ext cx="528711" cy="839795"/>
                </a:xfrm>
                <a:custGeom>
                  <a:avLst/>
                  <a:gdLst/>
                  <a:ahLst/>
                  <a:cxnLst/>
                  <a:rect l="l" t="t" r="r" b="b"/>
                  <a:pathLst>
                    <a:path w="528711" h="839795" extrusionOk="0">
                      <a:moveTo>
                        <a:pt x="446855" y="334983"/>
                      </a:moveTo>
                      <a:cubicBezTo>
                        <a:pt x="552487" y="562059"/>
                        <a:pt x="556392" y="784086"/>
                        <a:pt x="455618" y="831045"/>
                      </a:cubicBezTo>
                      <a:cubicBezTo>
                        <a:pt x="354843" y="877908"/>
                        <a:pt x="187489" y="731889"/>
                        <a:pt x="81857" y="504813"/>
                      </a:cubicBezTo>
                      <a:cubicBezTo>
                        <a:pt x="-23775" y="277737"/>
                        <a:pt x="-27681" y="55710"/>
                        <a:pt x="73094" y="8751"/>
                      </a:cubicBezTo>
                      <a:cubicBezTo>
                        <a:pt x="173868" y="-38112"/>
                        <a:pt x="341223" y="107907"/>
                        <a:pt x="446855" y="334983"/>
                      </a:cubicBezTo>
                      <a:close/>
                    </a:path>
                  </a:pathLst>
                </a:custGeom>
                <a:noFill/>
                <a:ln w="1270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42" name="Google Shape;1142;p147"/>
                <p:cNvSpPr/>
                <p:nvPr/>
              </p:nvSpPr>
              <p:spPr>
                <a:xfrm>
                  <a:off x="5643539" y="3228253"/>
                  <a:ext cx="906730" cy="403015"/>
                </a:xfrm>
                <a:custGeom>
                  <a:avLst/>
                  <a:gdLst/>
                  <a:ahLst/>
                  <a:cxnLst/>
                  <a:rect l="l" t="t" r="r" b="b"/>
                  <a:pathLst>
                    <a:path w="906730" h="403015" extrusionOk="0">
                      <a:moveTo>
                        <a:pt x="457794" y="245"/>
                      </a:moveTo>
                      <a:cubicBezTo>
                        <a:pt x="708111" y="5769"/>
                        <a:pt x="909184" y="100257"/>
                        <a:pt x="906707" y="211414"/>
                      </a:cubicBezTo>
                      <a:cubicBezTo>
                        <a:pt x="904231" y="322571"/>
                        <a:pt x="699348" y="408200"/>
                        <a:pt x="448936" y="402771"/>
                      </a:cubicBezTo>
                      <a:cubicBezTo>
                        <a:pt x="198619" y="397247"/>
                        <a:pt x="-2454" y="302759"/>
                        <a:pt x="23" y="191602"/>
                      </a:cubicBezTo>
                      <a:cubicBezTo>
                        <a:pt x="2499" y="80445"/>
                        <a:pt x="207382" y="-5185"/>
                        <a:pt x="457794" y="245"/>
                      </a:cubicBezTo>
                      <a:close/>
                    </a:path>
                  </a:pathLst>
                </a:custGeom>
                <a:noFill/>
                <a:ln w="1270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43" name="Google Shape;1143;p147"/>
                <p:cNvSpPr/>
                <p:nvPr/>
              </p:nvSpPr>
              <p:spPr>
                <a:xfrm>
                  <a:off x="5816914" y="3020168"/>
                  <a:ext cx="560076" cy="819251"/>
                </a:xfrm>
                <a:custGeom>
                  <a:avLst/>
                  <a:gdLst/>
                  <a:ahLst/>
                  <a:cxnLst/>
                  <a:rect l="l" t="t" r="r" b="b"/>
                  <a:pathLst>
                    <a:path w="560076" h="819251" extrusionOk="0">
                      <a:moveTo>
                        <a:pt x="103349" y="313105"/>
                      </a:moveTo>
                      <a:cubicBezTo>
                        <a:pt x="223269" y="93363"/>
                        <a:pt x="399672" y="-41701"/>
                        <a:pt x="497303" y="11639"/>
                      </a:cubicBezTo>
                      <a:cubicBezTo>
                        <a:pt x="594839" y="64884"/>
                        <a:pt x="576742" y="286245"/>
                        <a:pt x="456727" y="506082"/>
                      </a:cubicBezTo>
                      <a:cubicBezTo>
                        <a:pt x="336712" y="725919"/>
                        <a:pt x="160309" y="860888"/>
                        <a:pt x="62773" y="807643"/>
                      </a:cubicBezTo>
                      <a:cubicBezTo>
                        <a:pt x="-34763" y="754398"/>
                        <a:pt x="-16666" y="533037"/>
                        <a:pt x="103349" y="313200"/>
                      </a:cubicBezTo>
                      <a:close/>
                    </a:path>
                  </a:pathLst>
                </a:custGeom>
                <a:noFill/>
                <a:ln w="1270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grpSp>
      <p:grpSp>
        <p:nvGrpSpPr>
          <p:cNvPr id="1144" name="Google Shape;1144;p147"/>
          <p:cNvGrpSpPr/>
          <p:nvPr/>
        </p:nvGrpSpPr>
        <p:grpSpPr>
          <a:xfrm>
            <a:off x="3173018" y="5243784"/>
            <a:ext cx="835102" cy="839202"/>
            <a:chOff x="-1008987" y="5530024"/>
            <a:chExt cx="848855" cy="853021"/>
          </a:xfrm>
        </p:grpSpPr>
        <p:grpSp>
          <p:nvGrpSpPr>
            <p:cNvPr id="1145" name="Google Shape;1145;p147"/>
            <p:cNvGrpSpPr/>
            <p:nvPr/>
          </p:nvGrpSpPr>
          <p:grpSpPr>
            <a:xfrm>
              <a:off x="-1008987" y="5534702"/>
              <a:ext cx="333755" cy="357621"/>
              <a:chOff x="5538787" y="2828925"/>
              <a:chExt cx="1118901" cy="1198911"/>
            </a:xfrm>
          </p:grpSpPr>
          <p:sp>
            <p:nvSpPr>
              <p:cNvPr id="1146" name="Google Shape;1146;p147"/>
              <p:cNvSpPr/>
              <p:nvPr/>
            </p:nvSpPr>
            <p:spPr>
              <a:xfrm>
                <a:off x="5555931" y="3801522"/>
                <a:ext cx="1084611" cy="226314"/>
              </a:xfrm>
              <a:custGeom>
                <a:avLst/>
                <a:gdLst/>
                <a:ahLst/>
                <a:cxnLst/>
                <a:rect l="l" t="t" r="r" b="b"/>
                <a:pathLst>
                  <a:path w="1084611" h="226314" extrusionOk="0">
                    <a:moveTo>
                      <a:pt x="1065371" y="132207"/>
                    </a:moveTo>
                    <a:lnTo>
                      <a:pt x="614363" y="132207"/>
                    </a:lnTo>
                    <a:cubicBezTo>
                      <a:pt x="607505" y="106394"/>
                      <a:pt x="587312" y="86201"/>
                      <a:pt x="561499" y="79343"/>
                    </a:cubicBezTo>
                    <a:lnTo>
                      <a:pt x="561499" y="19240"/>
                    </a:lnTo>
                    <a:cubicBezTo>
                      <a:pt x="561499" y="8668"/>
                      <a:pt x="552926" y="0"/>
                      <a:pt x="542258" y="0"/>
                    </a:cubicBezTo>
                    <a:cubicBezTo>
                      <a:pt x="531590" y="0"/>
                      <a:pt x="523018" y="8573"/>
                      <a:pt x="523018" y="19240"/>
                    </a:cubicBezTo>
                    <a:lnTo>
                      <a:pt x="523018" y="79343"/>
                    </a:lnTo>
                    <a:cubicBezTo>
                      <a:pt x="497300" y="86201"/>
                      <a:pt x="477107" y="106394"/>
                      <a:pt x="470154" y="132207"/>
                    </a:cubicBezTo>
                    <a:lnTo>
                      <a:pt x="19241" y="132207"/>
                    </a:lnTo>
                    <a:cubicBezTo>
                      <a:pt x="8668" y="132207"/>
                      <a:pt x="0" y="140779"/>
                      <a:pt x="0" y="151448"/>
                    </a:cubicBezTo>
                    <a:cubicBezTo>
                      <a:pt x="0" y="162115"/>
                      <a:pt x="8573" y="170688"/>
                      <a:pt x="19241" y="170688"/>
                    </a:cubicBezTo>
                    <a:lnTo>
                      <a:pt x="470249" y="170688"/>
                    </a:lnTo>
                    <a:cubicBezTo>
                      <a:pt x="478822" y="202597"/>
                      <a:pt x="507683" y="226314"/>
                      <a:pt x="542258" y="226314"/>
                    </a:cubicBezTo>
                    <a:cubicBezTo>
                      <a:pt x="576834" y="226314"/>
                      <a:pt x="605790" y="202597"/>
                      <a:pt x="614363" y="170688"/>
                    </a:cubicBezTo>
                    <a:lnTo>
                      <a:pt x="1065371" y="170688"/>
                    </a:lnTo>
                    <a:cubicBezTo>
                      <a:pt x="1075944" y="170688"/>
                      <a:pt x="1084612" y="162115"/>
                      <a:pt x="1084612" y="151448"/>
                    </a:cubicBezTo>
                    <a:cubicBezTo>
                      <a:pt x="1084612" y="140779"/>
                      <a:pt x="1076039" y="132207"/>
                      <a:pt x="1065371" y="132207"/>
                    </a:cubicBezTo>
                    <a:close/>
                    <a:moveTo>
                      <a:pt x="542258" y="187833"/>
                    </a:moveTo>
                    <a:cubicBezTo>
                      <a:pt x="522161" y="187833"/>
                      <a:pt x="505873" y="171450"/>
                      <a:pt x="505873" y="151352"/>
                    </a:cubicBezTo>
                    <a:cubicBezTo>
                      <a:pt x="505873" y="131254"/>
                      <a:pt x="522256" y="114871"/>
                      <a:pt x="542258" y="114871"/>
                    </a:cubicBezTo>
                    <a:cubicBezTo>
                      <a:pt x="562261" y="114871"/>
                      <a:pt x="578739" y="131254"/>
                      <a:pt x="578739" y="151352"/>
                    </a:cubicBezTo>
                    <a:cubicBezTo>
                      <a:pt x="578739" y="171450"/>
                      <a:pt x="562356" y="187833"/>
                      <a:pt x="542258" y="18783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47" name="Google Shape;1147;p147"/>
              <p:cNvSpPr/>
              <p:nvPr/>
            </p:nvSpPr>
            <p:spPr>
              <a:xfrm>
                <a:off x="5538787" y="2828925"/>
                <a:ext cx="1118901" cy="269176"/>
              </a:xfrm>
              <a:custGeom>
                <a:avLst/>
                <a:gdLst/>
                <a:ahLst/>
                <a:cxnLst/>
                <a:rect l="l" t="t" r="r" b="b"/>
                <a:pathLst>
                  <a:path w="1118901" h="269176" extrusionOk="0">
                    <a:moveTo>
                      <a:pt x="134588" y="269177"/>
                    </a:moveTo>
                    <a:lnTo>
                      <a:pt x="984313" y="269177"/>
                    </a:lnTo>
                    <a:cubicBezTo>
                      <a:pt x="1058513" y="269177"/>
                      <a:pt x="1118902" y="208788"/>
                      <a:pt x="1118902" y="134588"/>
                    </a:cubicBezTo>
                    <a:cubicBezTo>
                      <a:pt x="1118902" y="60389"/>
                      <a:pt x="1058513" y="0"/>
                      <a:pt x="984313" y="0"/>
                    </a:cubicBezTo>
                    <a:lnTo>
                      <a:pt x="134588" y="0"/>
                    </a:lnTo>
                    <a:cubicBezTo>
                      <a:pt x="60389" y="0"/>
                      <a:pt x="0" y="60389"/>
                      <a:pt x="0" y="134588"/>
                    </a:cubicBezTo>
                    <a:cubicBezTo>
                      <a:pt x="0" y="208788"/>
                      <a:pt x="60389" y="269177"/>
                      <a:pt x="134588" y="269177"/>
                    </a:cubicBezTo>
                    <a:close/>
                    <a:moveTo>
                      <a:pt x="134588" y="38386"/>
                    </a:moveTo>
                    <a:lnTo>
                      <a:pt x="984313" y="38386"/>
                    </a:lnTo>
                    <a:cubicBezTo>
                      <a:pt x="1037368" y="38386"/>
                      <a:pt x="1080421" y="81534"/>
                      <a:pt x="1080421" y="134588"/>
                    </a:cubicBezTo>
                    <a:cubicBezTo>
                      <a:pt x="1080421" y="187643"/>
                      <a:pt x="1037273" y="230791"/>
                      <a:pt x="984313" y="230791"/>
                    </a:cubicBezTo>
                    <a:lnTo>
                      <a:pt x="134588" y="230791"/>
                    </a:lnTo>
                    <a:cubicBezTo>
                      <a:pt x="81534" y="230791"/>
                      <a:pt x="38481" y="187643"/>
                      <a:pt x="38481" y="134588"/>
                    </a:cubicBezTo>
                    <a:cubicBezTo>
                      <a:pt x="38481" y="81534"/>
                      <a:pt x="81534" y="38386"/>
                      <a:pt x="134588"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48" name="Google Shape;1148;p147"/>
              <p:cNvSpPr/>
              <p:nvPr/>
            </p:nvSpPr>
            <p:spPr>
              <a:xfrm>
                <a:off x="6423183" y="2890075"/>
                <a:ext cx="146875" cy="146875"/>
              </a:xfrm>
              <a:custGeom>
                <a:avLst/>
                <a:gdLst/>
                <a:ahLst/>
                <a:cxnLst/>
                <a:rect l="l" t="t" r="r" b="b"/>
                <a:pathLst>
                  <a:path w="146875" h="146875" extrusionOk="0">
                    <a:moveTo>
                      <a:pt x="73438" y="146876"/>
                    </a:moveTo>
                    <a:cubicBezTo>
                      <a:pt x="113919" y="146876"/>
                      <a:pt x="146875" y="113919"/>
                      <a:pt x="146875" y="73438"/>
                    </a:cubicBezTo>
                    <a:cubicBezTo>
                      <a:pt x="146875" y="32957"/>
                      <a:pt x="113919" y="0"/>
                      <a:pt x="73438" y="0"/>
                    </a:cubicBezTo>
                    <a:cubicBezTo>
                      <a:pt x="32956" y="0"/>
                      <a:pt x="0" y="32957"/>
                      <a:pt x="0" y="73438"/>
                    </a:cubicBezTo>
                    <a:cubicBezTo>
                      <a:pt x="0" y="113919"/>
                      <a:pt x="32956" y="146876"/>
                      <a:pt x="73438" y="146876"/>
                    </a:cubicBezTo>
                    <a:close/>
                    <a:moveTo>
                      <a:pt x="73438" y="38481"/>
                    </a:moveTo>
                    <a:cubicBezTo>
                      <a:pt x="92678" y="38481"/>
                      <a:pt x="108395" y="54197"/>
                      <a:pt x="108395" y="73438"/>
                    </a:cubicBezTo>
                    <a:cubicBezTo>
                      <a:pt x="108395" y="92678"/>
                      <a:pt x="92678" y="108394"/>
                      <a:pt x="73438" y="108394"/>
                    </a:cubicBezTo>
                    <a:cubicBezTo>
                      <a:pt x="54197" y="108394"/>
                      <a:pt x="38481" y="92678"/>
                      <a:pt x="38481" y="73438"/>
                    </a:cubicBezTo>
                    <a:cubicBezTo>
                      <a:pt x="38481" y="54197"/>
                      <a:pt x="54197" y="38481"/>
                      <a:pt x="73438" y="3848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49" name="Google Shape;1149;p147"/>
              <p:cNvSpPr/>
              <p:nvPr/>
            </p:nvSpPr>
            <p:spPr>
              <a:xfrm>
                <a:off x="5910547" y="2925127"/>
                <a:ext cx="76771" cy="76771"/>
              </a:xfrm>
              <a:custGeom>
                <a:avLst/>
                <a:gdLst/>
                <a:ahLst/>
                <a:cxnLst/>
                <a:rect l="l" t="t" r="r" b="b"/>
                <a:pathLst>
                  <a:path w="76771" h="76771" extrusionOk="0">
                    <a:moveTo>
                      <a:pt x="38386" y="76771"/>
                    </a:moveTo>
                    <a:cubicBezTo>
                      <a:pt x="59531" y="76771"/>
                      <a:pt x="76772" y="59627"/>
                      <a:pt x="76772" y="38386"/>
                    </a:cubicBezTo>
                    <a:cubicBezTo>
                      <a:pt x="76772"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0" name="Google Shape;1150;p147"/>
              <p:cNvSpPr/>
              <p:nvPr/>
            </p:nvSpPr>
            <p:spPr>
              <a:xfrm>
                <a:off x="5773102" y="2925127"/>
                <a:ext cx="76771" cy="76771"/>
              </a:xfrm>
              <a:custGeom>
                <a:avLst/>
                <a:gdLst/>
                <a:ahLst/>
                <a:cxnLst/>
                <a:rect l="l" t="t" r="r" b="b"/>
                <a:pathLst>
                  <a:path w="76771" h="76771" extrusionOk="0">
                    <a:moveTo>
                      <a:pt x="38386" y="76771"/>
                    </a:moveTo>
                    <a:cubicBezTo>
                      <a:pt x="59531" y="76771"/>
                      <a:pt x="76771" y="59627"/>
                      <a:pt x="76771" y="38386"/>
                    </a:cubicBezTo>
                    <a:cubicBezTo>
                      <a:pt x="76771"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1" name="Google Shape;1151;p147"/>
              <p:cNvSpPr/>
              <p:nvPr/>
            </p:nvSpPr>
            <p:spPr>
              <a:xfrm>
                <a:off x="5635751" y="2925127"/>
                <a:ext cx="76771" cy="76771"/>
              </a:xfrm>
              <a:custGeom>
                <a:avLst/>
                <a:gdLst/>
                <a:ahLst/>
                <a:cxnLst/>
                <a:rect l="l" t="t" r="r" b="b"/>
                <a:pathLst>
                  <a:path w="76771" h="76771" extrusionOk="0">
                    <a:moveTo>
                      <a:pt x="38386" y="76771"/>
                    </a:moveTo>
                    <a:cubicBezTo>
                      <a:pt x="59531" y="76771"/>
                      <a:pt x="76771" y="59627"/>
                      <a:pt x="76771" y="38386"/>
                    </a:cubicBezTo>
                    <a:cubicBezTo>
                      <a:pt x="76771"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2" name="Google Shape;1152;p147"/>
              <p:cNvSpPr/>
              <p:nvPr/>
            </p:nvSpPr>
            <p:spPr>
              <a:xfrm>
                <a:off x="5538787" y="3161442"/>
                <a:ext cx="1118901" cy="269176"/>
              </a:xfrm>
              <a:custGeom>
                <a:avLst/>
                <a:gdLst/>
                <a:ahLst/>
                <a:cxnLst/>
                <a:rect l="l" t="t" r="r" b="b"/>
                <a:pathLst>
                  <a:path w="1118901" h="269176" extrusionOk="0">
                    <a:moveTo>
                      <a:pt x="984313" y="0"/>
                    </a:moveTo>
                    <a:lnTo>
                      <a:pt x="134588" y="0"/>
                    </a:lnTo>
                    <a:cubicBezTo>
                      <a:pt x="60389" y="0"/>
                      <a:pt x="0" y="60389"/>
                      <a:pt x="0" y="134588"/>
                    </a:cubicBezTo>
                    <a:cubicBezTo>
                      <a:pt x="0" y="208788"/>
                      <a:pt x="60389" y="269176"/>
                      <a:pt x="134588" y="269176"/>
                    </a:cubicBezTo>
                    <a:lnTo>
                      <a:pt x="984313" y="269176"/>
                    </a:lnTo>
                    <a:cubicBezTo>
                      <a:pt x="1058513" y="269176"/>
                      <a:pt x="1118902" y="208788"/>
                      <a:pt x="1118902" y="134588"/>
                    </a:cubicBezTo>
                    <a:cubicBezTo>
                      <a:pt x="1118902" y="60389"/>
                      <a:pt x="1058513" y="0"/>
                      <a:pt x="984313" y="0"/>
                    </a:cubicBezTo>
                    <a:close/>
                    <a:moveTo>
                      <a:pt x="984313" y="230791"/>
                    </a:moveTo>
                    <a:lnTo>
                      <a:pt x="134588" y="230791"/>
                    </a:lnTo>
                    <a:cubicBezTo>
                      <a:pt x="81534" y="230791"/>
                      <a:pt x="38481" y="187643"/>
                      <a:pt x="38481" y="134588"/>
                    </a:cubicBezTo>
                    <a:cubicBezTo>
                      <a:pt x="38481" y="81534"/>
                      <a:pt x="81629" y="38386"/>
                      <a:pt x="134588" y="38386"/>
                    </a:cubicBezTo>
                    <a:lnTo>
                      <a:pt x="984313" y="38386"/>
                    </a:lnTo>
                    <a:cubicBezTo>
                      <a:pt x="1037368" y="38386"/>
                      <a:pt x="1080421" y="81534"/>
                      <a:pt x="1080421" y="134588"/>
                    </a:cubicBezTo>
                    <a:cubicBezTo>
                      <a:pt x="1080421" y="187643"/>
                      <a:pt x="1037273" y="230791"/>
                      <a:pt x="984313" y="23079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3" name="Google Shape;1153;p147"/>
              <p:cNvSpPr/>
              <p:nvPr/>
            </p:nvSpPr>
            <p:spPr>
              <a:xfrm>
                <a:off x="6423183" y="3222688"/>
                <a:ext cx="146875" cy="146875"/>
              </a:xfrm>
              <a:custGeom>
                <a:avLst/>
                <a:gdLst/>
                <a:ahLst/>
                <a:cxnLst/>
                <a:rect l="l" t="t" r="r" b="b"/>
                <a:pathLst>
                  <a:path w="146875" h="146875" extrusionOk="0">
                    <a:moveTo>
                      <a:pt x="73438" y="0"/>
                    </a:moveTo>
                    <a:cubicBezTo>
                      <a:pt x="32956" y="0"/>
                      <a:pt x="0" y="32956"/>
                      <a:pt x="0" y="73438"/>
                    </a:cubicBezTo>
                    <a:cubicBezTo>
                      <a:pt x="0" y="113919"/>
                      <a:pt x="32956" y="146875"/>
                      <a:pt x="73438" y="146875"/>
                    </a:cubicBezTo>
                    <a:cubicBezTo>
                      <a:pt x="113919" y="146875"/>
                      <a:pt x="146875" y="113919"/>
                      <a:pt x="146875" y="73438"/>
                    </a:cubicBezTo>
                    <a:cubicBezTo>
                      <a:pt x="146875" y="32956"/>
                      <a:pt x="113919" y="0"/>
                      <a:pt x="73438" y="0"/>
                    </a:cubicBezTo>
                    <a:close/>
                    <a:moveTo>
                      <a:pt x="73438" y="108395"/>
                    </a:moveTo>
                    <a:cubicBezTo>
                      <a:pt x="54197" y="108395"/>
                      <a:pt x="38481" y="92678"/>
                      <a:pt x="38481" y="73438"/>
                    </a:cubicBezTo>
                    <a:cubicBezTo>
                      <a:pt x="38481" y="54197"/>
                      <a:pt x="54197" y="38481"/>
                      <a:pt x="73438" y="38481"/>
                    </a:cubicBezTo>
                    <a:cubicBezTo>
                      <a:pt x="92678" y="38481"/>
                      <a:pt x="108395" y="54197"/>
                      <a:pt x="108395" y="73438"/>
                    </a:cubicBezTo>
                    <a:cubicBezTo>
                      <a:pt x="108395" y="92678"/>
                      <a:pt x="92678" y="108395"/>
                      <a:pt x="73438" y="10839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4" name="Google Shape;1154;p147"/>
              <p:cNvSpPr/>
              <p:nvPr/>
            </p:nvSpPr>
            <p:spPr>
              <a:xfrm>
                <a:off x="5910547" y="3257740"/>
                <a:ext cx="76771" cy="76771"/>
              </a:xfrm>
              <a:custGeom>
                <a:avLst/>
                <a:gdLst/>
                <a:ahLst/>
                <a:cxnLst/>
                <a:rect l="l" t="t" r="r" b="b"/>
                <a:pathLst>
                  <a:path w="76771" h="76771" extrusionOk="0">
                    <a:moveTo>
                      <a:pt x="38386" y="0"/>
                    </a:moveTo>
                    <a:cubicBezTo>
                      <a:pt x="17240" y="0"/>
                      <a:pt x="0" y="17145"/>
                      <a:pt x="0" y="38386"/>
                    </a:cubicBezTo>
                    <a:cubicBezTo>
                      <a:pt x="0" y="59626"/>
                      <a:pt x="17145" y="76772"/>
                      <a:pt x="38386" y="76772"/>
                    </a:cubicBezTo>
                    <a:cubicBezTo>
                      <a:pt x="59627" y="76772"/>
                      <a:pt x="76772" y="59626"/>
                      <a:pt x="76772" y="38386"/>
                    </a:cubicBezTo>
                    <a:cubicBezTo>
                      <a:pt x="76772"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5" name="Google Shape;1155;p147"/>
              <p:cNvSpPr/>
              <p:nvPr/>
            </p:nvSpPr>
            <p:spPr>
              <a:xfrm>
                <a:off x="5773102" y="3257645"/>
                <a:ext cx="76771" cy="76771"/>
              </a:xfrm>
              <a:custGeom>
                <a:avLst/>
                <a:gdLst/>
                <a:ahLst/>
                <a:cxnLst/>
                <a:rect l="l" t="t" r="r" b="b"/>
                <a:pathLst>
                  <a:path w="76771" h="76771" extrusionOk="0">
                    <a:moveTo>
                      <a:pt x="76772" y="38386"/>
                    </a:moveTo>
                    <a:cubicBezTo>
                      <a:pt x="76772" y="59586"/>
                      <a:pt x="59586" y="76772"/>
                      <a:pt x="38386" y="76772"/>
                    </a:cubicBezTo>
                    <a:cubicBezTo>
                      <a:pt x="17186" y="76772"/>
                      <a:pt x="0" y="59586"/>
                      <a:pt x="0" y="38386"/>
                    </a:cubicBezTo>
                    <a:cubicBezTo>
                      <a:pt x="0" y="17186"/>
                      <a:pt x="17186" y="0"/>
                      <a:pt x="38386" y="0"/>
                    </a:cubicBezTo>
                    <a:cubicBezTo>
                      <a:pt x="59586" y="0"/>
                      <a:pt x="76772" y="17186"/>
                      <a:pt x="76772"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6" name="Google Shape;1156;p147"/>
              <p:cNvSpPr/>
              <p:nvPr/>
            </p:nvSpPr>
            <p:spPr>
              <a:xfrm>
                <a:off x="5635751" y="3257645"/>
                <a:ext cx="76771" cy="76771"/>
              </a:xfrm>
              <a:custGeom>
                <a:avLst/>
                <a:gdLst/>
                <a:ahLst/>
                <a:cxnLst/>
                <a:rect l="l" t="t" r="r" b="b"/>
                <a:pathLst>
                  <a:path w="76771" h="76771" extrusionOk="0">
                    <a:moveTo>
                      <a:pt x="76772" y="38386"/>
                    </a:moveTo>
                    <a:cubicBezTo>
                      <a:pt x="76772" y="59586"/>
                      <a:pt x="59586" y="76772"/>
                      <a:pt x="38386" y="76772"/>
                    </a:cubicBezTo>
                    <a:cubicBezTo>
                      <a:pt x="17186" y="76772"/>
                      <a:pt x="0" y="59586"/>
                      <a:pt x="0" y="38386"/>
                    </a:cubicBezTo>
                    <a:cubicBezTo>
                      <a:pt x="0" y="17186"/>
                      <a:pt x="17186" y="0"/>
                      <a:pt x="38386" y="0"/>
                    </a:cubicBezTo>
                    <a:cubicBezTo>
                      <a:pt x="59586" y="0"/>
                      <a:pt x="76772" y="17186"/>
                      <a:pt x="76772"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7" name="Google Shape;1157;p147"/>
              <p:cNvSpPr/>
              <p:nvPr/>
            </p:nvSpPr>
            <p:spPr>
              <a:xfrm>
                <a:off x="5538787" y="3494055"/>
                <a:ext cx="1118901" cy="269176"/>
              </a:xfrm>
              <a:custGeom>
                <a:avLst/>
                <a:gdLst/>
                <a:ahLst/>
                <a:cxnLst/>
                <a:rect l="l" t="t" r="r" b="b"/>
                <a:pathLst>
                  <a:path w="1118901" h="269176" extrusionOk="0">
                    <a:moveTo>
                      <a:pt x="984313" y="0"/>
                    </a:moveTo>
                    <a:lnTo>
                      <a:pt x="134588" y="0"/>
                    </a:lnTo>
                    <a:cubicBezTo>
                      <a:pt x="60389" y="0"/>
                      <a:pt x="0" y="60388"/>
                      <a:pt x="0" y="134588"/>
                    </a:cubicBezTo>
                    <a:cubicBezTo>
                      <a:pt x="0" y="208788"/>
                      <a:pt x="60389" y="269176"/>
                      <a:pt x="134588" y="269176"/>
                    </a:cubicBezTo>
                    <a:lnTo>
                      <a:pt x="984313" y="269176"/>
                    </a:lnTo>
                    <a:cubicBezTo>
                      <a:pt x="1058513" y="269176"/>
                      <a:pt x="1118902" y="208788"/>
                      <a:pt x="1118902" y="134588"/>
                    </a:cubicBezTo>
                    <a:cubicBezTo>
                      <a:pt x="1118902" y="60388"/>
                      <a:pt x="1058513" y="0"/>
                      <a:pt x="984313" y="0"/>
                    </a:cubicBezTo>
                    <a:close/>
                    <a:moveTo>
                      <a:pt x="984313" y="230696"/>
                    </a:moveTo>
                    <a:lnTo>
                      <a:pt x="134588" y="230696"/>
                    </a:lnTo>
                    <a:cubicBezTo>
                      <a:pt x="81534" y="230696"/>
                      <a:pt x="38481" y="187547"/>
                      <a:pt x="38481" y="134493"/>
                    </a:cubicBezTo>
                    <a:cubicBezTo>
                      <a:pt x="38481" y="81439"/>
                      <a:pt x="81629" y="38386"/>
                      <a:pt x="134588" y="38386"/>
                    </a:cubicBezTo>
                    <a:lnTo>
                      <a:pt x="984313" y="38386"/>
                    </a:lnTo>
                    <a:cubicBezTo>
                      <a:pt x="1037368" y="38386"/>
                      <a:pt x="1080421" y="81534"/>
                      <a:pt x="1080421" y="134493"/>
                    </a:cubicBezTo>
                    <a:cubicBezTo>
                      <a:pt x="1080421" y="187452"/>
                      <a:pt x="1037273" y="230696"/>
                      <a:pt x="984313" y="23069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8" name="Google Shape;1158;p147"/>
              <p:cNvSpPr/>
              <p:nvPr/>
            </p:nvSpPr>
            <p:spPr>
              <a:xfrm>
                <a:off x="6423183" y="3555206"/>
                <a:ext cx="146875" cy="146875"/>
              </a:xfrm>
              <a:custGeom>
                <a:avLst/>
                <a:gdLst/>
                <a:ahLst/>
                <a:cxnLst/>
                <a:rect l="l" t="t" r="r" b="b"/>
                <a:pathLst>
                  <a:path w="146875" h="146875" extrusionOk="0">
                    <a:moveTo>
                      <a:pt x="73438" y="0"/>
                    </a:moveTo>
                    <a:cubicBezTo>
                      <a:pt x="32956" y="0"/>
                      <a:pt x="0" y="32956"/>
                      <a:pt x="0" y="73438"/>
                    </a:cubicBezTo>
                    <a:cubicBezTo>
                      <a:pt x="0" y="113919"/>
                      <a:pt x="32956" y="146875"/>
                      <a:pt x="73438" y="146875"/>
                    </a:cubicBezTo>
                    <a:cubicBezTo>
                      <a:pt x="113919" y="146875"/>
                      <a:pt x="146875" y="113919"/>
                      <a:pt x="146875" y="73438"/>
                    </a:cubicBezTo>
                    <a:cubicBezTo>
                      <a:pt x="146875" y="32956"/>
                      <a:pt x="113919" y="0"/>
                      <a:pt x="73438" y="0"/>
                    </a:cubicBezTo>
                    <a:close/>
                    <a:moveTo>
                      <a:pt x="73438" y="108394"/>
                    </a:moveTo>
                    <a:cubicBezTo>
                      <a:pt x="54197" y="108394"/>
                      <a:pt x="38481" y="92678"/>
                      <a:pt x="38481" y="73438"/>
                    </a:cubicBezTo>
                    <a:cubicBezTo>
                      <a:pt x="38481" y="54197"/>
                      <a:pt x="54197" y="38481"/>
                      <a:pt x="73438" y="38481"/>
                    </a:cubicBezTo>
                    <a:cubicBezTo>
                      <a:pt x="92678" y="38481"/>
                      <a:pt x="108395" y="54197"/>
                      <a:pt x="108395" y="73438"/>
                    </a:cubicBezTo>
                    <a:cubicBezTo>
                      <a:pt x="108395" y="92678"/>
                      <a:pt x="92678" y="108394"/>
                      <a:pt x="73438" y="10839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9" name="Google Shape;1159;p147"/>
              <p:cNvSpPr/>
              <p:nvPr/>
            </p:nvSpPr>
            <p:spPr>
              <a:xfrm>
                <a:off x="5910547"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2" y="59627"/>
                      <a:pt x="76772" y="38386"/>
                    </a:cubicBezTo>
                    <a:cubicBezTo>
                      <a:pt x="76772"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0" name="Google Shape;1160;p147"/>
              <p:cNvSpPr/>
              <p:nvPr/>
            </p:nvSpPr>
            <p:spPr>
              <a:xfrm>
                <a:off x="5773102"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1" y="59627"/>
                      <a:pt x="76771" y="38386"/>
                    </a:cubicBezTo>
                    <a:cubicBezTo>
                      <a:pt x="76771"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1" name="Google Shape;1161;p147"/>
              <p:cNvSpPr/>
              <p:nvPr/>
            </p:nvSpPr>
            <p:spPr>
              <a:xfrm>
                <a:off x="5635751"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1" y="59627"/>
                      <a:pt x="76771" y="38386"/>
                    </a:cubicBezTo>
                    <a:cubicBezTo>
                      <a:pt x="76771"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162" name="Google Shape;1162;p147"/>
            <p:cNvGrpSpPr/>
            <p:nvPr/>
          </p:nvGrpSpPr>
          <p:grpSpPr>
            <a:xfrm>
              <a:off x="-589709" y="5530024"/>
              <a:ext cx="429577" cy="375691"/>
              <a:chOff x="4743450" y="2247900"/>
              <a:chExt cx="2705100" cy="2365771"/>
            </a:xfrm>
          </p:grpSpPr>
          <p:sp>
            <p:nvSpPr>
              <p:cNvPr id="1163" name="Google Shape;1163;p147"/>
              <p:cNvSpPr/>
              <p:nvPr/>
            </p:nvSpPr>
            <p:spPr>
              <a:xfrm>
                <a:off x="4743450" y="2724340"/>
                <a:ext cx="1911953" cy="1610487"/>
              </a:xfrm>
              <a:custGeom>
                <a:avLst/>
                <a:gdLst/>
                <a:ahLst/>
                <a:cxnLst/>
                <a:rect l="l" t="t" r="r" b="b"/>
                <a:pathLst>
                  <a:path w="1911953" h="1610487" extrusionOk="0">
                    <a:moveTo>
                      <a:pt x="1911953" y="1610487"/>
                    </a:moveTo>
                    <a:lnTo>
                      <a:pt x="0" y="1610487"/>
                    </a:ln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4" name="Google Shape;1164;p147"/>
              <p:cNvSpPr/>
              <p:nvPr/>
            </p:nvSpPr>
            <p:spPr>
              <a:xfrm>
                <a:off x="6973347" y="2724340"/>
                <a:ext cx="475202" cy="1610487"/>
              </a:xfrm>
              <a:custGeom>
                <a:avLst/>
                <a:gdLst/>
                <a:ahLst/>
                <a:cxnLst/>
                <a:rect l="l" t="t" r="r" b="b"/>
                <a:pathLst>
                  <a:path w="475202" h="1610487" extrusionOk="0">
                    <a:moveTo>
                      <a:pt x="475202" y="0"/>
                    </a:moveTo>
                    <a:lnTo>
                      <a:pt x="475202" y="1610487"/>
                    </a:lnTo>
                    <a:lnTo>
                      <a:pt x="0" y="1610487"/>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5" name="Google Shape;1165;p147"/>
              <p:cNvSpPr/>
              <p:nvPr/>
            </p:nvSpPr>
            <p:spPr>
              <a:xfrm>
                <a:off x="4743450" y="2247900"/>
                <a:ext cx="2705100" cy="476440"/>
              </a:xfrm>
              <a:custGeom>
                <a:avLst/>
                <a:gdLst/>
                <a:ahLst/>
                <a:cxnLst/>
                <a:rect l="l" t="t" r="r" b="b"/>
                <a:pathLst>
                  <a:path w="2705100" h="476440" extrusionOk="0">
                    <a:moveTo>
                      <a:pt x="0" y="0"/>
                    </a:moveTo>
                    <a:lnTo>
                      <a:pt x="2705100" y="0"/>
                    </a:lnTo>
                    <a:lnTo>
                      <a:pt x="2705100" y="476441"/>
                    </a:lnTo>
                    <a:lnTo>
                      <a:pt x="0" y="476441"/>
                    </a:ln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6" name="Google Shape;1166;p147"/>
              <p:cNvSpPr/>
              <p:nvPr/>
            </p:nvSpPr>
            <p:spPr>
              <a:xfrm>
                <a:off x="6658737"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7" name="Google Shape;1167;p147"/>
              <p:cNvSpPr/>
              <p:nvPr/>
            </p:nvSpPr>
            <p:spPr>
              <a:xfrm>
                <a:off x="6886194"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8" name="Google Shape;1168;p147"/>
              <p:cNvSpPr/>
              <p:nvPr/>
            </p:nvSpPr>
            <p:spPr>
              <a:xfrm>
                <a:off x="7113651"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9" name="Google Shape;1169;p147"/>
              <p:cNvSpPr/>
              <p:nvPr/>
            </p:nvSpPr>
            <p:spPr>
              <a:xfrm>
                <a:off x="5475065" y="2996850"/>
                <a:ext cx="1112329" cy="1111186"/>
              </a:xfrm>
              <a:custGeom>
                <a:avLst/>
                <a:gdLst/>
                <a:ahLst/>
                <a:cxnLst/>
                <a:rect l="l" t="t" r="r" b="b"/>
                <a:pathLst>
                  <a:path w="1112329" h="1111186" extrusionOk="0">
                    <a:moveTo>
                      <a:pt x="949452" y="162782"/>
                    </a:moveTo>
                    <a:cubicBezTo>
                      <a:pt x="1166622" y="379762"/>
                      <a:pt x="1166622" y="731520"/>
                      <a:pt x="949452" y="948500"/>
                    </a:cubicBezTo>
                    <a:cubicBezTo>
                      <a:pt x="845153" y="1052703"/>
                      <a:pt x="703707" y="1111187"/>
                      <a:pt x="556165" y="1111187"/>
                    </a:cubicBezTo>
                    <a:cubicBezTo>
                      <a:pt x="408623" y="1111187"/>
                      <a:pt x="267176" y="1052608"/>
                      <a:pt x="162878" y="948500"/>
                    </a:cubicBezTo>
                    <a:cubicBezTo>
                      <a:pt x="58579" y="844296"/>
                      <a:pt x="0" y="702945"/>
                      <a:pt x="0" y="555593"/>
                    </a:cubicBezTo>
                    <a:cubicBezTo>
                      <a:pt x="0" y="408242"/>
                      <a:pt x="58579" y="266891"/>
                      <a:pt x="162878" y="162687"/>
                    </a:cubicBezTo>
                    <a:cubicBezTo>
                      <a:pt x="267176" y="58483"/>
                      <a:pt x="408623" y="0"/>
                      <a:pt x="556165" y="0"/>
                    </a:cubicBezTo>
                    <a:cubicBezTo>
                      <a:pt x="703707" y="0"/>
                      <a:pt x="845153" y="58579"/>
                      <a:pt x="949452" y="162687"/>
                    </a:cubicBez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70" name="Google Shape;1170;p147"/>
              <p:cNvSpPr/>
              <p:nvPr/>
            </p:nvSpPr>
            <p:spPr>
              <a:xfrm>
                <a:off x="6575107" y="4095845"/>
                <a:ext cx="518302" cy="517826"/>
              </a:xfrm>
              <a:custGeom>
                <a:avLst/>
                <a:gdLst/>
                <a:ahLst/>
                <a:cxnLst/>
                <a:rect l="l" t="t" r="r" b="b"/>
                <a:pathLst>
                  <a:path w="518302" h="517826" extrusionOk="0">
                    <a:moveTo>
                      <a:pt x="0" y="158782"/>
                    </a:moveTo>
                    <a:lnTo>
                      <a:pt x="326326" y="484823"/>
                    </a:lnTo>
                    <a:cubicBezTo>
                      <a:pt x="370332" y="528828"/>
                      <a:pt x="441293" y="528828"/>
                      <a:pt x="485299" y="484823"/>
                    </a:cubicBezTo>
                    <a:cubicBezTo>
                      <a:pt x="529304" y="440817"/>
                      <a:pt x="529304" y="370046"/>
                      <a:pt x="485299" y="326041"/>
                    </a:cubicBezTo>
                    <a:lnTo>
                      <a:pt x="158972" y="0"/>
                    </a:lnTo>
                    <a:cubicBezTo>
                      <a:pt x="158972" y="0"/>
                      <a:pt x="0" y="158782"/>
                      <a:pt x="0" y="158782"/>
                    </a:cubicBez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71" name="Google Shape;1171;p147"/>
              <p:cNvSpPr/>
              <p:nvPr/>
            </p:nvSpPr>
            <p:spPr>
              <a:xfrm>
                <a:off x="6424517" y="3945350"/>
                <a:ext cx="230123" cy="229933"/>
              </a:xfrm>
              <a:custGeom>
                <a:avLst/>
                <a:gdLst/>
                <a:ahLst/>
                <a:cxnLst/>
                <a:rect l="l" t="t" r="r" b="b"/>
                <a:pathLst>
                  <a:path w="230123" h="229933" extrusionOk="0">
                    <a:moveTo>
                      <a:pt x="230124" y="229934"/>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72" name="Google Shape;1172;p147"/>
              <p:cNvSpPr/>
              <p:nvPr/>
            </p:nvSpPr>
            <p:spPr>
              <a:xfrm>
                <a:off x="5775864" y="3577494"/>
                <a:ext cx="9525" cy="174497"/>
              </a:xfrm>
              <a:custGeom>
                <a:avLst/>
                <a:gdLst/>
                <a:ahLst/>
                <a:cxnLst/>
                <a:rect l="l" t="t" r="r" b="b"/>
                <a:pathLst>
                  <a:path w="9525" h="174497" extrusionOk="0">
                    <a:moveTo>
                      <a:pt x="0" y="174498"/>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73" name="Google Shape;1173;p147"/>
              <p:cNvSpPr/>
              <p:nvPr/>
            </p:nvSpPr>
            <p:spPr>
              <a:xfrm>
                <a:off x="5946076"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74" name="Google Shape;1174;p147"/>
              <p:cNvSpPr/>
              <p:nvPr/>
            </p:nvSpPr>
            <p:spPr>
              <a:xfrm>
                <a:off x="6116288"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75" name="Google Shape;1175;p147"/>
              <p:cNvSpPr/>
              <p:nvPr/>
            </p:nvSpPr>
            <p:spPr>
              <a:xfrm>
                <a:off x="6286595" y="3352990"/>
                <a:ext cx="9525" cy="399002"/>
              </a:xfrm>
              <a:custGeom>
                <a:avLst/>
                <a:gdLst/>
                <a:ahLst/>
                <a:cxnLst/>
                <a:rect l="l" t="t" r="r" b="b"/>
                <a:pathLst>
                  <a:path w="9525" h="399002" extrusionOk="0">
                    <a:moveTo>
                      <a:pt x="0" y="399002"/>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76" name="Google Shape;1176;p147"/>
              <p:cNvSpPr/>
              <p:nvPr/>
            </p:nvSpPr>
            <p:spPr>
              <a:xfrm>
                <a:off x="6842664" y="3577494"/>
                <a:ext cx="9525" cy="174497"/>
              </a:xfrm>
              <a:custGeom>
                <a:avLst/>
                <a:gdLst/>
                <a:ahLst/>
                <a:cxnLst/>
                <a:rect l="l" t="t" r="r" b="b"/>
                <a:pathLst>
                  <a:path w="9525" h="174497" extrusionOk="0">
                    <a:moveTo>
                      <a:pt x="0" y="174498"/>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77" name="Google Shape;1177;p147"/>
              <p:cNvSpPr/>
              <p:nvPr/>
            </p:nvSpPr>
            <p:spPr>
              <a:xfrm>
                <a:off x="7012876"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78" name="Google Shape;1178;p147"/>
              <p:cNvSpPr/>
              <p:nvPr/>
            </p:nvSpPr>
            <p:spPr>
              <a:xfrm>
                <a:off x="7183088"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79" name="Google Shape;1179;p147"/>
              <p:cNvSpPr/>
              <p:nvPr/>
            </p:nvSpPr>
            <p:spPr>
              <a:xfrm>
                <a:off x="5201888"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0" name="Google Shape;1180;p147"/>
              <p:cNvSpPr/>
              <p:nvPr/>
            </p:nvSpPr>
            <p:spPr>
              <a:xfrm>
                <a:off x="5031676"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181" name="Google Shape;1181;p147"/>
            <p:cNvGrpSpPr/>
            <p:nvPr/>
          </p:nvGrpSpPr>
          <p:grpSpPr>
            <a:xfrm>
              <a:off x="-598286" y="5985180"/>
              <a:ext cx="429577" cy="397865"/>
              <a:chOff x="5643539" y="3009911"/>
              <a:chExt cx="906730" cy="839795"/>
            </a:xfrm>
          </p:grpSpPr>
          <p:grpSp>
            <p:nvGrpSpPr>
              <p:cNvPr id="1182" name="Google Shape;1182;p147"/>
              <p:cNvGrpSpPr/>
              <p:nvPr/>
            </p:nvGrpSpPr>
            <p:grpSpPr>
              <a:xfrm>
                <a:off x="5993987" y="3292410"/>
                <a:ext cx="205930" cy="274797"/>
                <a:chOff x="5993987" y="3292410"/>
                <a:chExt cx="205930" cy="274797"/>
              </a:xfrm>
            </p:grpSpPr>
            <p:sp>
              <p:nvSpPr>
                <p:cNvPr id="1183" name="Google Shape;1183;p147"/>
                <p:cNvSpPr/>
                <p:nvPr/>
              </p:nvSpPr>
              <p:spPr>
                <a:xfrm>
                  <a:off x="5993987" y="3292410"/>
                  <a:ext cx="205930" cy="274796"/>
                </a:xfrm>
                <a:custGeom>
                  <a:avLst/>
                  <a:gdLst/>
                  <a:ahLst/>
                  <a:cxnLst/>
                  <a:rect l="l" t="t" r="r" b="b"/>
                  <a:pathLst>
                    <a:path w="205930" h="274796" extrusionOk="0">
                      <a:moveTo>
                        <a:pt x="0" y="45815"/>
                      </a:moveTo>
                      <a:lnTo>
                        <a:pt x="0" y="228981"/>
                      </a:lnTo>
                      <a:cubicBezTo>
                        <a:pt x="0" y="254318"/>
                        <a:pt x="46101" y="274796"/>
                        <a:pt x="102965" y="274796"/>
                      </a:cubicBezTo>
                      <a:cubicBezTo>
                        <a:pt x="159829" y="274796"/>
                        <a:pt x="205930" y="254222"/>
                        <a:pt x="205930" y="228981"/>
                      </a:cubicBezTo>
                      <a:lnTo>
                        <a:pt x="205930" y="45815"/>
                      </a:lnTo>
                      <a:cubicBezTo>
                        <a:pt x="205930" y="20479"/>
                        <a:pt x="159829" y="0"/>
                        <a:pt x="102965" y="0"/>
                      </a:cubicBezTo>
                      <a:cubicBezTo>
                        <a:pt x="46101" y="0"/>
                        <a:pt x="0" y="20479"/>
                        <a:pt x="0" y="45815"/>
                      </a:cubicBezTo>
                      <a:close/>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4" name="Google Shape;1184;p147"/>
                <p:cNvSpPr/>
                <p:nvPr/>
              </p:nvSpPr>
              <p:spPr>
                <a:xfrm>
                  <a:off x="5993987" y="3399662"/>
                  <a:ext cx="205930" cy="45815"/>
                </a:xfrm>
                <a:custGeom>
                  <a:avLst/>
                  <a:gdLst/>
                  <a:ahLst/>
                  <a:cxnLst/>
                  <a:rect l="l" t="t" r="r" b="b"/>
                  <a:pathLst>
                    <a:path w="205930" h="45815" extrusionOk="0">
                      <a:moveTo>
                        <a:pt x="205930" y="0"/>
                      </a:moveTo>
                      <a:cubicBezTo>
                        <a:pt x="205930" y="25337"/>
                        <a:pt x="159829" y="45815"/>
                        <a:pt x="102965" y="45815"/>
                      </a:cubicBezTo>
                      <a:cubicBezTo>
                        <a:pt x="46101" y="45815"/>
                        <a:pt x="0" y="25337"/>
                        <a:pt x="0" y="0"/>
                      </a:cubicBez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5" name="Google Shape;1185;p147"/>
                <p:cNvSpPr/>
                <p:nvPr/>
              </p:nvSpPr>
              <p:spPr>
                <a:xfrm>
                  <a:off x="5993987" y="3461003"/>
                  <a:ext cx="205930" cy="45815"/>
                </a:xfrm>
                <a:custGeom>
                  <a:avLst/>
                  <a:gdLst/>
                  <a:ahLst/>
                  <a:cxnLst/>
                  <a:rect l="l" t="t" r="r" b="b"/>
                  <a:pathLst>
                    <a:path w="205930" h="45815" extrusionOk="0">
                      <a:moveTo>
                        <a:pt x="205930" y="0"/>
                      </a:moveTo>
                      <a:cubicBezTo>
                        <a:pt x="205930" y="25336"/>
                        <a:pt x="159829" y="45815"/>
                        <a:pt x="102965" y="45815"/>
                      </a:cubicBezTo>
                      <a:cubicBezTo>
                        <a:pt x="46101" y="45815"/>
                        <a:pt x="0" y="25336"/>
                        <a:pt x="0" y="0"/>
                      </a:cubicBez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6" name="Google Shape;1186;p147"/>
                <p:cNvSpPr/>
                <p:nvPr/>
              </p:nvSpPr>
              <p:spPr>
                <a:xfrm>
                  <a:off x="5993987" y="3521392"/>
                  <a:ext cx="205930" cy="45815"/>
                </a:xfrm>
                <a:custGeom>
                  <a:avLst/>
                  <a:gdLst/>
                  <a:ahLst/>
                  <a:cxnLst/>
                  <a:rect l="l" t="t" r="r" b="b"/>
                  <a:pathLst>
                    <a:path w="205930" h="45815" extrusionOk="0">
                      <a:moveTo>
                        <a:pt x="205930" y="0"/>
                      </a:moveTo>
                      <a:cubicBezTo>
                        <a:pt x="205930" y="25336"/>
                        <a:pt x="159829" y="45815"/>
                        <a:pt x="102965" y="45815"/>
                      </a:cubicBezTo>
                      <a:cubicBezTo>
                        <a:pt x="46101" y="45815"/>
                        <a:pt x="0" y="25241"/>
                        <a:pt x="0" y="0"/>
                      </a:cubicBez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7" name="Google Shape;1187;p147"/>
                <p:cNvSpPr/>
                <p:nvPr/>
              </p:nvSpPr>
              <p:spPr>
                <a:xfrm>
                  <a:off x="5993987" y="3292410"/>
                  <a:ext cx="205930" cy="91630"/>
                </a:xfrm>
                <a:custGeom>
                  <a:avLst/>
                  <a:gdLst/>
                  <a:ahLst/>
                  <a:cxnLst/>
                  <a:rect l="l" t="t" r="r" b="b"/>
                  <a:pathLst>
                    <a:path w="205930" h="91630" extrusionOk="0">
                      <a:moveTo>
                        <a:pt x="205930" y="45815"/>
                      </a:moveTo>
                      <a:cubicBezTo>
                        <a:pt x="205930" y="71152"/>
                        <a:pt x="159829" y="91630"/>
                        <a:pt x="102965" y="91630"/>
                      </a:cubicBezTo>
                      <a:cubicBezTo>
                        <a:pt x="46101" y="91630"/>
                        <a:pt x="0" y="71152"/>
                        <a:pt x="0" y="45815"/>
                      </a:cubicBezTo>
                      <a:cubicBezTo>
                        <a:pt x="0" y="20479"/>
                        <a:pt x="46101" y="0"/>
                        <a:pt x="102965" y="0"/>
                      </a:cubicBezTo>
                      <a:cubicBezTo>
                        <a:pt x="159829" y="0"/>
                        <a:pt x="205930" y="20479"/>
                        <a:pt x="205930" y="45815"/>
                      </a:cubicBezTo>
                      <a:close/>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188" name="Google Shape;1188;p147"/>
              <p:cNvGrpSpPr/>
              <p:nvPr/>
            </p:nvGrpSpPr>
            <p:grpSpPr>
              <a:xfrm>
                <a:off x="5643539" y="3009911"/>
                <a:ext cx="906730" cy="839795"/>
                <a:chOff x="5643539" y="3009911"/>
                <a:chExt cx="906730" cy="839795"/>
              </a:xfrm>
            </p:grpSpPr>
            <p:sp>
              <p:nvSpPr>
                <p:cNvPr id="1189" name="Google Shape;1189;p147"/>
                <p:cNvSpPr/>
                <p:nvPr/>
              </p:nvSpPr>
              <p:spPr>
                <a:xfrm>
                  <a:off x="5832596" y="3009911"/>
                  <a:ext cx="528711" cy="839795"/>
                </a:xfrm>
                <a:custGeom>
                  <a:avLst/>
                  <a:gdLst/>
                  <a:ahLst/>
                  <a:cxnLst/>
                  <a:rect l="l" t="t" r="r" b="b"/>
                  <a:pathLst>
                    <a:path w="528711" h="839795" extrusionOk="0">
                      <a:moveTo>
                        <a:pt x="446855" y="334983"/>
                      </a:moveTo>
                      <a:cubicBezTo>
                        <a:pt x="552487" y="562059"/>
                        <a:pt x="556392" y="784086"/>
                        <a:pt x="455618" y="831045"/>
                      </a:cubicBezTo>
                      <a:cubicBezTo>
                        <a:pt x="354843" y="877908"/>
                        <a:pt x="187489" y="731889"/>
                        <a:pt x="81857" y="504813"/>
                      </a:cubicBezTo>
                      <a:cubicBezTo>
                        <a:pt x="-23775" y="277737"/>
                        <a:pt x="-27681" y="55710"/>
                        <a:pt x="73094" y="8751"/>
                      </a:cubicBezTo>
                      <a:cubicBezTo>
                        <a:pt x="173868" y="-38112"/>
                        <a:pt x="341223" y="107907"/>
                        <a:pt x="446855" y="334983"/>
                      </a:cubicBezTo>
                      <a:close/>
                    </a:path>
                  </a:pathLst>
                </a:custGeom>
                <a:noFill/>
                <a:ln w="1270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0" name="Google Shape;1190;p147"/>
                <p:cNvSpPr/>
                <p:nvPr/>
              </p:nvSpPr>
              <p:spPr>
                <a:xfrm>
                  <a:off x="5643539" y="3228253"/>
                  <a:ext cx="906730" cy="403015"/>
                </a:xfrm>
                <a:custGeom>
                  <a:avLst/>
                  <a:gdLst/>
                  <a:ahLst/>
                  <a:cxnLst/>
                  <a:rect l="l" t="t" r="r" b="b"/>
                  <a:pathLst>
                    <a:path w="906730" h="403015" extrusionOk="0">
                      <a:moveTo>
                        <a:pt x="457794" y="245"/>
                      </a:moveTo>
                      <a:cubicBezTo>
                        <a:pt x="708111" y="5769"/>
                        <a:pt x="909184" y="100257"/>
                        <a:pt x="906707" y="211414"/>
                      </a:cubicBezTo>
                      <a:cubicBezTo>
                        <a:pt x="904231" y="322571"/>
                        <a:pt x="699348" y="408200"/>
                        <a:pt x="448936" y="402771"/>
                      </a:cubicBezTo>
                      <a:cubicBezTo>
                        <a:pt x="198619" y="397247"/>
                        <a:pt x="-2454" y="302759"/>
                        <a:pt x="23" y="191602"/>
                      </a:cubicBezTo>
                      <a:cubicBezTo>
                        <a:pt x="2499" y="80445"/>
                        <a:pt x="207382" y="-5185"/>
                        <a:pt x="457794" y="245"/>
                      </a:cubicBezTo>
                      <a:close/>
                    </a:path>
                  </a:pathLst>
                </a:custGeom>
                <a:noFill/>
                <a:ln w="1270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1" name="Google Shape;1191;p147"/>
                <p:cNvSpPr/>
                <p:nvPr/>
              </p:nvSpPr>
              <p:spPr>
                <a:xfrm>
                  <a:off x="5816914" y="3020168"/>
                  <a:ext cx="560076" cy="819251"/>
                </a:xfrm>
                <a:custGeom>
                  <a:avLst/>
                  <a:gdLst/>
                  <a:ahLst/>
                  <a:cxnLst/>
                  <a:rect l="l" t="t" r="r" b="b"/>
                  <a:pathLst>
                    <a:path w="560076" h="819251" extrusionOk="0">
                      <a:moveTo>
                        <a:pt x="103349" y="313105"/>
                      </a:moveTo>
                      <a:cubicBezTo>
                        <a:pt x="223269" y="93363"/>
                        <a:pt x="399672" y="-41701"/>
                        <a:pt x="497303" y="11639"/>
                      </a:cubicBezTo>
                      <a:cubicBezTo>
                        <a:pt x="594839" y="64884"/>
                        <a:pt x="576742" y="286245"/>
                        <a:pt x="456727" y="506082"/>
                      </a:cubicBezTo>
                      <a:cubicBezTo>
                        <a:pt x="336712" y="725919"/>
                        <a:pt x="160309" y="860888"/>
                        <a:pt x="62773" y="807643"/>
                      </a:cubicBezTo>
                      <a:cubicBezTo>
                        <a:pt x="-34763" y="754398"/>
                        <a:pt x="-16666" y="533037"/>
                        <a:pt x="103349" y="313200"/>
                      </a:cubicBezTo>
                      <a:close/>
                    </a:path>
                  </a:pathLst>
                </a:custGeom>
                <a:noFill/>
                <a:ln w="1270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grpSp>
      <p:grpSp>
        <p:nvGrpSpPr>
          <p:cNvPr id="1192" name="Google Shape;1192;p147"/>
          <p:cNvGrpSpPr/>
          <p:nvPr/>
        </p:nvGrpSpPr>
        <p:grpSpPr>
          <a:xfrm>
            <a:off x="10445020" y="1216229"/>
            <a:ext cx="257752" cy="276183"/>
            <a:chOff x="5538787" y="2828925"/>
            <a:chExt cx="1118901" cy="1198911"/>
          </a:xfrm>
        </p:grpSpPr>
        <p:sp>
          <p:nvSpPr>
            <p:cNvPr id="1193" name="Google Shape;1193;p147"/>
            <p:cNvSpPr/>
            <p:nvPr/>
          </p:nvSpPr>
          <p:spPr>
            <a:xfrm>
              <a:off x="5555931" y="3801522"/>
              <a:ext cx="1084611" cy="226314"/>
            </a:xfrm>
            <a:custGeom>
              <a:avLst/>
              <a:gdLst/>
              <a:ahLst/>
              <a:cxnLst/>
              <a:rect l="l" t="t" r="r" b="b"/>
              <a:pathLst>
                <a:path w="1084611" h="226314" extrusionOk="0">
                  <a:moveTo>
                    <a:pt x="1065371" y="132207"/>
                  </a:moveTo>
                  <a:lnTo>
                    <a:pt x="614363" y="132207"/>
                  </a:lnTo>
                  <a:cubicBezTo>
                    <a:pt x="607505" y="106394"/>
                    <a:pt x="587312" y="86201"/>
                    <a:pt x="561499" y="79343"/>
                  </a:cubicBezTo>
                  <a:lnTo>
                    <a:pt x="561499" y="19240"/>
                  </a:lnTo>
                  <a:cubicBezTo>
                    <a:pt x="561499" y="8668"/>
                    <a:pt x="552926" y="0"/>
                    <a:pt x="542258" y="0"/>
                  </a:cubicBezTo>
                  <a:cubicBezTo>
                    <a:pt x="531590" y="0"/>
                    <a:pt x="523018" y="8573"/>
                    <a:pt x="523018" y="19240"/>
                  </a:cubicBezTo>
                  <a:lnTo>
                    <a:pt x="523018" y="79343"/>
                  </a:lnTo>
                  <a:cubicBezTo>
                    <a:pt x="497300" y="86201"/>
                    <a:pt x="477107" y="106394"/>
                    <a:pt x="470154" y="132207"/>
                  </a:cubicBezTo>
                  <a:lnTo>
                    <a:pt x="19241" y="132207"/>
                  </a:lnTo>
                  <a:cubicBezTo>
                    <a:pt x="8668" y="132207"/>
                    <a:pt x="0" y="140779"/>
                    <a:pt x="0" y="151448"/>
                  </a:cubicBezTo>
                  <a:cubicBezTo>
                    <a:pt x="0" y="162115"/>
                    <a:pt x="8573" y="170688"/>
                    <a:pt x="19241" y="170688"/>
                  </a:cubicBezTo>
                  <a:lnTo>
                    <a:pt x="470249" y="170688"/>
                  </a:lnTo>
                  <a:cubicBezTo>
                    <a:pt x="478822" y="202597"/>
                    <a:pt x="507683" y="226314"/>
                    <a:pt x="542258" y="226314"/>
                  </a:cubicBezTo>
                  <a:cubicBezTo>
                    <a:pt x="576834" y="226314"/>
                    <a:pt x="605790" y="202597"/>
                    <a:pt x="614363" y="170688"/>
                  </a:cubicBezTo>
                  <a:lnTo>
                    <a:pt x="1065371" y="170688"/>
                  </a:lnTo>
                  <a:cubicBezTo>
                    <a:pt x="1075944" y="170688"/>
                    <a:pt x="1084612" y="162115"/>
                    <a:pt x="1084612" y="151448"/>
                  </a:cubicBezTo>
                  <a:cubicBezTo>
                    <a:pt x="1084612" y="140779"/>
                    <a:pt x="1076039" y="132207"/>
                    <a:pt x="1065371" y="132207"/>
                  </a:cubicBezTo>
                  <a:close/>
                  <a:moveTo>
                    <a:pt x="542258" y="187833"/>
                  </a:moveTo>
                  <a:cubicBezTo>
                    <a:pt x="522161" y="187833"/>
                    <a:pt x="505873" y="171450"/>
                    <a:pt x="505873" y="151352"/>
                  </a:cubicBezTo>
                  <a:cubicBezTo>
                    <a:pt x="505873" y="131254"/>
                    <a:pt x="522256" y="114871"/>
                    <a:pt x="542258" y="114871"/>
                  </a:cubicBezTo>
                  <a:cubicBezTo>
                    <a:pt x="562261" y="114871"/>
                    <a:pt x="578739" y="131254"/>
                    <a:pt x="578739" y="151352"/>
                  </a:cubicBezTo>
                  <a:cubicBezTo>
                    <a:pt x="578739" y="171450"/>
                    <a:pt x="562356" y="187833"/>
                    <a:pt x="542258" y="18783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4" name="Google Shape;1194;p147"/>
            <p:cNvSpPr/>
            <p:nvPr/>
          </p:nvSpPr>
          <p:spPr>
            <a:xfrm>
              <a:off x="5538787" y="2828925"/>
              <a:ext cx="1118901" cy="269176"/>
            </a:xfrm>
            <a:custGeom>
              <a:avLst/>
              <a:gdLst/>
              <a:ahLst/>
              <a:cxnLst/>
              <a:rect l="l" t="t" r="r" b="b"/>
              <a:pathLst>
                <a:path w="1118901" h="269176" extrusionOk="0">
                  <a:moveTo>
                    <a:pt x="134588" y="269177"/>
                  </a:moveTo>
                  <a:lnTo>
                    <a:pt x="984313" y="269177"/>
                  </a:lnTo>
                  <a:cubicBezTo>
                    <a:pt x="1058513" y="269177"/>
                    <a:pt x="1118902" y="208788"/>
                    <a:pt x="1118902" y="134588"/>
                  </a:cubicBezTo>
                  <a:cubicBezTo>
                    <a:pt x="1118902" y="60389"/>
                    <a:pt x="1058513" y="0"/>
                    <a:pt x="984313" y="0"/>
                  </a:cubicBezTo>
                  <a:lnTo>
                    <a:pt x="134588" y="0"/>
                  </a:lnTo>
                  <a:cubicBezTo>
                    <a:pt x="60389" y="0"/>
                    <a:pt x="0" y="60389"/>
                    <a:pt x="0" y="134588"/>
                  </a:cubicBezTo>
                  <a:cubicBezTo>
                    <a:pt x="0" y="208788"/>
                    <a:pt x="60389" y="269177"/>
                    <a:pt x="134588" y="269177"/>
                  </a:cubicBezTo>
                  <a:close/>
                  <a:moveTo>
                    <a:pt x="134588" y="38386"/>
                  </a:moveTo>
                  <a:lnTo>
                    <a:pt x="984313" y="38386"/>
                  </a:lnTo>
                  <a:cubicBezTo>
                    <a:pt x="1037368" y="38386"/>
                    <a:pt x="1080421" y="81534"/>
                    <a:pt x="1080421" y="134588"/>
                  </a:cubicBezTo>
                  <a:cubicBezTo>
                    <a:pt x="1080421" y="187643"/>
                    <a:pt x="1037273" y="230791"/>
                    <a:pt x="984313" y="230791"/>
                  </a:cubicBezTo>
                  <a:lnTo>
                    <a:pt x="134588" y="230791"/>
                  </a:lnTo>
                  <a:cubicBezTo>
                    <a:pt x="81534" y="230791"/>
                    <a:pt x="38481" y="187643"/>
                    <a:pt x="38481" y="134588"/>
                  </a:cubicBezTo>
                  <a:cubicBezTo>
                    <a:pt x="38481" y="81534"/>
                    <a:pt x="81534" y="38386"/>
                    <a:pt x="134588"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5" name="Google Shape;1195;p147"/>
            <p:cNvSpPr/>
            <p:nvPr/>
          </p:nvSpPr>
          <p:spPr>
            <a:xfrm>
              <a:off x="6423183" y="2890075"/>
              <a:ext cx="146875" cy="146875"/>
            </a:xfrm>
            <a:custGeom>
              <a:avLst/>
              <a:gdLst/>
              <a:ahLst/>
              <a:cxnLst/>
              <a:rect l="l" t="t" r="r" b="b"/>
              <a:pathLst>
                <a:path w="146875" h="146875" extrusionOk="0">
                  <a:moveTo>
                    <a:pt x="73438" y="146876"/>
                  </a:moveTo>
                  <a:cubicBezTo>
                    <a:pt x="113919" y="146876"/>
                    <a:pt x="146875" y="113919"/>
                    <a:pt x="146875" y="73438"/>
                  </a:cubicBezTo>
                  <a:cubicBezTo>
                    <a:pt x="146875" y="32957"/>
                    <a:pt x="113919" y="0"/>
                    <a:pt x="73438" y="0"/>
                  </a:cubicBezTo>
                  <a:cubicBezTo>
                    <a:pt x="32956" y="0"/>
                    <a:pt x="0" y="32957"/>
                    <a:pt x="0" y="73438"/>
                  </a:cubicBezTo>
                  <a:cubicBezTo>
                    <a:pt x="0" y="113919"/>
                    <a:pt x="32956" y="146876"/>
                    <a:pt x="73438" y="146876"/>
                  </a:cubicBezTo>
                  <a:close/>
                  <a:moveTo>
                    <a:pt x="73438" y="38481"/>
                  </a:moveTo>
                  <a:cubicBezTo>
                    <a:pt x="92678" y="38481"/>
                    <a:pt x="108395" y="54197"/>
                    <a:pt x="108395" y="73438"/>
                  </a:cubicBezTo>
                  <a:cubicBezTo>
                    <a:pt x="108395" y="92678"/>
                    <a:pt x="92678" y="108394"/>
                    <a:pt x="73438" y="108394"/>
                  </a:cubicBezTo>
                  <a:cubicBezTo>
                    <a:pt x="54197" y="108394"/>
                    <a:pt x="38481" y="92678"/>
                    <a:pt x="38481" y="73438"/>
                  </a:cubicBezTo>
                  <a:cubicBezTo>
                    <a:pt x="38481" y="54197"/>
                    <a:pt x="54197" y="38481"/>
                    <a:pt x="73438" y="3848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6" name="Google Shape;1196;p147"/>
            <p:cNvSpPr/>
            <p:nvPr/>
          </p:nvSpPr>
          <p:spPr>
            <a:xfrm>
              <a:off x="5910547" y="2925127"/>
              <a:ext cx="76771" cy="76771"/>
            </a:xfrm>
            <a:custGeom>
              <a:avLst/>
              <a:gdLst/>
              <a:ahLst/>
              <a:cxnLst/>
              <a:rect l="l" t="t" r="r" b="b"/>
              <a:pathLst>
                <a:path w="76771" h="76771" extrusionOk="0">
                  <a:moveTo>
                    <a:pt x="38386" y="76771"/>
                  </a:moveTo>
                  <a:cubicBezTo>
                    <a:pt x="59531" y="76771"/>
                    <a:pt x="76772" y="59627"/>
                    <a:pt x="76772" y="38386"/>
                  </a:cubicBezTo>
                  <a:cubicBezTo>
                    <a:pt x="76772"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7" name="Google Shape;1197;p147"/>
            <p:cNvSpPr/>
            <p:nvPr/>
          </p:nvSpPr>
          <p:spPr>
            <a:xfrm>
              <a:off x="5773102" y="2925127"/>
              <a:ext cx="76771" cy="76771"/>
            </a:xfrm>
            <a:custGeom>
              <a:avLst/>
              <a:gdLst/>
              <a:ahLst/>
              <a:cxnLst/>
              <a:rect l="l" t="t" r="r" b="b"/>
              <a:pathLst>
                <a:path w="76771" h="76771" extrusionOk="0">
                  <a:moveTo>
                    <a:pt x="38386" y="76771"/>
                  </a:moveTo>
                  <a:cubicBezTo>
                    <a:pt x="59531" y="76771"/>
                    <a:pt x="76771" y="59627"/>
                    <a:pt x="76771" y="38386"/>
                  </a:cubicBezTo>
                  <a:cubicBezTo>
                    <a:pt x="76771"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8" name="Google Shape;1198;p147"/>
            <p:cNvSpPr/>
            <p:nvPr/>
          </p:nvSpPr>
          <p:spPr>
            <a:xfrm>
              <a:off x="5635751" y="2925127"/>
              <a:ext cx="76771" cy="76771"/>
            </a:xfrm>
            <a:custGeom>
              <a:avLst/>
              <a:gdLst/>
              <a:ahLst/>
              <a:cxnLst/>
              <a:rect l="l" t="t" r="r" b="b"/>
              <a:pathLst>
                <a:path w="76771" h="76771" extrusionOk="0">
                  <a:moveTo>
                    <a:pt x="38386" y="76771"/>
                  </a:moveTo>
                  <a:cubicBezTo>
                    <a:pt x="59531" y="76771"/>
                    <a:pt x="76771" y="59627"/>
                    <a:pt x="76771" y="38386"/>
                  </a:cubicBezTo>
                  <a:cubicBezTo>
                    <a:pt x="76771" y="17145"/>
                    <a:pt x="59627" y="0"/>
                    <a:pt x="38386" y="0"/>
                  </a:cubicBezTo>
                  <a:cubicBezTo>
                    <a:pt x="17145" y="0"/>
                    <a:pt x="0" y="17145"/>
                    <a:pt x="0" y="38386"/>
                  </a:cubicBezTo>
                  <a:cubicBezTo>
                    <a:pt x="0" y="59627"/>
                    <a:pt x="17145" y="76771"/>
                    <a:pt x="38386" y="7677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9" name="Google Shape;1199;p147"/>
            <p:cNvSpPr/>
            <p:nvPr/>
          </p:nvSpPr>
          <p:spPr>
            <a:xfrm>
              <a:off x="5538787" y="3161442"/>
              <a:ext cx="1118901" cy="269176"/>
            </a:xfrm>
            <a:custGeom>
              <a:avLst/>
              <a:gdLst/>
              <a:ahLst/>
              <a:cxnLst/>
              <a:rect l="l" t="t" r="r" b="b"/>
              <a:pathLst>
                <a:path w="1118901" h="269176" extrusionOk="0">
                  <a:moveTo>
                    <a:pt x="984313" y="0"/>
                  </a:moveTo>
                  <a:lnTo>
                    <a:pt x="134588" y="0"/>
                  </a:lnTo>
                  <a:cubicBezTo>
                    <a:pt x="60389" y="0"/>
                    <a:pt x="0" y="60389"/>
                    <a:pt x="0" y="134588"/>
                  </a:cubicBezTo>
                  <a:cubicBezTo>
                    <a:pt x="0" y="208788"/>
                    <a:pt x="60389" y="269176"/>
                    <a:pt x="134588" y="269176"/>
                  </a:cubicBezTo>
                  <a:lnTo>
                    <a:pt x="984313" y="269176"/>
                  </a:lnTo>
                  <a:cubicBezTo>
                    <a:pt x="1058513" y="269176"/>
                    <a:pt x="1118902" y="208788"/>
                    <a:pt x="1118902" y="134588"/>
                  </a:cubicBezTo>
                  <a:cubicBezTo>
                    <a:pt x="1118902" y="60389"/>
                    <a:pt x="1058513" y="0"/>
                    <a:pt x="984313" y="0"/>
                  </a:cubicBezTo>
                  <a:close/>
                  <a:moveTo>
                    <a:pt x="984313" y="230791"/>
                  </a:moveTo>
                  <a:lnTo>
                    <a:pt x="134588" y="230791"/>
                  </a:lnTo>
                  <a:cubicBezTo>
                    <a:pt x="81534" y="230791"/>
                    <a:pt x="38481" y="187643"/>
                    <a:pt x="38481" y="134588"/>
                  </a:cubicBezTo>
                  <a:cubicBezTo>
                    <a:pt x="38481" y="81534"/>
                    <a:pt x="81629" y="38386"/>
                    <a:pt x="134588" y="38386"/>
                  </a:cubicBezTo>
                  <a:lnTo>
                    <a:pt x="984313" y="38386"/>
                  </a:lnTo>
                  <a:cubicBezTo>
                    <a:pt x="1037368" y="38386"/>
                    <a:pt x="1080421" y="81534"/>
                    <a:pt x="1080421" y="134588"/>
                  </a:cubicBezTo>
                  <a:cubicBezTo>
                    <a:pt x="1080421" y="187643"/>
                    <a:pt x="1037273" y="230791"/>
                    <a:pt x="984313" y="23079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0" name="Google Shape;1200;p147"/>
            <p:cNvSpPr/>
            <p:nvPr/>
          </p:nvSpPr>
          <p:spPr>
            <a:xfrm>
              <a:off x="6423183" y="3222688"/>
              <a:ext cx="146875" cy="146875"/>
            </a:xfrm>
            <a:custGeom>
              <a:avLst/>
              <a:gdLst/>
              <a:ahLst/>
              <a:cxnLst/>
              <a:rect l="l" t="t" r="r" b="b"/>
              <a:pathLst>
                <a:path w="146875" h="146875" extrusionOk="0">
                  <a:moveTo>
                    <a:pt x="73438" y="0"/>
                  </a:moveTo>
                  <a:cubicBezTo>
                    <a:pt x="32956" y="0"/>
                    <a:pt x="0" y="32956"/>
                    <a:pt x="0" y="73438"/>
                  </a:cubicBezTo>
                  <a:cubicBezTo>
                    <a:pt x="0" y="113919"/>
                    <a:pt x="32956" y="146875"/>
                    <a:pt x="73438" y="146875"/>
                  </a:cubicBezTo>
                  <a:cubicBezTo>
                    <a:pt x="113919" y="146875"/>
                    <a:pt x="146875" y="113919"/>
                    <a:pt x="146875" y="73438"/>
                  </a:cubicBezTo>
                  <a:cubicBezTo>
                    <a:pt x="146875" y="32956"/>
                    <a:pt x="113919" y="0"/>
                    <a:pt x="73438" y="0"/>
                  </a:cubicBezTo>
                  <a:close/>
                  <a:moveTo>
                    <a:pt x="73438" y="108395"/>
                  </a:moveTo>
                  <a:cubicBezTo>
                    <a:pt x="54197" y="108395"/>
                    <a:pt x="38481" y="92678"/>
                    <a:pt x="38481" y="73438"/>
                  </a:cubicBezTo>
                  <a:cubicBezTo>
                    <a:pt x="38481" y="54197"/>
                    <a:pt x="54197" y="38481"/>
                    <a:pt x="73438" y="38481"/>
                  </a:cubicBezTo>
                  <a:cubicBezTo>
                    <a:pt x="92678" y="38481"/>
                    <a:pt x="108395" y="54197"/>
                    <a:pt x="108395" y="73438"/>
                  </a:cubicBezTo>
                  <a:cubicBezTo>
                    <a:pt x="108395" y="92678"/>
                    <a:pt x="92678" y="108395"/>
                    <a:pt x="73438" y="10839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1" name="Google Shape;1201;p147"/>
            <p:cNvSpPr/>
            <p:nvPr/>
          </p:nvSpPr>
          <p:spPr>
            <a:xfrm>
              <a:off x="5910547" y="3257740"/>
              <a:ext cx="76771" cy="76771"/>
            </a:xfrm>
            <a:custGeom>
              <a:avLst/>
              <a:gdLst/>
              <a:ahLst/>
              <a:cxnLst/>
              <a:rect l="l" t="t" r="r" b="b"/>
              <a:pathLst>
                <a:path w="76771" h="76771" extrusionOk="0">
                  <a:moveTo>
                    <a:pt x="38386" y="0"/>
                  </a:moveTo>
                  <a:cubicBezTo>
                    <a:pt x="17240" y="0"/>
                    <a:pt x="0" y="17145"/>
                    <a:pt x="0" y="38386"/>
                  </a:cubicBezTo>
                  <a:cubicBezTo>
                    <a:pt x="0" y="59626"/>
                    <a:pt x="17145" y="76772"/>
                    <a:pt x="38386" y="76772"/>
                  </a:cubicBezTo>
                  <a:cubicBezTo>
                    <a:pt x="59627" y="76772"/>
                    <a:pt x="76772" y="59626"/>
                    <a:pt x="76772" y="38386"/>
                  </a:cubicBezTo>
                  <a:cubicBezTo>
                    <a:pt x="76772"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2" name="Google Shape;1202;p147"/>
            <p:cNvSpPr/>
            <p:nvPr/>
          </p:nvSpPr>
          <p:spPr>
            <a:xfrm>
              <a:off x="5773102" y="3257645"/>
              <a:ext cx="76771" cy="76771"/>
            </a:xfrm>
            <a:custGeom>
              <a:avLst/>
              <a:gdLst/>
              <a:ahLst/>
              <a:cxnLst/>
              <a:rect l="l" t="t" r="r" b="b"/>
              <a:pathLst>
                <a:path w="76771" h="76771" extrusionOk="0">
                  <a:moveTo>
                    <a:pt x="76772" y="38386"/>
                  </a:moveTo>
                  <a:cubicBezTo>
                    <a:pt x="76772" y="59586"/>
                    <a:pt x="59586" y="76772"/>
                    <a:pt x="38386" y="76772"/>
                  </a:cubicBezTo>
                  <a:cubicBezTo>
                    <a:pt x="17186" y="76772"/>
                    <a:pt x="0" y="59586"/>
                    <a:pt x="0" y="38386"/>
                  </a:cubicBezTo>
                  <a:cubicBezTo>
                    <a:pt x="0" y="17186"/>
                    <a:pt x="17186" y="0"/>
                    <a:pt x="38386" y="0"/>
                  </a:cubicBezTo>
                  <a:cubicBezTo>
                    <a:pt x="59586" y="0"/>
                    <a:pt x="76772" y="17186"/>
                    <a:pt x="76772"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3" name="Google Shape;1203;p147"/>
            <p:cNvSpPr/>
            <p:nvPr/>
          </p:nvSpPr>
          <p:spPr>
            <a:xfrm>
              <a:off x="5635751" y="3257645"/>
              <a:ext cx="76771" cy="76771"/>
            </a:xfrm>
            <a:custGeom>
              <a:avLst/>
              <a:gdLst/>
              <a:ahLst/>
              <a:cxnLst/>
              <a:rect l="l" t="t" r="r" b="b"/>
              <a:pathLst>
                <a:path w="76771" h="76771" extrusionOk="0">
                  <a:moveTo>
                    <a:pt x="76772" y="38386"/>
                  </a:moveTo>
                  <a:cubicBezTo>
                    <a:pt x="76772" y="59586"/>
                    <a:pt x="59586" y="76772"/>
                    <a:pt x="38386" y="76772"/>
                  </a:cubicBezTo>
                  <a:cubicBezTo>
                    <a:pt x="17186" y="76772"/>
                    <a:pt x="0" y="59586"/>
                    <a:pt x="0" y="38386"/>
                  </a:cubicBezTo>
                  <a:cubicBezTo>
                    <a:pt x="0" y="17186"/>
                    <a:pt x="17186" y="0"/>
                    <a:pt x="38386" y="0"/>
                  </a:cubicBezTo>
                  <a:cubicBezTo>
                    <a:pt x="59586" y="0"/>
                    <a:pt x="76772" y="17186"/>
                    <a:pt x="76772" y="383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4" name="Google Shape;1204;p147"/>
            <p:cNvSpPr/>
            <p:nvPr/>
          </p:nvSpPr>
          <p:spPr>
            <a:xfrm>
              <a:off x="5538787" y="3494055"/>
              <a:ext cx="1118901" cy="269176"/>
            </a:xfrm>
            <a:custGeom>
              <a:avLst/>
              <a:gdLst/>
              <a:ahLst/>
              <a:cxnLst/>
              <a:rect l="l" t="t" r="r" b="b"/>
              <a:pathLst>
                <a:path w="1118901" h="269176" extrusionOk="0">
                  <a:moveTo>
                    <a:pt x="984313" y="0"/>
                  </a:moveTo>
                  <a:lnTo>
                    <a:pt x="134588" y="0"/>
                  </a:lnTo>
                  <a:cubicBezTo>
                    <a:pt x="60389" y="0"/>
                    <a:pt x="0" y="60388"/>
                    <a:pt x="0" y="134588"/>
                  </a:cubicBezTo>
                  <a:cubicBezTo>
                    <a:pt x="0" y="208788"/>
                    <a:pt x="60389" y="269176"/>
                    <a:pt x="134588" y="269176"/>
                  </a:cubicBezTo>
                  <a:lnTo>
                    <a:pt x="984313" y="269176"/>
                  </a:lnTo>
                  <a:cubicBezTo>
                    <a:pt x="1058513" y="269176"/>
                    <a:pt x="1118902" y="208788"/>
                    <a:pt x="1118902" y="134588"/>
                  </a:cubicBezTo>
                  <a:cubicBezTo>
                    <a:pt x="1118902" y="60388"/>
                    <a:pt x="1058513" y="0"/>
                    <a:pt x="984313" y="0"/>
                  </a:cubicBezTo>
                  <a:close/>
                  <a:moveTo>
                    <a:pt x="984313" y="230696"/>
                  </a:moveTo>
                  <a:lnTo>
                    <a:pt x="134588" y="230696"/>
                  </a:lnTo>
                  <a:cubicBezTo>
                    <a:pt x="81534" y="230696"/>
                    <a:pt x="38481" y="187547"/>
                    <a:pt x="38481" y="134493"/>
                  </a:cubicBezTo>
                  <a:cubicBezTo>
                    <a:pt x="38481" y="81439"/>
                    <a:pt x="81629" y="38386"/>
                    <a:pt x="134588" y="38386"/>
                  </a:cubicBezTo>
                  <a:lnTo>
                    <a:pt x="984313" y="38386"/>
                  </a:lnTo>
                  <a:cubicBezTo>
                    <a:pt x="1037368" y="38386"/>
                    <a:pt x="1080421" y="81534"/>
                    <a:pt x="1080421" y="134493"/>
                  </a:cubicBezTo>
                  <a:cubicBezTo>
                    <a:pt x="1080421" y="187452"/>
                    <a:pt x="1037273" y="230696"/>
                    <a:pt x="984313" y="23069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5" name="Google Shape;1205;p147"/>
            <p:cNvSpPr/>
            <p:nvPr/>
          </p:nvSpPr>
          <p:spPr>
            <a:xfrm>
              <a:off x="6423183" y="3555206"/>
              <a:ext cx="146875" cy="146875"/>
            </a:xfrm>
            <a:custGeom>
              <a:avLst/>
              <a:gdLst/>
              <a:ahLst/>
              <a:cxnLst/>
              <a:rect l="l" t="t" r="r" b="b"/>
              <a:pathLst>
                <a:path w="146875" h="146875" extrusionOk="0">
                  <a:moveTo>
                    <a:pt x="73438" y="0"/>
                  </a:moveTo>
                  <a:cubicBezTo>
                    <a:pt x="32956" y="0"/>
                    <a:pt x="0" y="32956"/>
                    <a:pt x="0" y="73438"/>
                  </a:cubicBezTo>
                  <a:cubicBezTo>
                    <a:pt x="0" y="113919"/>
                    <a:pt x="32956" y="146875"/>
                    <a:pt x="73438" y="146875"/>
                  </a:cubicBezTo>
                  <a:cubicBezTo>
                    <a:pt x="113919" y="146875"/>
                    <a:pt x="146875" y="113919"/>
                    <a:pt x="146875" y="73438"/>
                  </a:cubicBezTo>
                  <a:cubicBezTo>
                    <a:pt x="146875" y="32956"/>
                    <a:pt x="113919" y="0"/>
                    <a:pt x="73438" y="0"/>
                  </a:cubicBezTo>
                  <a:close/>
                  <a:moveTo>
                    <a:pt x="73438" y="108394"/>
                  </a:moveTo>
                  <a:cubicBezTo>
                    <a:pt x="54197" y="108394"/>
                    <a:pt x="38481" y="92678"/>
                    <a:pt x="38481" y="73438"/>
                  </a:cubicBezTo>
                  <a:cubicBezTo>
                    <a:pt x="38481" y="54197"/>
                    <a:pt x="54197" y="38481"/>
                    <a:pt x="73438" y="38481"/>
                  </a:cubicBezTo>
                  <a:cubicBezTo>
                    <a:pt x="92678" y="38481"/>
                    <a:pt x="108395" y="54197"/>
                    <a:pt x="108395" y="73438"/>
                  </a:cubicBezTo>
                  <a:cubicBezTo>
                    <a:pt x="108395" y="92678"/>
                    <a:pt x="92678" y="108394"/>
                    <a:pt x="73438" y="10839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6" name="Google Shape;1206;p147"/>
            <p:cNvSpPr/>
            <p:nvPr/>
          </p:nvSpPr>
          <p:spPr>
            <a:xfrm>
              <a:off x="5910547"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2" y="59627"/>
                    <a:pt x="76772" y="38386"/>
                  </a:cubicBezTo>
                  <a:cubicBezTo>
                    <a:pt x="76772"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7" name="Google Shape;1207;p147"/>
            <p:cNvSpPr/>
            <p:nvPr/>
          </p:nvSpPr>
          <p:spPr>
            <a:xfrm>
              <a:off x="5773102"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1" y="59627"/>
                    <a:pt x="76771" y="38386"/>
                  </a:cubicBezTo>
                  <a:cubicBezTo>
                    <a:pt x="76771"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8" name="Google Shape;1208;p147"/>
            <p:cNvSpPr/>
            <p:nvPr/>
          </p:nvSpPr>
          <p:spPr>
            <a:xfrm>
              <a:off x="5635751" y="3590258"/>
              <a:ext cx="76771" cy="76771"/>
            </a:xfrm>
            <a:custGeom>
              <a:avLst/>
              <a:gdLst/>
              <a:ahLst/>
              <a:cxnLst/>
              <a:rect l="l" t="t" r="r" b="b"/>
              <a:pathLst>
                <a:path w="76771" h="76771" extrusionOk="0">
                  <a:moveTo>
                    <a:pt x="38386" y="0"/>
                  </a:moveTo>
                  <a:cubicBezTo>
                    <a:pt x="17240" y="0"/>
                    <a:pt x="0" y="17145"/>
                    <a:pt x="0" y="38386"/>
                  </a:cubicBezTo>
                  <a:cubicBezTo>
                    <a:pt x="0" y="59627"/>
                    <a:pt x="17145" y="76771"/>
                    <a:pt x="38386" y="76771"/>
                  </a:cubicBezTo>
                  <a:cubicBezTo>
                    <a:pt x="59627" y="76771"/>
                    <a:pt x="76771" y="59627"/>
                    <a:pt x="76771" y="38386"/>
                  </a:cubicBezTo>
                  <a:cubicBezTo>
                    <a:pt x="76771" y="17145"/>
                    <a:pt x="59627" y="0"/>
                    <a:pt x="3838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209" name="Google Shape;1209;p147"/>
          <p:cNvGrpSpPr/>
          <p:nvPr/>
        </p:nvGrpSpPr>
        <p:grpSpPr>
          <a:xfrm>
            <a:off x="10435478" y="1800527"/>
            <a:ext cx="284814" cy="249087"/>
            <a:chOff x="4743450" y="2247900"/>
            <a:chExt cx="2705100" cy="2365771"/>
          </a:xfrm>
        </p:grpSpPr>
        <p:sp>
          <p:nvSpPr>
            <p:cNvPr id="1210" name="Google Shape;1210;p147"/>
            <p:cNvSpPr/>
            <p:nvPr/>
          </p:nvSpPr>
          <p:spPr>
            <a:xfrm>
              <a:off x="4743450" y="2724340"/>
              <a:ext cx="1911953" cy="1610487"/>
            </a:xfrm>
            <a:custGeom>
              <a:avLst/>
              <a:gdLst/>
              <a:ahLst/>
              <a:cxnLst/>
              <a:rect l="l" t="t" r="r" b="b"/>
              <a:pathLst>
                <a:path w="1911953" h="1610487" extrusionOk="0">
                  <a:moveTo>
                    <a:pt x="1911953" y="1610487"/>
                  </a:moveTo>
                  <a:lnTo>
                    <a:pt x="0" y="1610487"/>
                  </a:ln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1" name="Google Shape;1211;p147"/>
            <p:cNvSpPr/>
            <p:nvPr/>
          </p:nvSpPr>
          <p:spPr>
            <a:xfrm>
              <a:off x="6973347" y="2724340"/>
              <a:ext cx="475202" cy="1610487"/>
            </a:xfrm>
            <a:custGeom>
              <a:avLst/>
              <a:gdLst/>
              <a:ahLst/>
              <a:cxnLst/>
              <a:rect l="l" t="t" r="r" b="b"/>
              <a:pathLst>
                <a:path w="475202" h="1610487" extrusionOk="0">
                  <a:moveTo>
                    <a:pt x="475202" y="0"/>
                  </a:moveTo>
                  <a:lnTo>
                    <a:pt x="475202" y="1610487"/>
                  </a:lnTo>
                  <a:lnTo>
                    <a:pt x="0" y="1610487"/>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2" name="Google Shape;1212;p147"/>
            <p:cNvSpPr/>
            <p:nvPr/>
          </p:nvSpPr>
          <p:spPr>
            <a:xfrm>
              <a:off x="4743450" y="2247900"/>
              <a:ext cx="2705100" cy="476440"/>
            </a:xfrm>
            <a:custGeom>
              <a:avLst/>
              <a:gdLst/>
              <a:ahLst/>
              <a:cxnLst/>
              <a:rect l="l" t="t" r="r" b="b"/>
              <a:pathLst>
                <a:path w="2705100" h="476440" extrusionOk="0">
                  <a:moveTo>
                    <a:pt x="0" y="0"/>
                  </a:moveTo>
                  <a:lnTo>
                    <a:pt x="2705100" y="0"/>
                  </a:lnTo>
                  <a:lnTo>
                    <a:pt x="2705100" y="476441"/>
                  </a:lnTo>
                  <a:lnTo>
                    <a:pt x="0" y="476441"/>
                  </a:ln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3" name="Google Shape;1213;p147"/>
            <p:cNvSpPr/>
            <p:nvPr/>
          </p:nvSpPr>
          <p:spPr>
            <a:xfrm>
              <a:off x="6658737"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4" name="Google Shape;1214;p147"/>
            <p:cNvSpPr/>
            <p:nvPr/>
          </p:nvSpPr>
          <p:spPr>
            <a:xfrm>
              <a:off x="6886194"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5" name="Google Shape;1215;p147"/>
            <p:cNvSpPr/>
            <p:nvPr/>
          </p:nvSpPr>
          <p:spPr>
            <a:xfrm>
              <a:off x="7113651" y="2486120"/>
              <a:ext cx="135350" cy="9525"/>
            </a:xfrm>
            <a:custGeom>
              <a:avLst/>
              <a:gdLst/>
              <a:ahLst/>
              <a:cxnLst/>
              <a:rect l="l" t="t" r="r" b="b"/>
              <a:pathLst>
                <a:path w="135350" h="9525" extrusionOk="0">
                  <a:moveTo>
                    <a:pt x="0" y="0"/>
                  </a:moveTo>
                  <a:lnTo>
                    <a:pt x="13535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6" name="Google Shape;1216;p147"/>
            <p:cNvSpPr/>
            <p:nvPr/>
          </p:nvSpPr>
          <p:spPr>
            <a:xfrm>
              <a:off x="5475065" y="2996850"/>
              <a:ext cx="1112329" cy="1111186"/>
            </a:xfrm>
            <a:custGeom>
              <a:avLst/>
              <a:gdLst/>
              <a:ahLst/>
              <a:cxnLst/>
              <a:rect l="l" t="t" r="r" b="b"/>
              <a:pathLst>
                <a:path w="1112329" h="1111186" extrusionOk="0">
                  <a:moveTo>
                    <a:pt x="949452" y="162782"/>
                  </a:moveTo>
                  <a:cubicBezTo>
                    <a:pt x="1166622" y="379762"/>
                    <a:pt x="1166622" y="731520"/>
                    <a:pt x="949452" y="948500"/>
                  </a:cubicBezTo>
                  <a:cubicBezTo>
                    <a:pt x="845153" y="1052703"/>
                    <a:pt x="703707" y="1111187"/>
                    <a:pt x="556165" y="1111187"/>
                  </a:cubicBezTo>
                  <a:cubicBezTo>
                    <a:pt x="408623" y="1111187"/>
                    <a:pt x="267176" y="1052608"/>
                    <a:pt x="162878" y="948500"/>
                  </a:cubicBezTo>
                  <a:cubicBezTo>
                    <a:pt x="58579" y="844296"/>
                    <a:pt x="0" y="702945"/>
                    <a:pt x="0" y="555593"/>
                  </a:cubicBezTo>
                  <a:cubicBezTo>
                    <a:pt x="0" y="408242"/>
                    <a:pt x="58579" y="266891"/>
                    <a:pt x="162878" y="162687"/>
                  </a:cubicBezTo>
                  <a:cubicBezTo>
                    <a:pt x="267176" y="58483"/>
                    <a:pt x="408623" y="0"/>
                    <a:pt x="556165" y="0"/>
                  </a:cubicBezTo>
                  <a:cubicBezTo>
                    <a:pt x="703707" y="0"/>
                    <a:pt x="845153" y="58579"/>
                    <a:pt x="949452" y="162687"/>
                  </a:cubicBez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7" name="Google Shape;1217;p147"/>
            <p:cNvSpPr/>
            <p:nvPr/>
          </p:nvSpPr>
          <p:spPr>
            <a:xfrm>
              <a:off x="6575107" y="4095845"/>
              <a:ext cx="518302" cy="517826"/>
            </a:xfrm>
            <a:custGeom>
              <a:avLst/>
              <a:gdLst/>
              <a:ahLst/>
              <a:cxnLst/>
              <a:rect l="l" t="t" r="r" b="b"/>
              <a:pathLst>
                <a:path w="518302" h="517826" extrusionOk="0">
                  <a:moveTo>
                    <a:pt x="0" y="158782"/>
                  </a:moveTo>
                  <a:lnTo>
                    <a:pt x="326326" y="484823"/>
                  </a:lnTo>
                  <a:cubicBezTo>
                    <a:pt x="370332" y="528828"/>
                    <a:pt x="441293" y="528828"/>
                    <a:pt x="485299" y="484823"/>
                  </a:cubicBezTo>
                  <a:cubicBezTo>
                    <a:pt x="529304" y="440817"/>
                    <a:pt x="529304" y="370046"/>
                    <a:pt x="485299" y="326041"/>
                  </a:cubicBezTo>
                  <a:lnTo>
                    <a:pt x="158972" y="0"/>
                  </a:lnTo>
                  <a:cubicBezTo>
                    <a:pt x="158972" y="0"/>
                    <a:pt x="0" y="158782"/>
                    <a:pt x="0" y="158782"/>
                  </a:cubicBezTo>
                  <a:close/>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8" name="Google Shape;1218;p147"/>
            <p:cNvSpPr/>
            <p:nvPr/>
          </p:nvSpPr>
          <p:spPr>
            <a:xfrm>
              <a:off x="6424517" y="3945350"/>
              <a:ext cx="230123" cy="229933"/>
            </a:xfrm>
            <a:custGeom>
              <a:avLst/>
              <a:gdLst/>
              <a:ahLst/>
              <a:cxnLst/>
              <a:rect l="l" t="t" r="r" b="b"/>
              <a:pathLst>
                <a:path w="230123" h="229933" extrusionOk="0">
                  <a:moveTo>
                    <a:pt x="230124" y="229934"/>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9" name="Google Shape;1219;p147"/>
            <p:cNvSpPr/>
            <p:nvPr/>
          </p:nvSpPr>
          <p:spPr>
            <a:xfrm>
              <a:off x="5775864" y="3577494"/>
              <a:ext cx="9525" cy="174497"/>
            </a:xfrm>
            <a:custGeom>
              <a:avLst/>
              <a:gdLst/>
              <a:ahLst/>
              <a:cxnLst/>
              <a:rect l="l" t="t" r="r" b="b"/>
              <a:pathLst>
                <a:path w="9525" h="174497" extrusionOk="0">
                  <a:moveTo>
                    <a:pt x="0" y="174498"/>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0" name="Google Shape;1220;p147"/>
            <p:cNvSpPr/>
            <p:nvPr/>
          </p:nvSpPr>
          <p:spPr>
            <a:xfrm>
              <a:off x="5946076"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1" name="Google Shape;1221;p147"/>
            <p:cNvSpPr/>
            <p:nvPr/>
          </p:nvSpPr>
          <p:spPr>
            <a:xfrm>
              <a:off x="6116288"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2" name="Google Shape;1222;p147"/>
            <p:cNvSpPr/>
            <p:nvPr/>
          </p:nvSpPr>
          <p:spPr>
            <a:xfrm>
              <a:off x="6286595" y="3352990"/>
              <a:ext cx="9525" cy="399002"/>
            </a:xfrm>
            <a:custGeom>
              <a:avLst/>
              <a:gdLst/>
              <a:ahLst/>
              <a:cxnLst/>
              <a:rect l="l" t="t" r="r" b="b"/>
              <a:pathLst>
                <a:path w="9525" h="399002" extrusionOk="0">
                  <a:moveTo>
                    <a:pt x="0" y="399002"/>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3" name="Google Shape;1223;p147"/>
            <p:cNvSpPr/>
            <p:nvPr/>
          </p:nvSpPr>
          <p:spPr>
            <a:xfrm>
              <a:off x="6842664" y="3577494"/>
              <a:ext cx="9525" cy="174497"/>
            </a:xfrm>
            <a:custGeom>
              <a:avLst/>
              <a:gdLst/>
              <a:ahLst/>
              <a:cxnLst/>
              <a:rect l="l" t="t" r="r" b="b"/>
              <a:pathLst>
                <a:path w="9525" h="174497" extrusionOk="0">
                  <a:moveTo>
                    <a:pt x="0" y="174498"/>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4" name="Google Shape;1224;p147"/>
            <p:cNvSpPr/>
            <p:nvPr/>
          </p:nvSpPr>
          <p:spPr>
            <a:xfrm>
              <a:off x="7012876"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5" name="Google Shape;1225;p147"/>
            <p:cNvSpPr/>
            <p:nvPr/>
          </p:nvSpPr>
          <p:spPr>
            <a:xfrm>
              <a:off x="7183088"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6" name="Google Shape;1226;p147"/>
            <p:cNvSpPr/>
            <p:nvPr/>
          </p:nvSpPr>
          <p:spPr>
            <a:xfrm>
              <a:off x="5201888" y="3400996"/>
              <a:ext cx="9525" cy="350996"/>
            </a:xfrm>
            <a:custGeom>
              <a:avLst/>
              <a:gdLst/>
              <a:ahLst/>
              <a:cxnLst/>
              <a:rect l="l" t="t" r="r" b="b"/>
              <a:pathLst>
                <a:path w="9525" h="350996" extrusionOk="0">
                  <a:moveTo>
                    <a:pt x="0" y="350996"/>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7" name="Google Shape;1227;p147"/>
            <p:cNvSpPr/>
            <p:nvPr/>
          </p:nvSpPr>
          <p:spPr>
            <a:xfrm>
              <a:off x="5031676" y="3529584"/>
              <a:ext cx="9525" cy="222408"/>
            </a:xfrm>
            <a:custGeom>
              <a:avLst/>
              <a:gdLst/>
              <a:ahLst/>
              <a:cxnLst/>
              <a:rect l="l" t="t" r="r" b="b"/>
              <a:pathLst>
                <a:path w="9525" h="222408" extrusionOk="0">
                  <a:moveTo>
                    <a:pt x="0" y="222409"/>
                  </a:moveTo>
                  <a:lnTo>
                    <a:pt x="0" y="0"/>
                  </a:ln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228" name="Google Shape;1228;p147"/>
          <p:cNvGrpSpPr/>
          <p:nvPr/>
        </p:nvGrpSpPr>
        <p:grpSpPr>
          <a:xfrm>
            <a:off x="10434666" y="2308350"/>
            <a:ext cx="282062" cy="261240"/>
            <a:chOff x="5643539" y="3009911"/>
            <a:chExt cx="906730" cy="839795"/>
          </a:xfrm>
        </p:grpSpPr>
        <p:grpSp>
          <p:nvGrpSpPr>
            <p:cNvPr id="1229" name="Google Shape;1229;p147"/>
            <p:cNvGrpSpPr/>
            <p:nvPr/>
          </p:nvGrpSpPr>
          <p:grpSpPr>
            <a:xfrm>
              <a:off x="5993987" y="3292410"/>
              <a:ext cx="205930" cy="274797"/>
              <a:chOff x="5993987" y="3292410"/>
              <a:chExt cx="205930" cy="274797"/>
            </a:xfrm>
          </p:grpSpPr>
          <p:sp>
            <p:nvSpPr>
              <p:cNvPr id="1230" name="Google Shape;1230;p147"/>
              <p:cNvSpPr/>
              <p:nvPr/>
            </p:nvSpPr>
            <p:spPr>
              <a:xfrm>
                <a:off x="5993987" y="3292410"/>
                <a:ext cx="205930" cy="274796"/>
              </a:xfrm>
              <a:custGeom>
                <a:avLst/>
                <a:gdLst/>
                <a:ahLst/>
                <a:cxnLst/>
                <a:rect l="l" t="t" r="r" b="b"/>
                <a:pathLst>
                  <a:path w="205930" h="274796" extrusionOk="0">
                    <a:moveTo>
                      <a:pt x="0" y="45815"/>
                    </a:moveTo>
                    <a:lnTo>
                      <a:pt x="0" y="228981"/>
                    </a:lnTo>
                    <a:cubicBezTo>
                      <a:pt x="0" y="254318"/>
                      <a:pt x="46101" y="274796"/>
                      <a:pt x="102965" y="274796"/>
                    </a:cubicBezTo>
                    <a:cubicBezTo>
                      <a:pt x="159829" y="274796"/>
                      <a:pt x="205930" y="254222"/>
                      <a:pt x="205930" y="228981"/>
                    </a:cubicBezTo>
                    <a:lnTo>
                      <a:pt x="205930" y="45815"/>
                    </a:lnTo>
                    <a:cubicBezTo>
                      <a:pt x="205930" y="20479"/>
                      <a:pt x="159829" y="0"/>
                      <a:pt x="102965" y="0"/>
                    </a:cubicBezTo>
                    <a:cubicBezTo>
                      <a:pt x="46101" y="0"/>
                      <a:pt x="0" y="20479"/>
                      <a:pt x="0" y="45815"/>
                    </a:cubicBezTo>
                    <a:close/>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1" name="Google Shape;1231;p147"/>
              <p:cNvSpPr/>
              <p:nvPr/>
            </p:nvSpPr>
            <p:spPr>
              <a:xfrm>
                <a:off x="5993987" y="3399662"/>
                <a:ext cx="205930" cy="45815"/>
              </a:xfrm>
              <a:custGeom>
                <a:avLst/>
                <a:gdLst/>
                <a:ahLst/>
                <a:cxnLst/>
                <a:rect l="l" t="t" r="r" b="b"/>
                <a:pathLst>
                  <a:path w="205930" h="45815" extrusionOk="0">
                    <a:moveTo>
                      <a:pt x="205930" y="0"/>
                    </a:moveTo>
                    <a:cubicBezTo>
                      <a:pt x="205930" y="25337"/>
                      <a:pt x="159829" y="45815"/>
                      <a:pt x="102965" y="45815"/>
                    </a:cubicBezTo>
                    <a:cubicBezTo>
                      <a:pt x="46101" y="45815"/>
                      <a:pt x="0" y="25337"/>
                      <a:pt x="0" y="0"/>
                    </a:cubicBez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2" name="Google Shape;1232;p147"/>
              <p:cNvSpPr/>
              <p:nvPr/>
            </p:nvSpPr>
            <p:spPr>
              <a:xfrm>
                <a:off x="5993987" y="3461003"/>
                <a:ext cx="205930" cy="45815"/>
              </a:xfrm>
              <a:custGeom>
                <a:avLst/>
                <a:gdLst/>
                <a:ahLst/>
                <a:cxnLst/>
                <a:rect l="l" t="t" r="r" b="b"/>
                <a:pathLst>
                  <a:path w="205930" h="45815" extrusionOk="0">
                    <a:moveTo>
                      <a:pt x="205930" y="0"/>
                    </a:moveTo>
                    <a:cubicBezTo>
                      <a:pt x="205930" y="25336"/>
                      <a:pt x="159829" y="45815"/>
                      <a:pt x="102965" y="45815"/>
                    </a:cubicBezTo>
                    <a:cubicBezTo>
                      <a:pt x="46101" y="45815"/>
                      <a:pt x="0" y="25336"/>
                      <a:pt x="0" y="0"/>
                    </a:cubicBez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3" name="Google Shape;1233;p147"/>
              <p:cNvSpPr/>
              <p:nvPr/>
            </p:nvSpPr>
            <p:spPr>
              <a:xfrm>
                <a:off x="5993987" y="3521392"/>
                <a:ext cx="205930" cy="45815"/>
              </a:xfrm>
              <a:custGeom>
                <a:avLst/>
                <a:gdLst/>
                <a:ahLst/>
                <a:cxnLst/>
                <a:rect l="l" t="t" r="r" b="b"/>
                <a:pathLst>
                  <a:path w="205930" h="45815" extrusionOk="0">
                    <a:moveTo>
                      <a:pt x="205930" y="0"/>
                    </a:moveTo>
                    <a:cubicBezTo>
                      <a:pt x="205930" y="25336"/>
                      <a:pt x="159829" y="45815"/>
                      <a:pt x="102965" y="45815"/>
                    </a:cubicBezTo>
                    <a:cubicBezTo>
                      <a:pt x="46101" y="45815"/>
                      <a:pt x="0" y="25241"/>
                      <a:pt x="0" y="0"/>
                    </a:cubicBez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4" name="Google Shape;1234;p147"/>
              <p:cNvSpPr/>
              <p:nvPr/>
            </p:nvSpPr>
            <p:spPr>
              <a:xfrm>
                <a:off x="5993987" y="3292410"/>
                <a:ext cx="205930" cy="91630"/>
              </a:xfrm>
              <a:custGeom>
                <a:avLst/>
                <a:gdLst/>
                <a:ahLst/>
                <a:cxnLst/>
                <a:rect l="l" t="t" r="r" b="b"/>
                <a:pathLst>
                  <a:path w="205930" h="91630" extrusionOk="0">
                    <a:moveTo>
                      <a:pt x="205930" y="45815"/>
                    </a:moveTo>
                    <a:cubicBezTo>
                      <a:pt x="205930" y="71152"/>
                      <a:pt x="159829" y="91630"/>
                      <a:pt x="102965" y="91630"/>
                    </a:cubicBezTo>
                    <a:cubicBezTo>
                      <a:pt x="46101" y="91630"/>
                      <a:pt x="0" y="71152"/>
                      <a:pt x="0" y="45815"/>
                    </a:cubicBezTo>
                    <a:cubicBezTo>
                      <a:pt x="0" y="20479"/>
                      <a:pt x="46101" y="0"/>
                      <a:pt x="102965" y="0"/>
                    </a:cubicBezTo>
                    <a:cubicBezTo>
                      <a:pt x="159829" y="0"/>
                      <a:pt x="205930" y="20479"/>
                      <a:pt x="205930" y="45815"/>
                    </a:cubicBezTo>
                    <a:close/>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235" name="Google Shape;1235;p147"/>
            <p:cNvGrpSpPr/>
            <p:nvPr/>
          </p:nvGrpSpPr>
          <p:grpSpPr>
            <a:xfrm>
              <a:off x="5643539" y="3009911"/>
              <a:ext cx="906730" cy="839795"/>
              <a:chOff x="5643539" y="3009911"/>
              <a:chExt cx="906730" cy="839795"/>
            </a:xfrm>
          </p:grpSpPr>
          <p:sp>
            <p:nvSpPr>
              <p:cNvPr id="1236" name="Google Shape;1236;p147"/>
              <p:cNvSpPr/>
              <p:nvPr/>
            </p:nvSpPr>
            <p:spPr>
              <a:xfrm>
                <a:off x="5832596" y="3009911"/>
                <a:ext cx="528711" cy="839795"/>
              </a:xfrm>
              <a:custGeom>
                <a:avLst/>
                <a:gdLst/>
                <a:ahLst/>
                <a:cxnLst/>
                <a:rect l="l" t="t" r="r" b="b"/>
                <a:pathLst>
                  <a:path w="528711" h="839795" extrusionOk="0">
                    <a:moveTo>
                      <a:pt x="446855" y="334983"/>
                    </a:moveTo>
                    <a:cubicBezTo>
                      <a:pt x="552487" y="562059"/>
                      <a:pt x="556392" y="784086"/>
                      <a:pt x="455618" y="831045"/>
                    </a:cubicBezTo>
                    <a:cubicBezTo>
                      <a:pt x="354843" y="877908"/>
                      <a:pt x="187489" y="731889"/>
                      <a:pt x="81857" y="504813"/>
                    </a:cubicBezTo>
                    <a:cubicBezTo>
                      <a:pt x="-23775" y="277737"/>
                      <a:pt x="-27681" y="55710"/>
                      <a:pt x="73094" y="8751"/>
                    </a:cubicBezTo>
                    <a:cubicBezTo>
                      <a:pt x="173868" y="-38112"/>
                      <a:pt x="341223" y="107907"/>
                      <a:pt x="446855" y="334983"/>
                    </a:cubicBezTo>
                    <a:close/>
                  </a:path>
                </a:pathLst>
              </a:custGeom>
              <a:noFill/>
              <a:ln w="1270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7" name="Google Shape;1237;p147"/>
              <p:cNvSpPr/>
              <p:nvPr/>
            </p:nvSpPr>
            <p:spPr>
              <a:xfrm>
                <a:off x="5643539" y="3228253"/>
                <a:ext cx="906730" cy="403015"/>
              </a:xfrm>
              <a:custGeom>
                <a:avLst/>
                <a:gdLst/>
                <a:ahLst/>
                <a:cxnLst/>
                <a:rect l="l" t="t" r="r" b="b"/>
                <a:pathLst>
                  <a:path w="906730" h="403015" extrusionOk="0">
                    <a:moveTo>
                      <a:pt x="457794" y="245"/>
                    </a:moveTo>
                    <a:cubicBezTo>
                      <a:pt x="708111" y="5769"/>
                      <a:pt x="909184" y="100257"/>
                      <a:pt x="906707" y="211414"/>
                    </a:cubicBezTo>
                    <a:cubicBezTo>
                      <a:pt x="904231" y="322571"/>
                      <a:pt x="699348" y="408200"/>
                      <a:pt x="448936" y="402771"/>
                    </a:cubicBezTo>
                    <a:cubicBezTo>
                      <a:pt x="198619" y="397247"/>
                      <a:pt x="-2454" y="302759"/>
                      <a:pt x="23" y="191602"/>
                    </a:cubicBezTo>
                    <a:cubicBezTo>
                      <a:pt x="2499" y="80445"/>
                      <a:pt x="207382" y="-5185"/>
                      <a:pt x="457794" y="245"/>
                    </a:cubicBezTo>
                    <a:close/>
                  </a:path>
                </a:pathLst>
              </a:custGeom>
              <a:noFill/>
              <a:ln w="1270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8" name="Google Shape;1238;p147"/>
              <p:cNvSpPr/>
              <p:nvPr/>
            </p:nvSpPr>
            <p:spPr>
              <a:xfrm>
                <a:off x="5816914" y="3020168"/>
                <a:ext cx="560076" cy="819251"/>
              </a:xfrm>
              <a:custGeom>
                <a:avLst/>
                <a:gdLst/>
                <a:ahLst/>
                <a:cxnLst/>
                <a:rect l="l" t="t" r="r" b="b"/>
                <a:pathLst>
                  <a:path w="560076" h="819251" extrusionOk="0">
                    <a:moveTo>
                      <a:pt x="103349" y="313105"/>
                    </a:moveTo>
                    <a:cubicBezTo>
                      <a:pt x="223269" y="93363"/>
                      <a:pt x="399672" y="-41701"/>
                      <a:pt x="497303" y="11639"/>
                    </a:cubicBezTo>
                    <a:cubicBezTo>
                      <a:pt x="594839" y="64884"/>
                      <a:pt x="576742" y="286245"/>
                      <a:pt x="456727" y="506082"/>
                    </a:cubicBezTo>
                    <a:cubicBezTo>
                      <a:pt x="336712" y="725919"/>
                      <a:pt x="160309" y="860888"/>
                      <a:pt x="62773" y="807643"/>
                    </a:cubicBezTo>
                    <a:cubicBezTo>
                      <a:pt x="-34763" y="754398"/>
                      <a:pt x="-16666" y="533037"/>
                      <a:pt x="103349" y="313200"/>
                    </a:cubicBezTo>
                    <a:close/>
                  </a:path>
                </a:pathLst>
              </a:custGeom>
              <a:noFill/>
              <a:ln w="1270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39" name="Google Shape;1239;p147"/>
          <p:cNvSpPr txBox="1"/>
          <p:nvPr/>
        </p:nvSpPr>
        <p:spPr>
          <a:xfrm>
            <a:off x="10976464" y="292682"/>
            <a:ext cx="533800" cy="153888"/>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rgbClr val="0F47F2"/>
                </a:solidFill>
                <a:latin typeface="Calibri"/>
                <a:ea typeface="Calibri"/>
                <a:cs typeface="Calibri"/>
                <a:sym typeface="Calibri"/>
              </a:rPr>
              <a:t>Analytics</a:t>
            </a:r>
            <a:endParaRPr sz="1400" b="0" i="0" u="none" strike="noStrike" cap="none">
              <a:solidFill>
                <a:srgbClr val="0F47F2"/>
              </a:solidFill>
              <a:latin typeface="Calibri"/>
              <a:ea typeface="Calibri"/>
              <a:cs typeface="Calibri"/>
              <a:sym typeface="Calibri"/>
            </a:endParaRPr>
          </a:p>
        </p:txBody>
      </p:sp>
      <p:sp>
        <p:nvSpPr>
          <p:cNvPr id="1240" name="Google Shape;1240;p147"/>
          <p:cNvSpPr/>
          <p:nvPr/>
        </p:nvSpPr>
        <p:spPr>
          <a:xfrm>
            <a:off x="11557889" y="135255"/>
            <a:ext cx="468744" cy="468742"/>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endParaRPr sz="1000" b="0" i="0" u="none" strike="noStrike" cap="none">
              <a:solidFill>
                <a:srgbClr val="FFFFFF"/>
              </a:solidFill>
              <a:latin typeface="Calibri"/>
              <a:ea typeface="Calibri"/>
              <a:cs typeface="Calibri"/>
              <a:sym typeface="Calibri"/>
            </a:endParaRPr>
          </a:p>
        </p:txBody>
      </p:sp>
      <p:pic>
        <p:nvPicPr>
          <p:cNvPr id="1241" name="Google Shape;1241;p147"/>
          <p:cNvPicPr preferRelativeResize="0"/>
          <p:nvPr/>
        </p:nvPicPr>
        <p:blipFill rotWithShape="1">
          <a:blip r:embed="rId6">
            <a:alphaModFix/>
          </a:blip>
          <a:srcRect/>
          <a:stretch/>
        </p:blipFill>
        <p:spPr>
          <a:xfrm>
            <a:off x="11627442" y="209253"/>
            <a:ext cx="322766" cy="322766"/>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Uio.O3YUYWzoTtrSsmIH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pH.igiAg4ypsuWHYavcn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mVjA4ltcgICe3e6_2sKT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j3fl1AeGXOX4VVDsMkf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cu263.y13U8EVew42DLd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5jvsGbONRlHa1tN1XBgZ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blF5.eRNR9rPuGQEZu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CUio.O3YUYWzoTtrSsmIH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Eqwcc7DejGViCWBFpFD0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45jvsGbONRlHa1tN1XBgZ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Eqwcc7DejGViCWBFpFD0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eAt3g6oHR.eSMeI2wrOH9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jISAEtFUhbxIAwICusEz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U7v3cWm.ALjPRKJ9nXrH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A9IE.7bLxBrULpoO3xSE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y4LRVt1qo76aFx.vfDhm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fp6Cj340VALGJWLymSWF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pH.igiAg4ypsuWHYavcn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8mVjA4ltcgICe3e6_2sK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j3fl1AeGXOX4VVDsMkf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u263.y13U8EVew42DLdd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blF5.eRNR9rPuGQEZuE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CUio.O3YUYWzoTtrSsmI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45jvsGbONRlHa1tN1XBgZ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Eqwcc7DejGViCWBFpFD0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At3g6oHR.eSMeI2wrOH9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eAt3g6oHR.eSMeI2wrOH9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jISAEtFUhbxIAwICusEz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U7v3cWm.ALjPRKJ9nXrH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A9IE.7bLxBrULpoO3xSE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y4LRVt1qo76aFx.vfDhm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pH.igiAg4ypsuWHYavcn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sfp6Cj340VALGJWLymSWF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8mVjA4ltcgICe3e6_2sKT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wj3fl1AeGXOX4VVDsMkfG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cu263.y13U8EVew42DLdd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jISAEtFUhbxIAwICusEz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2M2it4GJO6pqrb8WKyO2L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U7v3cWm.ALjPRKJ9nXr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A9IE.7bLxBrULpoO3xS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y4LRVt1qo76aFx.vfDh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fp6Cj340VALGJWLymSW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pH.igiAg4ypsuWHYavcn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blF5.eRNR9rPuGQEZuE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RKNl1HuxWDhxLyTiC38B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mVjA4ltcgICe3e6_2sKT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j3fl1AeGXOX4VVDsMkf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4_2lQ1IrOBXnwywwFfq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u263.y13U8EVew42DLdd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blF5.eRNR9rPuGQEZu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Uio.O3YUYWzoTtrSsmIH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5jvsGbONRlHa1tN1XBgZ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Eqwcc7DejGViCWBFpFD0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rsMRpyJXMeKwLC3sJ68o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At3g6oHR.eSMeI2wrOH9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jISAEtFUhbxIAwICusEz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U7v3cWm.ALjPRKJ9nXrH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iA9IE.7bLxBrULpoO3xSE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y4LRVt1qo76aFx.vfDh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sY3t0G4uAyuYyTKhWLOj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fp6Cj340VALGJWLymSWF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spAutoFit/>
      </a:bodyPr>
      <a:lstStyle>
        <a:defPPr algn="l">
          <a:defRPr dirty="0"/>
        </a:defPPr>
      </a:lstStyle>
    </a:txDef>
  </a:objectDefaults>
  <a:extraClrSchemeLst/>
  <a:extLst>
    <a:ext uri="{05A4C25C-085E-4340-85A3-A5531E510DB2}">
      <thm15:themeFamily xmlns:thm15="http://schemas.microsoft.com/office/thememl/2012/main" name="Infomineo_Template_Widescreen.potm" id="{A045A23C-F332-4D97-85AE-0C2DA41476AA}" vid="{1F177315-FD57-47DC-832A-616B4C14F39F}"/>
    </a:ext>
  </a:extLst>
</a:theme>
</file>

<file path=ppt/theme/theme3.xml><?xml version="1.0" encoding="utf-8"?>
<a:theme xmlns:a="http://schemas.openxmlformats.org/drawingml/2006/main" name="2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spAutoFit/>
      </a:bodyPr>
      <a:lstStyle>
        <a:defPPr algn="l">
          <a:defRPr dirty="0"/>
        </a:defPPr>
      </a:lstStyle>
    </a:txDef>
  </a:objectDefaults>
  <a:extraClrSchemeLst/>
  <a:extLst>
    <a:ext uri="{05A4C25C-085E-4340-85A3-A5531E510DB2}">
      <thm15:themeFamily xmlns:thm15="http://schemas.microsoft.com/office/thememl/2012/main" name="Infomineo_Template_Widescreen.potm" id="{A045A23C-F332-4D97-85AE-0C2DA41476AA}" vid="{1F177315-FD57-47DC-832A-616B4C14F39F}"/>
    </a:ext>
  </a:extLst>
</a:theme>
</file>

<file path=ppt/theme/theme5.xml><?xml version="1.0" encoding="utf-8"?>
<a:theme xmlns:a="http://schemas.openxmlformats.org/drawingml/2006/main" name="4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spAutoFit/>
      </a:bodyPr>
      <a:lstStyle>
        <a:defPPr algn="l">
          <a:defRPr dirty="0"/>
        </a:defPPr>
      </a:lstStyle>
    </a:txDef>
  </a:objectDefaults>
  <a:extraClrSchemeLst/>
  <a:extLst>
    <a:ext uri="{05A4C25C-085E-4340-85A3-A5531E510DB2}">
      <thm15:themeFamily xmlns:thm15="http://schemas.microsoft.com/office/thememl/2012/main" name="Infomineo_Template_Widescreen.potm" id="{A045A23C-F332-4D97-85AE-0C2DA41476AA}" vid="{1F177315-FD57-47DC-832A-616B4C14F39F}"/>
    </a:ext>
  </a:extLst>
</a:theme>
</file>

<file path=ppt/theme/theme7.xml><?xml version="1.0" encoding="utf-8"?>
<a:theme xmlns:a="http://schemas.openxmlformats.org/drawingml/2006/main" name="6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spAutoFit/>
      </a:bodyPr>
      <a:lstStyle>
        <a:defPPr algn="l">
          <a:defRPr dirty="0"/>
        </a:defPPr>
      </a:lstStyle>
    </a:txDef>
  </a:objectDefaults>
  <a:extraClrSchemeLst/>
  <a:extLst>
    <a:ext uri="{05A4C25C-085E-4340-85A3-A5531E510DB2}">
      <thm15:themeFamily xmlns:thm15="http://schemas.microsoft.com/office/thememl/2012/main" name="Infomineo_Template_v1.potm" id="{ABC41400-80B7-47EE-907B-C4F60E8EFE29}" vid="{63900581-71C6-4AFD-B1F1-74BA0CD6F400}"/>
    </a:ext>
  </a:extLst>
</a:theme>
</file>

<file path=ppt/theme/theme8.xml><?xml version="1.0" encoding="utf-8"?>
<a:theme xmlns:a="http://schemas.openxmlformats.org/drawingml/2006/main" name="7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4</TotalTime>
  <Words>3323</Words>
  <Application>Microsoft Office PowerPoint</Application>
  <PresentationFormat>Widescreen</PresentationFormat>
  <Paragraphs>467</Paragraphs>
  <Slides>27</Slides>
  <Notes>17</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27</vt:i4>
      </vt:variant>
    </vt:vector>
  </HeadingPairs>
  <TitlesOfParts>
    <vt:vector size="46" baseType="lpstr">
      <vt:lpstr>Wingdings 2</vt:lpstr>
      <vt:lpstr>Libre Franklin</vt:lpstr>
      <vt:lpstr>Calibri Light</vt:lpstr>
      <vt:lpstr>Noto Sans Symbols</vt:lpstr>
      <vt:lpstr>Franklin Gothic</vt:lpstr>
      <vt:lpstr>Arial</vt:lpstr>
      <vt:lpstr>Calibri</vt:lpstr>
      <vt:lpstr>Franklin Gothic Book</vt:lpstr>
      <vt:lpstr>Franklin Gothic Demi</vt:lpstr>
      <vt:lpstr>Wingdings</vt:lpstr>
      <vt:lpstr>Office Theme</vt:lpstr>
      <vt:lpstr>1_Office Theme</vt:lpstr>
      <vt:lpstr>2_Office Theme</vt:lpstr>
      <vt:lpstr>3_Office Theme</vt:lpstr>
      <vt:lpstr>4_Office Theme</vt:lpstr>
      <vt:lpstr>5_Office Theme</vt:lpstr>
      <vt:lpstr>6_Office Theme</vt:lpstr>
      <vt:lpstr>7_Office Theme</vt:lpstr>
      <vt:lpstr>think-cell Slide</vt:lpstr>
      <vt:lpstr>Infomineo  presentation</vt:lpstr>
      <vt:lpstr>As a senior professional you face many challenges –  here is what we hear from you</vt:lpstr>
      <vt:lpstr>Infomineo invented Brainshoring, a new generation of service outsourcing, to solve your problems</vt:lpstr>
      <vt:lpstr>PowerPoint Presentation</vt:lpstr>
      <vt:lpstr>Infomineo offers a diversified suite of services</vt:lpstr>
      <vt:lpstr>Data Analytics</vt:lpstr>
      <vt:lpstr>Infomineo has a unique approach to Data Analytics</vt:lpstr>
      <vt:lpstr>Infomineo offers a full suite of Data Analytics Services</vt:lpstr>
      <vt:lpstr>Infomineo team provides a full set of skills to operate  on multiple dimensions and environments</vt:lpstr>
      <vt:lpstr>Our Data Analytics service can handle all steps of a Use Case</vt:lpstr>
      <vt:lpstr>Our teams are familiar with a wide range of cutting-edge technologies</vt:lpstr>
      <vt:lpstr>Data Analytics Uses Cases</vt:lpstr>
      <vt:lpstr>PowerPoint Presentation</vt:lpstr>
      <vt:lpstr>A Comprehensive Dashboard of Key HR Metrics  and Performance Indicators</vt:lpstr>
      <vt:lpstr>A Comprehensive Dashboard of HR Key Metrics and Performance Indicators</vt:lpstr>
      <vt:lpstr>Web Scraping Tool for Second-Hand Car Sales</vt:lpstr>
      <vt:lpstr>Web Scraping Tool for Second-Hand Car Sales</vt:lpstr>
      <vt:lpstr>Mapping Banking Services: An Analysis of Branch Locations and Demographics</vt:lpstr>
      <vt:lpstr>Mapping Banking Services: An Analysis of Branch Locations and Demographics</vt:lpstr>
      <vt:lpstr>Assessing Candidates’ Experience through Sentiment Analysis</vt:lpstr>
      <vt:lpstr>Assessing Candidates’ Experience through Sentiment Analysis</vt:lpstr>
      <vt:lpstr>Assessing Candidates’ Experience through Sentiment Analysis</vt:lpstr>
      <vt:lpstr>Geospatial Analysis of Labor Catchment:  Assessing Employment and Demographic Patterns</vt:lpstr>
      <vt:lpstr>Geospatial Analysis of Labor Catchment:  Assessing Employment and Demographic Patterns</vt:lpstr>
      <vt:lpstr>Working with Infomineo</vt:lpstr>
      <vt:lpstr>Working with Infomine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mineo  presentation</dc:title>
  <dc:creator>Samson Mathew</dc:creator>
  <cp:lastModifiedBy>Casa 3</cp:lastModifiedBy>
  <cp:revision>5</cp:revision>
  <dcterms:created xsi:type="dcterms:W3CDTF">2020-10-06T08:44:21Z</dcterms:created>
  <dcterms:modified xsi:type="dcterms:W3CDTF">2023-07-06T16:42:09Z</dcterms:modified>
</cp:coreProperties>
</file>